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96" r:id="rId4"/>
    <p:sldMasterId id="2147483717" r:id="rId5"/>
    <p:sldMasterId id="2147483738" r:id="rId6"/>
    <p:sldMasterId id="2147483744" r:id="rId7"/>
    <p:sldMasterId id="2147483755" r:id="rId8"/>
    <p:sldMasterId id="2147483774" r:id="rId9"/>
    <p:sldMasterId id="2147483783" r:id="rId10"/>
    <p:sldMasterId id="2147483810" r:id="rId11"/>
  </p:sldMasterIdLst>
  <p:notesMasterIdLst>
    <p:notesMasterId r:id="rId33"/>
  </p:notesMasterIdLst>
  <p:handoutMasterIdLst>
    <p:handoutMasterId r:id="rId34"/>
  </p:handoutMasterIdLst>
  <p:sldIdLst>
    <p:sldId id="266" r:id="rId12"/>
    <p:sldId id="2147480910" r:id="rId13"/>
    <p:sldId id="2147480950" r:id="rId14"/>
    <p:sldId id="2147480830" r:id="rId15"/>
    <p:sldId id="2147480909" r:id="rId16"/>
    <p:sldId id="1188" r:id="rId17"/>
    <p:sldId id="1034" r:id="rId18"/>
    <p:sldId id="2147377558" r:id="rId19"/>
    <p:sldId id="1035" r:id="rId20"/>
    <p:sldId id="1036" r:id="rId21"/>
    <p:sldId id="1037" r:id="rId22"/>
    <p:sldId id="1038" r:id="rId23"/>
    <p:sldId id="1032" r:id="rId24"/>
    <p:sldId id="2147378512" r:id="rId25"/>
    <p:sldId id="2147378513" r:id="rId26"/>
    <p:sldId id="2147378514" r:id="rId27"/>
    <p:sldId id="2147378264" r:id="rId28"/>
    <p:sldId id="2147378516" r:id="rId29"/>
    <p:sldId id="2147378517" r:id="rId30"/>
    <p:sldId id="2147480800" r:id="rId31"/>
    <p:sldId id="2147480801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94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88"/>
    <p:restoredTop sz="96327"/>
  </p:normalViewPr>
  <p:slideViewPr>
    <p:cSldViewPr snapToGrid="0" snapToObjects="1">
      <p:cViewPr varScale="1">
        <p:scale>
          <a:sx n="107" d="100"/>
          <a:sy n="107" d="100"/>
        </p:scale>
        <p:origin x="120" y="3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51" d="100"/>
          <a:sy n="151" d="100"/>
        </p:scale>
        <p:origin x="365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50EAEE-143D-776E-C9F0-489448BF1CF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B0111B-CD3A-D95A-74D8-6AE66B4FAD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03986-A93A-5046-AE32-21BB90437027}" type="datetimeFigureOut">
              <a:rPr lang="en-GB" smtClean="0"/>
              <a:t>07/10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27EB83-AE5E-7F5A-485F-D9B839C02B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A90E6-EDFB-294E-B457-1EE01481D01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5E9475-EC2F-0342-849E-AF783A2FD5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52840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4D20E5-D8F7-594B-9D91-F763D43B9AF7}" type="datetimeFigureOut">
              <a:rPr lang="en-GB" smtClean="0"/>
              <a:t>07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8DCDC-D13C-2549-BE6A-717E9EED41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321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8DCDC-D13C-2549-BE6A-717E9EED41A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446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ECA678-2983-4745-B8ED-8210676F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1470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F7CC6-C56B-E34B-9A16-8F294AC5515F}" type="slidenum">
              <a:rPr lang="en-RO" smtClean="0"/>
              <a:t>14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22791982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5730" lvl="1" indent="-125730">
              <a:spcAft>
                <a:spcPts val="0"/>
              </a:spcAft>
              <a:buSzPct val="100000"/>
              <a:buFont typeface="Wingdings" panose="05000000000000000000" pitchFamily="2" charset="2"/>
              <a:buChar char="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526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F7CC6-C56B-E34B-9A16-8F294AC5515F}" type="slidenum">
              <a:rPr lang="en-RO" smtClean="0"/>
              <a:t>16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42356724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F7CC6-C56B-E34B-9A16-8F294AC5515F}" type="slidenum">
              <a:rPr kumimoji="0" lang="en-R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R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0431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F7CC6-C56B-E34B-9A16-8F294AC5515F}" type="slidenum">
              <a:rPr lang="en-RO" smtClean="0"/>
              <a:t>18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991104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FF7CC6-C56B-E34B-9A16-8F294AC5515F}" type="slidenum">
              <a:rPr lang="en-RO" smtClean="0"/>
              <a:t>19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1971561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097089"/>
            <a:ext cx="7632700" cy="4319586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F2FD01-8C20-79D4-3E59-891EFF361019}"/>
              </a:ext>
            </a:extLst>
          </p:cNvPr>
          <p:cNvSpPr txBox="1"/>
          <p:nvPr/>
        </p:nvSpPr>
        <p:spPr>
          <a:xfrm>
            <a:off x="4116391" y="44132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F4BF50-D803-E77A-CBDE-FD855FFB80BD}"/>
              </a:ext>
            </a:extLst>
          </p:cNvPr>
          <p:cNvSpPr txBox="1"/>
          <p:nvPr/>
        </p:nvSpPr>
        <p:spPr>
          <a:xfrm>
            <a:off x="7789867" y="44132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14BC9D-68F3-B392-A400-7E323AA58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1231490"/>
            <a:ext cx="7632700" cy="43379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800" b="1" i="0">
                <a:solidFill>
                  <a:schemeClr val="accent6"/>
                </a:solidFill>
                <a:latin typeface="IAS Ribbon Sans Bold" pitchFamily="2" charset="0"/>
                <a:ea typeface="IAS Ribbon Sans Bold" pitchFamily="2" charset="0"/>
              </a:defRPr>
            </a:lvl1pPr>
          </a:lstStyle>
          <a:p>
            <a:pPr lvl="0"/>
            <a:r>
              <a:rPr lang="en-GB" noProof="0"/>
              <a:t>Session nam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108B38E0-2EEF-2D45-6536-DB605CB200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765175"/>
            <a:ext cx="7632700" cy="38519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noProof="0"/>
              <a:t>Presenter name &amp; affili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4458C7-35C0-A6EF-F6EE-CA4C9C55800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72727" y="4807130"/>
            <a:ext cx="3499714" cy="187334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A33F76-6F02-5745-5408-92BE055654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155" t="40558"/>
          <a:stretch/>
        </p:blipFill>
        <p:spPr>
          <a:xfrm rot="10800000">
            <a:off x="-28801" y="-25400"/>
            <a:ext cx="3644305" cy="3737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223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D7FF4C-6219-EAB0-1A74-5AB60E509D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500" y="0"/>
            <a:ext cx="52705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 marL="914400" indent="0">
              <a:buNone/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10B3724-3C95-7F35-028A-884DA7B636BB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C7DA46C4-F7B4-D385-FF42-16FFF7775413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5A3DD0E-AF21-33A6-5F93-73DB04D9AAF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34989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8267" y="1524001"/>
            <a:ext cx="10724935" cy="4603751"/>
          </a:xfrm>
        </p:spPr>
        <p:txBody>
          <a:bodyPr/>
          <a:lstStyle/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  <a:p>
            <a:pPr lvl="1"/>
            <a:r>
              <a:rPr lang="es-ES_tradnl" err="1"/>
              <a:t>Secon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2"/>
            <a:r>
              <a:rPr lang="es-ES_tradnl" err="1"/>
              <a:t>Thir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3"/>
            <a:r>
              <a:rPr lang="es-ES_tradnl" err="1"/>
              <a:t>Four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4"/>
            <a:r>
              <a:rPr lang="es-ES_tradnl" err="1"/>
              <a:t>Fif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6202" y="195656"/>
            <a:ext cx="9232900" cy="57207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n-US"/>
          </a:p>
        </p:txBody>
      </p:sp>
      <p:sp>
        <p:nvSpPr>
          <p:cNvPr id="5" name="Vertical Text Placeholder 4">
            <a:extLst>
              <a:ext uri="{FF2B5EF4-FFF2-40B4-BE49-F238E27FC236}">
                <a16:creationId xmlns:a16="http://schemas.microsoft.com/office/drawing/2014/main" id="{37675F7F-C67F-4444-BEF1-898A3B5C4011}"/>
              </a:ext>
            </a:extLst>
          </p:cNvPr>
          <p:cNvSpPr>
            <a:spLocks noGrp="1"/>
          </p:cNvSpPr>
          <p:nvPr>
            <p:ph type="body" orient="vert" sz="quarter" idx="10" hasCustomPrompt="1"/>
          </p:nvPr>
        </p:nvSpPr>
        <p:spPr>
          <a:xfrm>
            <a:off x="351081" y="2122488"/>
            <a:ext cx="207433" cy="3890962"/>
          </a:xfrm>
        </p:spPr>
        <p:txBody>
          <a:bodyPr vert="eaVert"/>
          <a:lstStyle>
            <a:lvl1pP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sz="900"/>
              <a:t>Confidential – not for distribu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6922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6FD1D-4AA4-C540-8DAB-642E4EB030B0}" type="datetimeFigureOut">
              <a:rPr lang="en-US" smtClean="0"/>
              <a:t>10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DE11EB-5F28-7641-81B3-CB022D15F5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3823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90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3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4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12" name="Marcador de Posição de Conteúdo 6">
            <a:extLst>
              <a:ext uri="{FF2B5EF4-FFF2-40B4-BE49-F238E27FC236}">
                <a16:creationId xmlns:a16="http://schemas.microsoft.com/office/drawing/2014/main" id="{53B29438-5A43-DD4B-BE4F-946832E3E4E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91740" y="1051515"/>
            <a:ext cx="11469889" cy="5364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47" b="0">
                <a:solidFill>
                  <a:srgbClr val="283A8A"/>
                </a:solidFill>
              </a:defRPr>
            </a:lvl1pPr>
            <a:lvl2pPr marL="457155" indent="0">
              <a:buNone/>
              <a:defRPr/>
            </a:lvl2pPr>
            <a:lvl3pPr marL="914310" indent="0">
              <a:buNone/>
              <a:defRPr/>
            </a:lvl3pPr>
            <a:lvl4pPr marL="1371464" indent="0">
              <a:buNone/>
              <a:defRPr/>
            </a:lvl4pPr>
            <a:lvl5pPr marL="1828620" indent="0">
              <a:buNone/>
              <a:defRPr/>
            </a:lvl5pPr>
          </a:lstStyle>
          <a:p>
            <a:pPr lvl="0"/>
            <a:r>
              <a:rPr lang="en-GB"/>
              <a:t>Text – copy tex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4" y="126148"/>
            <a:ext cx="1857805" cy="78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519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10B3724-3C95-7F35-028A-884DA7B636BB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C7DA46C4-F7B4-D385-FF42-16FFF7775413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5A3DD0E-AF21-33A6-5F93-73DB04D9AAF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56455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E374D-FD18-874F-91C9-F11A60DD5B2D}"/>
              </a:ext>
            </a:extLst>
          </p:cNvPr>
          <p:cNvSpPr/>
          <p:nvPr userDrawn="1"/>
        </p:nvSpPr>
        <p:spPr>
          <a:xfrm>
            <a:off x="6921500" y="0"/>
            <a:ext cx="5270500" cy="685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3B15EA6-E9D1-87C3-FFAC-22F445177FBD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527CE71-B14B-4813-3B4D-70866F1C1856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D418AD5-941D-2FF4-8473-217C7C240BB7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06574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1E374D-FD18-874F-91C9-F11A60DD5B2D}"/>
              </a:ext>
            </a:extLst>
          </p:cNvPr>
          <p:cNvSpPr/>
          <p:nvPr userDrawn="1"/>
        </p:nvSpPr>
        <p:spPr>
          <a:xfrm>
            <a:off x="6921500" y="0"/>
            <a:ext cx="5270500" cy="6858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 marL="914400" indent="0">
              <a:buNone/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3B15EA6-E9D1-87C3-FFAC-22F445177FBD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527CE71-B14B-4813-3B4D-70866F1C1856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D418AD5-941D-2FF4-8473-217C7C240BB7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423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43ABB905-E79E-30AA-0503-9FE8D7774F7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15713" y="249025"/>
            <a:ext cx="5093208" cy="5092861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0A0A7652-316E-A169-C6F1-3BD4FBBE678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54353" y="3142527"/>
            <a:ext cx="3466684" cy="3466448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048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19B9BCA-D56F-833E-B2CD-8E345F082D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4" y="4999392"/>
            <a:ext cx="5645888" cy="90289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2" y="6034419"/>
            <a:ext cx="5645887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0700E8-E5C6-3A63-1281-0DAB5512F32A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CEDB23A-78C2-B75B-356E-A69DC5D8D3C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81841A-80EE-4DC0-2B30-8DB3EB8FC84F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pic>
        <p:nvPicPr>
          <p:cNvPr id="9" name="Picture 8" descr="Logo&#10;&#10;Description automatically generated with low confidence">
            <a:extLst>
              <a:ext uri="{FF2B5EF4-FFF2-40B4-BE49-F238E27FC236}">
                <a16:creationId xmlns:a16="http://schemas.microsoft.com/office/drawing/2014/main" id="{7D35872E-9E23-BF0D-6F1A-F14497DB5A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29" y="163631"/>
            <a:ext cx="1328491" cy="71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597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19B9BCA-D56F-833E-B2CD-8E345F082D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4" y="4999392"/>
            <a:ext cx="5645888" cy="90289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2" y="6034419"/>
            <a:ext cx="5645887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0700E8-E5C6-3A63-1281-0DAB5512F32A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CEDB23A-78C2-B75B-356E-A69DC5D8D3C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81841A-80EE-4DC0-2B30-8DB3EB8FC84F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F67BA5B-DA70-4E8C-31B1-6985E9C2A0C4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061F1F0-1C40-BC7D-9498-219C01E1B1AF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76BE3BA-F197-0077-7A8A-5EAD43222A9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3F355FE-5452-2590-A03F-01EE20D0E132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FDF5A44-83AF-5EA1-DABD-35A6139D0376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410313D-821D-3284-B487-F58B3B0F3882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A18F1AA-90A7-43B0-B8BD-FF4CBCF31E5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6328D89-F5F1-D635-2072-A84A1C7AEA62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08670F-D1E7-9935-40B3-79112A4B079D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379E4BD-6D69-772A-BC84-A274136CACB3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FB7079F-C72B-24B9-32DA-DAB42E187DEF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38CA3E4-4C5E-DC0D-CA55-C344BB57311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DC167D6-4421-7003-CA2F-B345CB6E334F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E262DFE-BADC-F569-B080-52CE707AFDAA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6AC3788-8801-E620-BC0B-6FAEF5F4D3F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FC70EE7-4D33-A10B-7080-896DE5FCC041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9CFBE1-6A29-9A11-A6B6-6111268E8A2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44E8D3D-6B34-CC5A-DB29-CE1CF742F4C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62E56E6-0F1B-1D85-DA0C-A323D21E578D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554CA1C-E5B3-F8AC-3CC4-827707DC853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296128-C130-984C-B982-A812F39D629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E2180FA-C0C2-A92F-2AA7-081B1FB9AF20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93E3298-95A5-C7A7-B732-ED50BD737EF0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309349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F47D115-452B-08D2-9794-971393220C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12192000" cy="4460358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612752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834149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8B0B01-FA07-7A6A-11D8-3BD42BF09B4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6222134-2593-AA46-874A-B0C81CEAA8B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B798C9-B299-9982-366A-26721B26EDE8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2BCACB-1EF4-AC43-781E-2AFEC14A2331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ECD574D-12F9-5BC5-479A-F3CD9EB8E3E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88701C5-BDE9-3097-01A1-2935E3DB0A9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118548B-0C43-43EB-E862-7B1C16A6931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823D86F-C145-6F8A-6D28-BAD75BBF16B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7E1278-3052-0C64-3C00-6F5FB64FA76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DEA09D-9EF6-730A-0891-55ACF9C248D5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E733D7D-99B6-4A86-CC88-3D0E1CDE2868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42AC1B-6E4D-22FB-E242-23A1FD4DF58C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9F9573-559C-6F4A-B72F-27E5AA45E57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C2C9FD-13CB-452C-FE74-0641AEE8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884C2E-7AAC-8E43-5867-0C2B20053B46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E2B7154-2A1E-907C-B7CB-636BA10C1FB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92B019B-28FB-D5BE-B78E-2DB438906799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0FB779-ED3A-A81D-465C-B93DF225E9AD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07E954-2B1D-BB17-8135-C30997CB459E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B695AF7-E597-BC29-8CB0-F7F95C808C7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2C1048-6570-CD75-E197-5B25AEEB2F2C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C3B1B0-0120-3E22-3ABD-E0F6DDCD382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2FBACCF-A140-854A-4415-D98738D61B2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4544A1-FE52-590D-096C-0C8CC620F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563" y="4817027"/>
            <a:ext cx="5093208" cy="1723348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12628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FD139D-ACD8-7426-CF91-95A531226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85BEE-058B-F13E-D416-4883D90AB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014F99-72CA-64EB-C98B-A532FA389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6052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0DB1D655-C45D-E4E4-1C77-748132634D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2646316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95922"/>
            <a:ext cx="4190526" cy="751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7916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5759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309426-BA15-69DF-9DF9-E4BCD5A48083}"/>
              </a:ext>
            </a:extLst>
          </p:cNvPr>
          <p:cNvSpPr txBox="1"/>
          <p:nvPr userDrawn="1"/>
        </p:nvSpPr>
        <p:spPr>
          <a:xfrm>
            <a:off x="4116388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F1EC0E-8DD2-ACED-54B6-36F43A8AA4DD}"/>
              </a:ext>
            </a:extLst>
          </p:cNvPr>
          <p:cNvSpPr txBox="1"/>
          <p:nvPr/>
        </p:nvSpPr>
        <p:spPr>
          <a:xfrm>
            <a:off x="7789864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105B046-8380-43C5-27D1-E58BD5D92F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C8A86CA-ED97-4B1C-50A3-296EEB72CF4D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D4BBEB-3875-3E11-09BD-C2110D7183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163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0DB1D655-C45D-E4E4-1C77-748132634D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1471DF-AED5-466E-A584-8CE67589AF03}"/>
              </a:ext>
            </a:extLst>
          </p:cNvPr>
          <p:cNvSpPr/>
          <p:nvPr userDrawn="1"/>
        </p:nvSpPr>
        <p:spPr>
          <a:xfrm>
            <a:off x="-1093258" y="2201724"/>
            <a:ext cx="6490204" cy="2810362"/>
          </a:xfrm>
          <a:prstGeom prst="roundRect">
            <a:avLst>
              <a:gd name="adj" fmla="val 50000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19" y="2506431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5120" y="3956037"/>
            <a:ext cx="4190526" cy="75136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503313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F93338-734A-F44A-E5C0-0B51278EC7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" y="333"/>
            <a:ext cx="12190815" cy="68573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2646316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95922"/>
            <a:ext cx="4190526" cy="751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10699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50">
            <a:extLst>
              <a:ext uri="{FF2B5EF4-FFF2-40B4-BE49-F238E27FC236}">
                <a16:creationId xmlns:a16="http://schemas.microsoft.com/office/drawing/2014/main" id="{33EAF83C-3B7E-F224-6BC2-F7AC5D22FD20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-7938"/>
            <a:ext cx="12191999" cy="6865938"/>
          </a:xfrm>
          <a:pattFill prst="pct5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72112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50353-FD7F-3B2B-713C-7F0A749FA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348" y="357213"/>
            <a:ext cx="9397409" cy="3651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4ADCB4-0471-4359-21E0-92E03B9A4D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6348" y="2413752"/>
            <a:ext cx="9397409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90324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50353-FD7F-3B2B-713C-7F0A749FA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348" y="357213"/>
            <a:ext cx="9397409" cy="3651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28726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D3FE70-09E9-3874-ACC1-7E079E555C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7594"/>
            <a:ext cx="12191999" cy="686559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0FB6E74-2C62-1BB5-E015-B4B231F9E5F6}"/>
              </a:ext>
            </a:extLst>
          </p:cNvPr>
          <p:cNvSpPr/>
          <p:nvPr userDrawn="1"/>
        </p:nvSpPr>
        <p:spPr>
          <a:xfrm>
            <a:off x="-1781608" y="1476376"/>
            <a:ext cx="6490204" cy="2810362"/>
          </a:xfrm>
          <a:prstGeom prst="roundRect">
            <a:avLst>
              <a:gd name="adj" fmla="val 50000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6C77B3-AE18-466E-F053-AF5DCB71F207}"/>
              </a:ext>
            </a:extLst>
          </p:cNvPr>
          <p:cNvSpPr/>
          <p:nvPr userDrawn="1"/>
        </p:nvSpPr>
        <p:spPr>
          <a:xfrm>
            <a:off x="0" y="4460358"/>
            <a:ext cx="12192000" cy="2397642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0078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rgbClr val="55B4E6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229252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rgbClr val="55B4E6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8B0B01-FA07-7A6A-11D8-3BD42BF09B4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6222134-2593-AA46-874A-B0C81CEAA8B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B798C9-B299-9982-366A-26721B26EDE8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2BCACB-1EF4-AC43-781E-2AFEC14A2331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ECD574D-12F9-5BC5-479A-F3CD9EB8E3E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88701C5-BDE9-3097-01A1-2935E3DB0A9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118548B-0C43-43EB-E862-7B1C16A6931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823D86F-C145-6F8A-6D28-BAD75BBF16B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7E1278-3052-0C64-3C00-6F5FB64FA76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DEA09D-9EF6-730A-0891-55ACF9C248D5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E733D7D-99B6-4A86-CC88-3D0E1CDE2868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42AC1B-6E4D-22FB-E242-23A1FD4DF58C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9F9573-559C-6F4A-B72F-27E5AA45E57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C2C9FD-13CB-452C-FE74-0641AEE8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884C2E-7AAC-8E43-5867-0C2B20053B46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E2B7154-2A1E-907C-B7CB-636BA10C1FB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92B019B-28FB-D5BE-B78E-2DB438906799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0FB779-ED3A-A81D-465C-B93DF225E9AD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07E954-2B1D-BB17-8135-C30997CB459E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B695AF7-E597-BC29-8CB0-F7F95C808C7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2C1048-6570-CD75-E197-5B25AEEB2F2C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C3B1B0-0120-3E22-3ABD-E0F6DDCD382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2FBACCF-A140-854A-4415-D98738D61B2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3CCC2-26CC-C83A-D7FB-328912C84F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563" y="4688020"/>
            <a:ext cx="5438888" cy="1538591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879940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DE8CD9-F8BD-388E-5271-277BC8373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65594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FD139D-ACD8-7426-CF91-95A531226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85BEE-058B-F13E-D416-4883D90AB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014F99-72CA-64EB-C98B-A532FA389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5C4DDB-D352-6C4F-C495-AC30D1583259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88978CE-BAE9-FFFC-8D2E-8FDB8A7CE819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90A93AC-8FB2-EB18-12F7-2B8B25098178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3F453CC-5027-B666-52EC-D6C93AB5561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A1FF8DE-0FA3-9D35-C3E1-57F7A9627D28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230880-71ED-BC11-43C8-9F8BE598AE4C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E44725-07B8-E5E0-404A-78D7B9537009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C1EB5DE-DF4D-5A6D-EC34-8D11D0E7C9BB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BB8BF39-97E3-AE8F-FDA3-B115491C0601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D59968-BF6F-A819-09FC-6BF678ED049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4CD521-9AF1-0086-9C6D-7C02F83FC845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32CAD-5E3B-042B-75B4-C285BD1B71A7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7C8ABD6-E221-3D4C-9DA2-D308EEADDFA9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7C9004D-781E-55A5-04B0-4027F92845B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E0EF98-877C-D767-2D3D-CB2C215BA8C1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DF5FDC-3E67-9B2D-C8CB-68C3779A152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AB65B1-5FA1-2C82-8DFA-23F825CBA76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00D829-36D7-809A-F745-244E6D77961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A825E35-B874-4B33-F7DD-CA313D899B1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11FC87C-551D-1BF1-1106-686902B734E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E32E842-F17B-8FE0-AEB6-AD1E605FFDA4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E07950E-2579-EB97-EF37-BB0E7D5892CC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F5E7B1-2B37-C79D-5014-DA4B5E1D8659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C487FAC-7E96-5509-0FF8-E3ACB4E8937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BB72A78-ACD4-30B1-B2E1-3E2F5677B671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12E134B-E5FD-4E80-A27F-3714F9C6E23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992423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9BE03A-4FDF-590B-1A91-B41FA4BC15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414" y="3045"/>
            <a:ext cx="12181172" cy="6851909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62BECF2-2393-FE1F-2557-1643100E81DD}"/>
              </a:ext>
            </a:extLst>
          </p:cNvPr>
          <p:cNvSpPr/>
          <p:nvPr userDrawn="1"/>
        </p:nvSpPr>
        <p:spPr>
          <a:xfrm>
            <a:off x="7670362" y="5164998"/>
            <a:ext cx="6480833" cy="50854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A77665-51AC-E492-C67C-B1CCD76F3F2C}"/>
              </a:ext>
            </a:extLst>
          </p:cNvPr>
          <p:cNvSpPr txBox="1"/>
          <p:nvPr userDrawn="1"/>
        </p:nvSpPr>
        <p:spPr>
          <a:xfrm>
            <a:off x="8251233" y="5296325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400" b="1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  <a:endParaRPr lang="en-US" sz="14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B2F2B17-3D43-F44D-4669-331DAA7843A3}"/>
              </a:ext>
            </a:extLst>
          </p:cNvPr>
          <p:cNvGrpSpPr/>
          <p:nvPr userDrawn="1"/>
        </p:nvGrpSpPr>
        <p:grpSpPr>
          <a:xfrm>
            <a:off x="532635" y="393478"/>
            <a:ext cx="3021218" cy="1580760"/>
            <a:chOff x="442593" y="368967"/>
            <a:chExt cx="3021218" cy="15807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6177DFF-BF03-E552-6332-A38168641E3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540387-381A-7DC7-C756-966C78699FF5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57333C9-1C1F-842A-4F73-BA6C872C79A0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E76F48-D498-5C33-7911-72F299627DF3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7955A4D-1418-D9A3-A3FC-719C7797FC07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BDE892-A3AD-E814-4A75-320A058BAB3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A77D4B6-B503-AF84-24FF-879ADEEB490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063957E-A541-6C5E-3C62-BCFAD6C62C7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EB87F36-D22A-9DC1-3C89-F1A3D5B4319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A55ED6B-9F6A-AE2C-FB3E-19A7639BD147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8008F57-476E-D364-CC8B-05D3BCCA5B8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9C7376E-E7B0-3A18-7484-3AC1855725B2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A53164B-3B02-23B3-9E12-436EE875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DE7FE3E-67EE-6F89-7049-A6594EB3D438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907AAD0-7B85-2E4B-C057-B2F33E159933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91F9CBA-5606-8D81-4737-F41639785C9D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5B77A19-38F0-856F-023D-9ADE86A9B8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68C5118-A307-FA48-6809-47617D7330A5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23BE778-0117-DD6A-A836-1C76582DB6F7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283462C-FD58-8FD1-22E8-197B7496C3C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261555F-EF5D-5A39-37DB-D87B6FEDF557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57241ED-595B-BB28-C586-4012E98DF0B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1611EDB4-7421-D662-9D4D-4C71AD3BA633}"/>
              </a:ext>
            </a:extLst>
          </p:cNvPr>
          <p:cNvSpPr/>
          <p:nvPr userDrawn="1"/>
        </p:nvSpPr>
        <p:spPr>
          <a:xfrm>
            <a:off x="1" y="4965450"/>
            <a:ext cx="6622605" cy="989394"/>
          </a:xfrm>
          <a:custGeom>
            <a:avLst/>
            <a:gdLst>
              <a:gd name="connsiteX0" fmla="*/ 0 w 8411229"/>
              <a:gd name="connsiteY0" fmla="*/ 0 h 1256608"/>
              <a:gd name="connsiteX1" fmla="*/ 7782925 w 8411229"/>
              <a:gd name="connsiteY1" fmla="*/ 0 h 1256608"/>
              <a:gd name="connsiteX2" fmla="*/ 8411229 w 8411229"/>
              <a:gd name="connsiteY2" fmla="*/ 628304 h 1256608"/>
              <a:gd name="connsiteX3" fmla="*/ 8411228 w 8411229"/>
              <a:gd name="connsiteY3" fmla="*/ 628304 h 1256608"/>
              <a:gd name="connsiteX4" fmla="*/ 7782924 w 8411229"/>
              <a:gd name="connsiteY4" fmla="*/ 1256608 h 1256608"/>
              <a:gd name="connsiteX5" fmla="*/ 0 w 8411229"/>
              <a:gd name="connsiteY5" fmla="*/ 1256607 h 1256608"/>
              <a:gd name="connsiteX6" fmla="*/ 0 w 8411229"/>
              <a:gd name="connsiteY6" fmla="*/ 0 h 125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11229" h="1256608">
                <a:moveTo>
                  <a:pt x="0" y="0"/>
                </a:moveTo>
                <a:lnTo>
                  <a:pt x="7782925" y="0"/>
                </a:lnTo>
                <a:cubicBezTo>
                  <a:pt x="8129928" y="0"/>
                  <a:pt x="8411229" y="281301"/>
                  <a:pt x="8411229" y="628304"/>
                </a:cubicBezTo>
                <a:lnTo>
                  <a:pt x="8411228" y="628304"/>
                </a:lnTo>
                <a:cubicBezTo>
                  <a:pt x="8411228" y="975307"/>
                  <a:pt x="8129927" y="1256608"/>
                  <a:pt x="7782924" y="1256608"/>
                </a:cubicBezTo>
                <a:lnTo>
                  <a:pt x="0" y="125660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8CC6EC"/>
              </a:gs>
              <a:gs pos="100000">
                <a:srgbClr val="CAE1F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6BFB51A-9FE1-B077-0E8C-46A208747A36}"/>
              </a:ext>
            </a:extLst>
          </p:cNvPr>
          <p:cNvGrpSpPr/>
          <p:nvPr userDrawn="1"/>
        </p:nvGrpSpPr>
        <p:grpSpPr>
          <a:xfrm>
            <a:off x="415398" y="5078359"/>
            <a:ext cx="5783052" cy="750087"/>
            <a:chOff x="415398" y="5725511"/>
            <a:chExt cx="5783052" cy="750087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5F88A04-D72C-0527-490B-6649D11294CF}"/>
                </a:ext>
              </a:extLst>
            </p:cNvPr>
            <p:cNvSpPr/>
            <p:nvPr userDrawn="1"/>
          </p:nvSpPr>
          <p:spPr>
            <a:xfrm>
              <a:off x="3348277" y="5818254"/>
              <a:ext cx="147443" cy="82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6" name="Picture 55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59C5E21F-C804-99B2-3A20-6433790EDC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98" y="5725511"/>
              <a:ext cx="5783052" cy="750087"/>
            </a:xfrm>
            <a:prstGeom prst="rect">
              <a:avLst/>
            </a:prstGeom>
          </p:spPr>
        </p:pic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909CE8-91E5-BFA1-4DEB-3EDADF2802BF}"/>
              </a:ext>
            </a:extLst>
          </p:cNvPr>
          <p:cNvSpPr/>
          <p:nvPr/>
        </p:nvSpPr>
        <p:spPr>
          <a:xfrm flipH="1">
            <a:off x="7670360" y="6477588"/>
            <a:ext cx="4725382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EF873C-A4B9-BD3A-75D5-47B05F4DF343}"/>
              </a:ext>
            </a:extLst>
          </p:cNvPr>
          <p:cNvSpPr txBox="1"/>
          <p:nvPr/>
        </p:nvSpPr>
        <p:spPr>
          <a:xfrm>
            <a:off x="8045963" y="6477383"/>
            <a:ext cx="3943924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/USER/</a:t>
            </a: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</a:t>
            </a:r>
            <a:endParaRPr lang="en-US" sz="10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5EA60CB-EF4B-A609-39AA-EF0664985CF9}"/>
              </a:ext>
            </a:extLst>
          </p:cNvPr>
          <p:cNvSpPr/>
          <p:nvPr userDrawn="1"/>
        </p:nvSpPr>
        <p:spPr>
          <a:xfrm flipH="1">
            <a:off x="7670360" y="614507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B7B35-E5B2-FBBB-3899-A1F9AEA3B0C3}"/>
              </a:ext>
            </a:extLst>
          </p:cNvPr>
          <p:cNvSpPr txBox="1"/>
          <p:nvPr userDrawn="1"/>
        </p:nvSpPr>
        <p:spPr>
          <a:xfrm>
            <a:off x="8045962" y="614487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WWW.LINKEDIN.COM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/COMPANY/MEDICINES-PATENT-POOL/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C338AE36-D894-2734-AD2E-E38208CF9F4D}"/>
              </a:ext>
            </a:extLst>
          </p:cNvPr>
          <p:cNvSpPr/>
          <p:nvPr userDrawn="1"/>
        </p:nvSpPr>
        <p:spPr>
          <a:xfrm flipH="1">
            <a:off x="7670360" y="581845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DD78A8E-707F-D22C-CAAE-97C18BD75542}"/>
              </a:ext>
            </a:extLst>
          </p:cNvPr>
          <p:cNvSpPr txBox="1"/>
          <p:nvPr userDrawn="1"/>
        </p:nvSpPr>
        <p:spPr>
          <a:xfrm>
            <a:off x="8045962" y="581825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/USER/</a:t>
            </a: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</a:t>
            </a:r>
            <a:endParaRPr lang="en-US" sz="10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FC51CB28-A6D4-7107-8133-8869834A7152}"/>
              </a:ext>
            </a:extLst>
          </p:cNvPr>
          <p:cNvSpPr/>
          <p:nvPr/>
        </p:nvSpPr>
        <p:spPr>
          <a:xfrm>
            <a:off x="7838449" y="5859288"/>
            <a:ext cx="205620" cy="182510"/>
          </a:xfrm>
          <a:custGeom>
            <a:avLst/>
            <a:gdLst>
              <a:gd name="connsiteX0" fmla="*/ 178003 w 205620"/>
              <a:gd name="connsiteY0" fmla="*/ 91762 h 182510"/>
              <a:gd name="connsiteX1" fmla="*/ 171193 w 205620"/>
              <a:gd name="connsiteY1" fmla="*/ 111436 h 182510"/>
              <a:gd name="connsiteX2" fmla="*/ 153979 w 205620"/>
              <a:gd name="connsiteY2" fmla="*/ 138864 h 182510"/>
              <a:gd name="connsiteX3" fmla="*/ 106877 w 205620"/>
              <a:gd name="connsiteY3" fmla="*/ 174049 h 182510"/>
              <a:gd name="connsiteX4" fmla="*/ 74909 w 205620"/>
              <a:gd name="connsiteY4" fmla="*/ 181804 h 182510"/>
              <a:gd name="connsiteX5" fmla="*/ 17592 w 205620"/>
              <a:gd name="connsiteY5" fmla="*/ 172346 h 182510"/>
              <a:gd name="connsiteX6" fmla="*/ 0 w 205620"/>
              <a:gd name="connsiteY6" fmla="*/ 161942 h 182510"/>
              <a:gd name="connsiteX7" fmla="*/ 59397 w 205620"/>
              <a:gd name="connsiteY7" fmla="*/ 143404 h 182510"/>
              <a:gd name="connsiteX8" fmla="*/ 35941 w 205620"/>
              <a:gd name="connsiteY8" fmla="*/ 133378 h 182510"/>
              <a:gd name="connsiteX9" fmla="*/ 21754 w 205620"/>
              <a:gd name="connsiteY9" fmla="*/ 111814 h 182510"/>
              <a:gd name="connsiteX10" fmla="*/ 40292 w 205620"/>
              <a:gd name="connsiteY10" fmla="*/ 110301 h 182510"/>
              <a:gd name="connsiteX11" fmla="*/ 7377 w 205620"/>
              <a:gd name="connsiteY11" fmla="*/ 64523 h 182510"/>
              <a:gd name="connsiteX12" fmla="*/ 25159 w 205620"/>
              <a:gd name="connsiteY12" fmla="*/ 69441 h 182510"/>
              <a:gd name="connsiteX13" fmla="*/ 13052 w 205620"/>
              <a:gd name="connsiteY13" fmla="*/ 9098 h 182510"/>
              <a:gd name="connsiteX14" fmla="*/ 19673 w 205620"/>
              <a:gd name="connsiteY14" fmla="*/ 15908 h 182510"/>
              <a:gd name="connsiteX15" fmla="*/ 45399 w 205620"/>
              <a:gd name="connsiteY15" fmla="*/ 38040 h 182510"/>
              <a:gd name="connsiteX16" fmla="*/ 76611 w 205620"/>
              <a:gd name="connsiteY16" fmla="*/ 52416 h 182510"/>
              <a:gd name="connsiteX17" fmla="*/ 98176 w 205620"/>
              <a:gd name="connsiteY17" fmla="*/ 56011 h 182510"/>
              <a:gd name="connsiteX18" fmla="*/ 101203 w 205620"/>
              <a:gd name="connsiteY18" fmla="*/ 52416 h 182510"/>
              <a:gd name="connsiteX19" fmla="*/ 104986 w 205620"/>
              <a:gd name="connsiteY19" fmla="*/ 25933 h 182510"/>
              <a:gd name="connsiteX20" fmla="*/ 129955 w 205620"/>
              <a:gd name="connsiteY20" fmla="*/ 2099 h 182510"/>
              <a:gd name="connsiteX21" fmla="*/ 152277 w 205620"/>
              <a:gd name="connsiteY21" fmla="*/ 964 h 182510"/>
              <a:gd name="connsiteX22" fmla="*/ 171761 w 205620"/>
              <a:gd name="connsiteY22" fmla="*/ 12314 h 182510"/>
              <a:gd name="connsiteX23" fmla="*/ 176868 w 205620"/>
              <a:gd name="connsiteY23" fmla="*/ 13638 h 182510"/>
              <a:gd name="connsiteX24" fmla="*/ 200892 w 205620"/>
              <a:gd name="connsiteY24" fmla="*/ 3234 h 182510"/>
              <a:gd name="connsiteX25" fmla="*/ 192947 w 205620"/>
              <a:gd name="connsiteY25" fmla="*/ 18934 h 182510"/>
              <a:gd name="connsiteX26" fmla="*/ 186894 w 205620"/>
              <a:gd name="connsiteY26" fmla="*/ 24988 h 182510"/>
              <a:gd name="connsiteX27" fmla="*/ 185759 w 205620"/>
              <a:gd name="connsiteY27" fmla="*/ 27447 h 182510"/>
              <a:gd name="connsiteX28" fmla="*/ 188407 w 205620"/>
              <a:gd name="connsiteY28" fmla="*/ 27636 h 182510"/>
              <a:gd name="connsiteX29" fmla="*/ 203351 w 205620"/>
              <a:gd name="connsiteY29" fmla="*/ 22339 h 182510"/>
              <a:gd name="connsiteX30" fmla="*/ 205621 w 205620"/>
              <a:gd name="connsiteY30" fmla="*/ 22150 h 182510"/>
              <a:gd name="connsiteX31" fmla="*/ 186515 w 205620"/>
              <a:gd name="connsiteY31" fmla="*/ 44472 h 182510"/>
              <a:gd name="connsiteX32" fmla="*/ 184624 w 205620"/>
              <a:gd name="connsiteY32" fmla="*/ 48066 h 182510"/>
              <a:gd name="connsiteX33" fmla="*/ 181597 w 205620"/>
              <a:gd name="connsiteY33" fmla="*/ 78521 h 182510"/>
              <a:gd name="connsiteX34" fmla="*/ 178003 w 205620"/>
              <a:gd name="connsiteY34" fmla="*/ 90817 h 182510"/>
              <a:gd name="connsiteX35" fmla="*/ 177435 w 205620"/>
              <a:gd name="connsiteY35" fmla="*/ 91006 h 182510"/>
              <a:gd name="connsiteX36" fmla="*/ 178003 w 205620"/>
              <a:gd name="connsiteY36" fmla="*/ 91384 h 182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5620" h="182510">
                <a:moveTo>
                  <a:pt x="178003" y="91762"/>
                </a:moveTo>
                <a:cubicBezTo>
                  <a:pt x="177057" y="98762"/>
                  <a:pt x="174031" y="105193"/>
                  <a:pt x="171193" y="111436"/>
                </a:cubicBezTo>
                <a:cubicBezTo>
                  <a:pt x="166653" y="121461"/>
                  <a:pt x="160789" y="130541"/>
                  <a:pt x="153979" y="138864"/>
                </a:cubicBezTo>
                <a:cubicBezTo>
                  <a:pt x="141305" y="154565"/>
                  <a:pt x="125794" y="166482"/>
                  <a:pt x="106877" y="174049"/>
                </a:cubicBezTo>
                <a:cubicBezTo>
                  <a:pt x="96473" y="178210"/>
                  <a:pt x="85880" y="180480"/>
                  <a:pt x="74909" y="181804"/>
                </a:cubicBezTo>
                <a:cubicBezTo>
                  <a:pt x="54668" y="184264"/>
                  <a:pt x="35752" y="180102"/>
                  <a:pt x="17592" y="172346"/>
                </a:cubicBezTo>
                <a:cubicBezTo>
                  <a:pt x="11728" y="169887"/>
                  <a:pt x="5864" y="167050"/>
                  <a:pt x="0" y="161942"/>
                </a:cubicBezTo>
                <a:cubicBezTo>
                  <a:pt x="22700" y="163266"/>
                  <a:pt x="42183" y="157402"/>
                  <a:pt x="59397" y="143404"/>
                </a:cubicBezTo>
                <a:cubicBezTo>
                  <a:pt x="50507" y="142458"/>
                  <a:pt x="42751" y="138864"/>
                  <a:pt x="35941" y="133378"/>
                </a:cubicBezTo>
                <a:cubicBezTo>
                  <a:pt x="29131" y="127704"/>
                  <a:pt x="24591" y="120326"/>
                  <a:pt x="21754" y="111814"/>
                </a:cubicBezTo>
                <a:cubicBezTo>
                  <a:pt x="27996" y="112381"/>
                  <a:pt x="34049" y="112570"/>
                  <a:pt x="40292" y="110301"/>
                </a:cubicBezTo>
                <a:cubicBezTo>
                  <a:pt x="20241" y="104436"/>
                  <a:pt x="6242" y="84574"/>
                  <a:pt x="7377" y="64523"/>
                </a:cubicBezTo>
                <a:cubicBezTo>
                  <a:pt x="13052" y="66982"/>
                  <a:pt x="18349" y="70576"/>
                  <a:pt x="25159" y="69441"/>
                </a:cubicBezTo>
                <a:cubicBezTo>
                  <a:pt x="6621" y="52227"/>
                  <a:pt x="3594" y="32176"/>
                  <a:pt x="13052" y="9098"/>
                </a:cubicBezTo>
                <a:cubicBezTo>
                  <a:pt x="16457" y="10800"/>
                  <a:pt x="17971" y="13638"/>
                  <a:pt x="19673" y="15908"/>
                </a:cubicBezTo>
                <a:cubicBezTo>
                  <a:pt x="26861" y="24988"/>
                  <a:pt x="36319" y="31230"/>
                  <a:pt x="45399" y="38040"/>
                </a:cubicBezTo>
                <a:cubicBezTo>
                  <a:pt x="54857" y="45228"/>
                  <a:pt x="65640" y="49011"/>
                  <a:pt x="76611" y="52416"/>
                </a:cubicBezTo>
                <a:cubicBezTo>
                  <a:pt x="83421" y="54686"/>
                  <a:pt x="90609" y="56389"/>
                  <a:pt x="98176" y="56011"/>
                </a:cubicBezTo>
                <a:cubicBezTo>
                  <a:pt x="101013" y="56011"/>
                  <a:pt x="101770" y="54876"/>
                  <a:pt x="101203" y="52416"/>
                </a:cubicBezTo>
                <a:cubicBezTo>
                  <a:pt x="99311" y="43147"/>
                  <a:pt x="101392" y="34446"/>
                  <a:pt x="104986" y="25933"/>
                </a:cubicBezTo>
                <a:cubicBezTo>
                  <a:pt x="109904" y="14395"/>
                  <a:pt x="118227" y="6260"/>
                  <a:pt x="129955" y="2099"/>
                </a:cubicBezTo>
                <a:cubicBezTo>
                  <a:pt x="137144" y="-360"/>
                  <a:pt x="144710" y="-549"/>
                  <a:pt x="152277" y="964"/>
                </a:cubicBezTo>
                <a:cubicBezTo>
                  <a:pt x="160222" y="2477"/>
                  <a:pt x="166464" y="6639"/>
                  <a:pt x="171761" y="12314"/>
                </a:cubicBezTo>
                <a:cubicBezTo>
                  <a:pt x="173463" y="14016"/>
                  <a:pt x="174787" y="14205"/>
                  <a:pt x="176868" y="13638"/>
                </a:cubicBezTo>
                <a:cubicBezTo>
                  <a:pt x="185002" y="11368"/>
                  <a:pt x="192758" y="7774"/>
                  <a:pt x="200892" y="3234"/>
                </a:cubicBezTo>
                <a:cubicBezTo>
                  <a:pt x="199378" y="9665"/>
                  <a:pt x="196541" y="14395"/>
                  <a:pt x="192947" y="18934"/>
                </a:cubicBezTo>
                <a:cubicBezTo>
                  <a:pt x="191055" y="21204"/>
                  <a:pt x="189353" y="23285"/>
                  <a:pt x="186894" y="24988"/>
                </a:cubicBezTo>
                <a:cubicBezTo>
                  <a:pt x="186137" y="25555"/>
                  <a:pt x="185191" y="26501"/>
                  <a:pt x="185759" y="27447"/>
                </a:cubicBezTo>
                <a:cubicBezTo>
                  <a:pt x="186326" y="28393"/>
                  <a:pt x="187461" y="28014"/>
                  <a:pt x="188407" y="27636"/>
                </a:cubicBezTo>
                <a:cubicBezTo>
                  <a:pt x="193514" y="25933"/>
                  <a:pt x="198811" y="24988"/>
                  <a:pt x="203351" y="22339"/>
                </a:cubicBezTo>
                <a:cubicBezTo>
                  <a:pt x="204108" y="21961"/>
                  <a:pt x="204675" y="21772"/>
                  <a:pt x="205621" y="22150"/>
                </a:cubicBezTo>
                <a:cubicBezTo>
                  <a:pt x="200892" y="31041"/>
                  <a:pt x="193893" y="37851"/>
                  <a:pt x="186515" y="44472"/>
                </a:cubicBezTo>
                <a:cubicBezTo>
                  <a:pt x="185191" y="45607"/>
                  <a:pt x="184624" y="46552"/>
                  <a:pt x="184624" y="48066"/>
                </a:cubicBezTo>
                <a:cubicBezTo>
                  <a:pt x="184813" y="58280"/>
                  <a:pt x="183110" y="68495"/>
                  <a:pt x="181597" y="78521"/>
                </a:cubicBezTo>
                <a:cubicBezTo>
                  <a:pt x="181030" y="82683"/>
                  <a:pt x="179138" y="86655"/>
                  <a:pt x="178003" y="90817"/>
                </a:cubicBezTo>
                <a:cubicBezTo>
                  <a:pt x="177814" y="90817"/>
                  <a:pt x="177625" y="90817"/>
                  <a:pt x="177435" y="91006"/>
                </a:cubicBezTo>
                <a:cubicBezTo>
                  <a:pt x="177625" y="91006"/>
                  <a:pt x="177814" y="91195"/>
                  <a:pt x="178003" y="91384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2" name="Graphic 68">
            <a:extLst>
              <a:ext uri="{FF2B5EF4-FFF2-40B4-BE49-F238E27FC236}">
                <a16:creationId xmlns:a16="http://schemas.microsoft.com/office/drawing/2014/main" id="{977A1A28-7957-A26F-4235-31722B868445}"/>
              </a:ext>
            </a:extLst>
          </p:cNvPr>
          <p:cNvGrpSpPr/>
          <p:nvPr/>
        </p:nvGrpSpPr>
        <p:grpSpPr>
          <a:xfrm>
            <a:off x="7850745" y="6181384"/>
            <a:ext cx="181327" cy="182232"/>
            <a:chOff x="7850745" y="6181384"/>
            <a:chExt cx="181327" cy="182232"/>
          </a:xfrm>
          <a:solidFill>
            <a:srgbClr val="FFFFFF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37FE79D-88CD-7F8F-7F85-1245C15F464E}"/>
                </a:ext>
              </a:extLst>
            </p:cNvPr>
            <p:cNvSpPr/>
            <p:nvPr/>
          </p:nvSpPr>
          <p:spPr>
            <a:xfrm>
              <a:off x="7912412" y="6239594"/>
              <a:ext cx="119660" cy="124023"/>
            </a:xfrm>
            <a:custGeom>
              <a:avLst/>
              <a:gdLst>
                <a:gd name="connsiteX0" fmla="*/ 38589 w 119660"/>
                <a:gd name="connsiteY0" fmla="*/ 58762 h 124023"/>
                <a:gd name="connsiteX1" fmla="*/ 38589 w 119660"/>
                <a:gd name="connsiteY1" fmla="*/ 115700 h 124023"/>
                <a:gd name="connsiteX2" fmla="*/ 38211 w 119660"/>
                <a:gd name="connsiteY2" fmla="*/ 120240 h 124023"/>
                <a:gd name="connsiteX3" fmla="*/ 32536 w 119660"/>
                <a:gd name="connsiteY3" fmla="*/ 124023 h 124023"/>
                <a:gd name="connsiteX4" fmla="*/ 6242 w 119660"/>
                <a:gd name="connsiteY4" fmla="*/ 124023 h 124023"/>
                <a:gd name="connsiteX5" fmla="*/ 0 w 119660"/>
                <a:gd name="connsiteY5" fmla="*/ 117402 h 124023"/>
                <a:gd name="connsiteX6" fmla="*/ 0 w 119660"/>
                <a:gd name="connsiteY6" fmla="*/ 9579 h 124023"/>
                <a:gd name="connsiteX7" fmla="*/ 7567 w 119660"/>
                <a:gd name="connsiteY7" fmla="*/ 1823 h 124023"/>
                <a:gd name="connsiteX8" fmla="*/ 28753 w 119660"/>
                <a:gd name="connsiteY8" fmla="*/ 1823 h 124023"/>
                <a:gd name="connsiteX9" fmla="*/ 34428 w 119660"/>
                <a:gd name="connsiteY9" fmla="*/ 2202 h 124023"/>
                <a:gd name="connsiteX10" fmla="*/ 38589 w 119660"/>
                <a:gd name="connsiteY10" fmla="*/ 8066 h 124023"/>
                <a:gd name="connsiteX11" fmla="*/ 38589 w 119660"/>
                <a:gd name="connsiteY11" fmla="*/ 16767 h 124023"/>
                <a:gd name="connsiteX12" fmla="*/ 46534 w 119660"/>
                <a:gd name="connsiteY12" fmla="*/ 8066 h 124023"/>
                <a:gd name="connsiteX13" fmla="*/ 64505 w 119660"/>
                <a:gd name="connsiteY13" fmla="*/ 688 h 124023"/>
                <a:gd name="connsiteX14" fmla="*/ 81719 w 119660"/>
                <a:gd name="connsiteY14" fmla="*/ 310 h 124023"/>
                <a:gd name="connsiteX15" fmla="*/ 103851 w 119660"/>
                <a:gd name="connsiteY15" fmla="*/ 9201 h 124023"/>
                <a:gd name="connsiteX16" fmla="*/ 116336 w 119660"/>
                <a:gd name="connsiteY16" fmla="*/ 30765 h 124023"/>
                <a:gd name="connsiteX17" fmla="*/ 119173 w 119660"/>
                <a:gd name="connsiteY17" fmla="*/ 52141 h 124023"/>
                <a:gd name="connsiteX18" fmla="*/ 119551 w 119660"/>
                <a:gd name="connsiteY18" fmla="*/ 117213 h 124023"/>
                <a:gd name="connsiteX19" fmla="*/ 113120 w 119660"/>
                <a:gd name="connsiteY19" fmla="*/ 124023 h 124023"/>
                <a:gd name="connsiteX20" fmla="*/ 85124 w 119660"/>
                <a:gd name="connsiteY20" fmla="*/ 124023 h 124023"/>
                <a:gd name="connsiteX21" fmla="*/ 80395 w 119660"/>
                <a:gd name="connsiteY21" fmla="*/ 119483 h 124023"/>
                <a:gd name="connsiteX22" fmla="*/ 80395 w 119660"/>
                <a:gd name="connsiteY22" fmla="*/ 116835 h 124023"/>
                <a:gd name="connsiteX23" fmla="*/ 80395 w 119660"/>
                <a:gd name="connsiteY23" fmla="*/ 61410 h 124023"/>
                <a:gd name="connsiteX24" fmla="*/ 78125 w 119660"/>
                <a:gd name="connsiteY24" fmla="*/ 45709 h 124023"/>
                <a:gd name="connsiteX25" fmla="*/ 63937 w 119660"/>
                <a:gd name="connsiteY25" fmla="*/ 33981 h 124023"/>
                <a:gd name="connsiteX26" fmla="*/ 49561 w 119660"/>
                <a:gd name="connsiteY26" fmla="*/ 36440 h 124023"/>
                <a:gd name="connsiteX27" fmla="*/ 40670 w 119660"/>
                <a:gd name="connsiteY27" fmla="*/ 49114 h 124023"/>
                <a:gd name="connsiteX28" fmla="*/ 38779 w 119660"/>
                <a:gd name="connsiteY28" fmla="*/ 57248 h 124023"/>
                <a:gd name="connsiteX29" fmla="*/ 37833 w 119660"/>
                <a:gd name="connsiteY29" fmla="*/ 58194 h 124023"/>
                <a:gd name="connsiteX30" fmla="*/ 38589 w 119660"/>
                <a:gd name="connsiteY30" fmla="*/ 59140 h 12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9660" h="124023">
                  <a:moveTo>
                    <a:pt x="38589" y="58762"/>
                  </a:moveTo>
                  <a:cubicBezTo>
                    <a:pt x="38589" y="77678"/>
                    <a:pt x="38589" y="96783"/>
                    <a:pt x="38589" y="115700"/>
                  </a:cubicBezTo>
                  <a:cubicBezTo>
                    <a:pt x="38589" y="117213"/>
                    <a:pt x="38589" y="118726"/>
                    <a:pt x="38211" y="120240"/>
                  </a:cubicBezTo>
                  <a:cubicBezTo>
                    <a:pt x="37644" y="122321"/>
                    <a:pt x="35184" y="124023"/>
                    <a:pt x="32536" y="124023"/>
                  </a:cubicBezTo>
                  <a:cubicBezTo>
                    <a:pt x="23835" y="124023"/>
                    <a:pt x="15133" y="124023"/>
                    <a:pt x="6242" y="124023"/>
                  </a:cubicBezTo>
                  <a:cubicBezTo>
                    <a:pt x="2081" y="124023"/>
                    <a:pt x="0" y="121564"/>
                    <a:pt x="0" y="117402"/>
                  </a:cubicBezTo>
                  <a:cubicBezTo>
                    <a:pt x="0" y="81461"/>
                    <a:pt x="0" y="45520"/>
                    <a:pt x="0" y="9579"/>
                  </a:cubicBezTo>
                  <a:cubicBezTo>
                    <a:pt x="0" y="3904"/>
                    <a:pt x="1892" y="1823"/>
                    <a:pt x="7567" y="1823"/>
                  </a:cubicBezTo>
                  <a:cubicBezTo>
                    <a:pt x="14566" y="1823"/>
                    <a:pt x="21754" y="1823"/>
                    <a:pt x="28753" y="1823"/>
                  </a:cubicBezTo>
                  <a:cubicBezTo>
                    <a:pt x="30645" y="1823"/>
                    <a:pt x="32536" y="2012"/>
                    <a:pt x="34428" y="2202"/>
                  </a:cubicBezTo>
                  <a:cubicBezTo>
                    <a:pt x="36509" y="2580"/>
                    <a:pt x="38589" y="5228"/>
                    <a:pt x="38589" y="8066"/>
                  </a:cubicBezTo>
                  <a:cubicBezTo>
                    <a:pt x="38589" y="10714"/>
                    <a:pt x="38589" y="13551"/>
                    <a:pt x="38589" y="16767"/>
                  </a:cubicBezTo>
                  <a:cubicBezTo>
                    <a:pt x="41049" y="13173"/>
                    <a:pt x="43508" y="10525"/>
                    <a:pt x="46534" y="8066"/>
                  </a:cubicBezTo>
                  <a:cubicBezTo>
                    <a:pt x="51831" y="3715"/>
                    <a:pt x="57884" y="1634"/>
                    <a:pt x="64505" y="688"/>
                  </a:cubicBezTo>
                  <a:cubicBezTo>
                    <a:pt x="70180" y="-258"/>
                    <a:pt x="76044" y="-68"/>
                    <a:pt x="81719" y="310"/>
                  </a:cubicBezTo>
                  <a:cubicBezTo>
                    <a:pt x="89853" y="1067"/>
                    <a:pt x="97608" y="3526"/>
                    <a:pt x="103851" y="9201"/>
                  </a:cubicBezTo>
                  <a:cubicBezTo>
                    <a:pt x="110282" y="15065"/>
                    <a:pt x="114255" y="22442"/>
                    <a:pt x="116336" y="30765"/>
                  </a:cubicBezTo>
                  <a:cubicBezTo>
                    <a:pt x="118038" y="37764"/>
                    <a:pt x="118795" y="44763"/>
                    <a:pt x="119173" y="52141"/>
                  </a:cubicBezTo>
                  <a:cubicBezTo>
                    <a:pt x="120119" y="73895"/>
                    <a:pt x="119362" y="95459"/>
                    <a:pt x="119551" y="117213"/>
                  </a:cubicBezTo>
                  <a:cubicBezTo>
                    <a:pt x="119551" y="121375"/>
                    <a:pt x="117092" y="123834"/>
                    <a:pt x="113120" y="124023"/>
                  </a:cubicBezTo>
                  <a:cubicBezTo>
                    <a:pt x="103851" y="124023"/>
                    <a:pt x="94393" y="124023"/>
                    <a:pt x="85124" y="124023"/>
                  </a:cubicBezTo>
                  <a:cubicBezTo>
                    <a:pt x="83232" y="124023"/>
                    <a:pt x="80584" y="121375"/>
                    <a:pt x="80395" y="119483"/>
                  </a:cubicBezTo>
                  <a:cubicBezTo>
                    <a:pt x="80395" y="118537"/>
                    <a:pt x="80395" y="117591"/>
                    <a:pt x="80395" y="116835"/>
                  </a:cubicBezTo>
                  <a:cubicBezTo>
                    <a:pt x="80395" y="98297"/>
                    <a:pt x="80395" y="79759"/>
                    <a:pt x="80395" y="61410"/>
                  </a:cubicBezTo>
                  <a:cubicBezTo>
                    <a:pt x="80395" y="56113"/>
                    <a:pt x="80016" y="50817"/>
                    <a:pt x="78125" y="45709"/>
                  </a:cubicBezTo>
                  <a:cubicBezTo>
                    <a:pt x="75665" y="39089"/>
                    <a:pt x="71315" y="34927"/>
                    <a:pt x="63937" y="33981"/>
                  </a:cubicBezTo>
                  <a:cubicBezTo>
                    <a:pt x="58830" y="33224"/>
                    <a:pt x="53912" y="33603"/>
                    <a:pt x="49561" y="36440"/>
                  </a:cubicBezTo>
                  <a:cubicBezTo>
                    <a:pt x="44832" y="39467"/>
                    <a:pt x="42373" y="44007"/>
                    <a:pt x="40670" y="49114"/>
                  </a:cubicBezTo>
                  <a:cubicBezTo>
                    <a:pt x="39724" y="51763"/>
                    <a:pt x="38779" y="54411"/>
                    <a:pt x="38779" y="57248"/>
                  </a:cubicBezTo>
                  <a:cubicBezTo>
                    <a:pt x="38779" y="57816"/>
                    <a:pt x="38022" y="57627"/>
                    <a:pt x="37833" y="58194"/>
                  </a:cubicBezTo>
                  <a:cubicBezTo>
                    <a:pt x="37833" y="58572"/>
                    <a:pt x="38211" y="58951"/>
                    <a:pt x="38589" y="59140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155F1B3-1016-595A-497B-E9CA6FF0295D}"/>
                </a:ext>
              </a:extLst>
            </p:cNvPr>
            <p:cNvSpPr/>
            <p:nvPr/>
          </p:nvSpPr>
          <p:spPr>
            <a:xfrm>
              <a:off x="7856230" y="6241228"/>
              <a:ext cx="38589" cy="122388"/>
            </a:xfrm>
            <a:custGeom>
              <a:avLst/>
              <a:gdLst>
                <a:gd name="connsiteX0" fmla="*/ 189 w 38589"/>
                <a:gd name="connsiteY0" fmla="*/ 61289 h 122388"/>
                <a:gd name="connsiteX1" fmla="*/ 189 w 38589"/>
                <a:gd name="connsiteY1" fmla="*/ 6621 h 122388"/>
                <a:gd name="connsiteX2" fmla="*/ 6432 w 38589"/>
                <a:gd name="connsiteY2" fmla="*/ 0 h 122388"/>
                <a:gd name="connsiteX3" fmla="*/ 31401 w 38589"/>
                <a:gd name="connsiteY3" fmla="*/ 0 h 122388"/>
                <a:gd name="connsiteX4" fmla="*/ 38589 w 38589"/>
                <a:gd name="connsiteY4" fmla="*/ 7188 h 122388"/>
                <a:gd name="connsiteX5" fmla="*/ 38589 w 38589"/>
                <a:gd name="connsiteY5" fmla="*/ 9458 h 122388"/>
                <a:gd name="connsiteX6" fmla="*/ 38589 w 38589"/>
                <a:gd name="connsiteY6" fmla="*/ 113877 h 122388"/>
                <a:gd name="connsiteX7" fmla="*/ 36130 w 38589"/>
                <a:gd name="connsiteY7" fmla="*/ 120876 h 122388"/>
                <a:gd name="connsiteX8" fmla="*/ 32347 w 38589"/>
                <a:gd name="connsiteY8" fmla="*/ 122389 h 122388"/>
                <a:gd name="connsiteX9" fmla="*/ 6053 w 38589"/>
                <a:gd name="connsiteY9" fmla="*/ 122389 h 122388"/>
                <a:gd name="connsiteX10" fmla="*/ 0 w 38589"/>
                <a:gd name="connsiteY10" fmla="*/ 116147 h 122388"/>
                <a:gd name="connsiteX11" fmla="*/ 0 w 38589"/>
                <a:gd name="connsiteY11" fmla="*/ 61289 h 12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89" h="122388">
                  <a:moveTo>
                    <a:pt x="189" y="61289"/>
                  </a:moveTo>
                  <a:lnTo>
                    <a:pt x="189" y="6621"/>
                  </a:lnTo>
                  <a:cubicBezTo>
                    <a:pt x="189" y="2648"/>
                    <a:pt x="2459" y="189"/>
                    <a:pt x="6432" y="0"/>
                  </a:cubicBezTo>
                  <a:cubicBezTo>
                    <a:pt x="14755" y="0"/>
                    <a:pt x="23078" y="0"/>
                    <a:pt x="31401" y="0"/>
                  </a:cubicBezTo>
                  <a:cubicBezTo>
                    <a:pt x="36509" y="0"/>
                    <a:pt x="38211" y="1892"/>
                    <a:pt x="38589" y="7188"/>
                  </a:cubicBezTo>
                  <a:cubicBezTo>
                    <a:pt x="38589" y="7945"/>
                    <a:pt x="38589" y="8702"/>
                    <a:pt x="38589" y="9458"/>
                  </a:cubicBezTo>
                  <a:lnTo>
                    <a:pt x="38589" y="113877"/>
                  </a:lnTo>
                  <a:cubicBezTo>
                    <a:pt x="38589" y="116525"/>
                    <a:pt x="38589" y="118984"/>
                    <a:pt x="36130" y="120876"/>
                  </a:cubicBezTo>
                  <a:cubicBezTo>
                    <a:pt x="34995" y="121821"/>
                    <a:pt x="33671" y="122389"/>
                    <a:pt x="32347" y="122389"/>
                  </a:cubicBezTo>
                  <a:cubicBezTo>
                    <a:pt x="23645" y="122389"/>
                    <a:pt x="14944" y="122389"/>
                    <a:pt x="6053" y="122389"/>
                  </a:cubicBezTo>
                  <a:cubicBezTo>
                    <a:pt x="2837" y="122389"/>
                    <a:pt x="0" y="119551"/>
                    <a:pt x="0" y="116147"/>
                  </a:cubicBezTo>
                  <a:lnTo>
                    <a:pt x="0" y="61289"/>
                  </a:ln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39B0709-FE49-5D7E-0792-D593FB27217B}"/>
                </a:ext>
              </a:extLst>
            </p:cNvPr>
            <p:cNvSpPr/>
            <p:nvPr/>
          </p:nvSpPr>
          <p:spPr>
            <a:xfrm>
              <a:off x="7850745" y="6181384"/>
              <a:ext cx="49595" cy="49818"/>
            </a:xfrm>
            <a:custGeom>
              <a:avLst/>
              <a:gdLst>
                <a:gd name="connsiteX0" fmla="*/ 49561 w 49595"/>
                <a:gd name="connsiteY0" fmla="*/ 25038 h 49818"/>
                <a:gd name="connsiteX1" fmla="*/ 24780 w 49595"/>
                <a:gd name="connsiteY1" fmla="*/ 49818 h 49818"/>
                <a:gd name="connsiteX2" fmla="*/ 0 w 49595"/>
                <a:gd name="connsiteY2" fmla="*/ 24849 h 49818"/>
                <a:gd name="connsiteX3" fmla="*/ 27240 w 49595"/>
                <a:gd name="connsiteY3" fmla="*/ 68 h 49818"/>
                <a:gd name="connsiteX4" fmla="*/ 49561 w 49595"/>
                <a:gd name="connsiteY4" fmla="*/ 25038 h 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95" h="49818">
                  <a:moveTo>
                    <a:pt x="49561" y="25038"/>
                  </a:moveTo>
                  <a:cubicBezTo>
                    <a:pt x="49939" y="38847"/>
                    <a:pt x="37644" y="49818"/>
                    <a:pt x="24780" y="49818"/>
                  </a:cubicBezTo>
                  <a:cubicBezTo>
                    <a:pt x="10593" y="49818"/>
                    <a:pt x="0" y="38658"/>
                    <a:pt x="0" y="24849"/>
                  </a:cubicBezTo>
                  <a:cubicBezTo>
                    <a:pt x="0" y="12175"/>
                    <a:pt x="9837" y="-1067"/>
                    <a:pt x="27240" y="68"/>
                  </a:cubicBezTo>
                  <a:cubicBezTo>
                    <a:pt x="38400" y="825"/>
                    <a:pt x="50318" y="11040"/>
                    <a:pt x="49561" y="25038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27D6AE77-B2BA-C3EE-4A0D-7864953291BC}"/>
              </a:ext>
            </a:extLst>
          </p:cNvPr>
          <p:cNvSpPr/>
          <p:nvPr/>
        </p:nvSpPr>
        <p:spPr>
          <a:xfrm>
            <a:off x="7837882" y="6539405"/>
            <a:ext cx="207240" cy="144121"/>
          </a:xfrm>
          <a:custGeom>
            <a:avLst/>
            <a:gdLst>
              <a:gd name="connsiteX0" fmla="*/ 82854 w 207240"/>
              <a:gd name="connsiteY0" fmla="*/ 103283 h 144121"/>
              <a:gd name="connsiteX1" fmla="*/ 109715 w 207240"/>
              <a:gd name="connsiteY1" fmla="*/ 87583 h 144121"/>
              <a:gd name="connsiteX2" fmla="*/ 134495 w 207240"/>
              <a:gd name="connsiteY2" fmla="*/ 73396 h 144121"/>
              <a:gd name="connsiteX3" fmla="*/ 134495 w 207240"/>
              <a:gd name="connsiteY3" fmla="*/ 71315 h 144121"/>
              <a:gd name="connsiteX4" fmla="*/ 126361 w 207240"/>
              <a:gd name="connsiteY4" fmla="*/ 66586 h 144121"/>
              <a:gd name="connsiteX5" fmla="*/ 110282 w 207240"/>
              <a:gd name="connsiteY5" fmla="*/ 57317 h 144121"/>
              <a:gd name="connsiteX6" fmla="*/ 90988 w 207240"/>
              <a:gd name="connsiteY6" fmla="*/ 46156 h 144121"/>
              <a:gd name="connsiteX7" fmla="*/ 82854 w 207240"/>
              <a:gd name="connsiteY7" fmla="*/ 41805 h 144121"/>
              <a:gd name="connsiteX8" fmla="*/ 82854 w 207240"/>
              <a:gd name="connsiteY8" fmla="*/ 103473 h 144121"/>
              <a:gd name="connsiteX9" fmla="*/ 0 w 207240"/>
              <a:gd name="connsiteY9" fmla="*/ 87204 h 144121"/>
              <a:gd name="connsiteX10" fmla="*/ 0 w 207240"/>
              <a:gd name="connsiteY10" fmla="*/ 57317 h 144121"/>
              <a:gd name="connsiteX11" fmla="*/ 378 w 207240"/>
              <a:gd name="connsiteY11" fmla="*/ 55614 h 144121"/>
              <a:gd name="connsiteX12" fmla="*/ 757 w 207240"/>
              <a:gd name="connsiteY12" fmla="*/ 48615 h 144121"/>
              <a:gd name="connsiteX13" fmla="*/ 2459 w 207240"/>
              <a:gd name="connsiteY13" fmla="*/ 31212 h 144121"/>
              <a:gd name="connsiteX14" fmla="*/ 5675 w 207240"/>
              <a:gd name="connsiteY14" fmla="*/ 18727 h 144121"/>
              <a:gd name="connsiteX15" fmla="*/ 15133 w 207240"/>
              <a:gd name="connsiteY15" fmla="*/ 7567 h 144121"/>
              <a:gd name="connsiteX16" fmla="*/ 31401 w 207240"/>
              <a:gd name="connsiteY16" fmla="*/ 2837 h 144121"/>
              <a:gd name="connsiteX17" fmla="*/ 49939 w 207240"/>
              <a:gd name="connsiteY17" fmla="*/ 1135 h 144121"/>
              <a:gd name="connsiteX18" fmla="*/ 69991 w 207240"/>
              <a:gd name="connsiteY18" fmla="*/ 378 h 144121"/>
              <a:gd name="connsiteX19" fmla="*/ 94203 w 207240"/>
              <a:gd name="connsiteY19" fmla="*/ 0 h 144121"/>
              <a:gd name="connsiteX20" fmla="*/ 120686 w 207240"/>
              <a:gd name="connsiteY20" fmla="*/ 0 h 144121"/>
              <a:gd name="connsiteX21" fmla="*/ 135630 w 207240"/>
              <a:gd name="connsiteY21" fmla="*/ 568 h 144121"/>
              <a:gd name="connsiteX22" fmla="*/ 155114 w 207240"/>
              <a:gd name="connsiteY22" fmla="*/ 1513 h 144121"/>
              <a:gd name="connsiteX23" fmla="*/ 167788 w 207240"/>
              <a:gd name="connsiteY23" fmla="*/ 2270 h 144121"/>
              <a:gd name="connsiteX24" fmla="*/ 182165 w 207240"/>
              <a:gd name="connsiteY24" fmla="*/ 3972 h 144121"/>
              <a:gd name="connsiteX25" fmla="*/ 197109 w 207240"/>
              <a:gd name="connsiteY25" fmla="*/ 12296 h 144121"/>
              <a:gd name="connsiteX26" fmla="*/ 203729 w 207240"/>
              <a:gd name="connsiteY26" fmla="*/ 26483 h 144121"/>
              <a:gd name="connsiteX27" fmla="*/ 205243 w 207240"/>
              <a:gd name="connsiteY27" fmla="*/ 36698 h 144121"/>
              <a:gd name="connsiteX28" fmla="*/ 206756 w 207240"/>
              <a:gd name="connsiteY28" fmla="*/ 54668 h 144121"/>
              <a:gd name="connsiteX29" fmla="*/ 207134 w 207240"/>
              <a:gd name="connsiteY29" fmla="*/ 69045 h 144121"/>
              <a:gd name="connsiteX30" fmla="*/ 206756 w 207240"/>
              <a:gd name="connsiteY30" fmla="*/ 80016 h 144121"/>
              <a:gd name="connsiteX31" fmla="*/ 206567 w 207240"/>
              <a:gd name="connsiteY31" fmla="*/ 90231 h 144121"/>
              <a:gd name="connsiteX32" fmla="*/ 205243 w 207240"/>
              <a:gd name="connsiteY32" fmla="*/ 107256 h 144121"/>
              <a:gd name="connsiteX33" fmla="*/ 202027 w 207240"/>
              <a:gd name="connsiteY33" fmla="*/ 124091 h 144121"/>
              <a:gd name="connsiteX34" fmla="*/ 184245 w 207240"/>
              <a:gd name="connsiteY34" fmla="*/ 140170 h 144121"/>
              <a:gd name="connsiteX35" fmla="*/ 162681 w 207240"/>
              <a:gd name="connsiteY35" fmla="*/ 142819 h 144121"/>
              <a:gd name="connsiteX36" fmla="*/ 148872 w 207240"/>
              <a:gd name="connsiteY36" fmla="*/ 143575 h 144121"/>
              <a:gd name="connsiteX37" fmla="*/ 136576 w 207240"/>
              <a:gd name="connsiteY37" fmla="*/ 143954 h 144121"/>
              <a:gd name="connsiteX38" fmla="*/ 115768 w 207240"/>
              <a:gd name="connsiteY38" fmla="*/ 143954 h 144121"/>
              <a:gd name="connsiteX39" fmla="*/ 83232 w 207240"/>
              <a:gd name="connsiteY39" fmla="*/ 143954 h 144121"/>
              <a:gd name="connsiteX40" fmla="*/ 66396 w 207240"/>
              <a:gd name="connsiteY40" fmla="*/ 143575 h 144121"/>
              <a:gd name="connsiteX41" fmla="*/ 48804 w 207240"/>
              <a:gd name="connsiteY41" fmla="*/ 142819 h 144121"/>
              <a:gd name="connsiteX42" fmla="*/ 29888 w 207240"/>
              <a:gd name="connsiteY42" fmla="*/ 141305 h 144121"/>
              <a:gd name="connsiteX43" fmla="*/ 18727 w 207240"/>
              <a:gd name="connsiteY43" fmla="*/ 138279 h 144121"/>
              <a:gd name="connsiteX44" fmla="*/ 5864 w 207240"/>
              <a:gd name="connsiteY44" fmla="*/ 125226 h 144121"/>
              <a:gd name="connsiteX45" fmla="*/ 2837 w 207240"/>
              <a:gd name="connsiteY45" fmla="*/ 112742 h 144121"/>
              <a:gd name="connsiteX46" fmla="*/ 1324 w 207240"/>
              <a:gd name="connsiteY46" fmla="*/ 99878 h 144121"/>
              <a:gd name="connsiteX47" fmla="*/ 757 w 207240"/>
              <a:gd name="connsiteY47" fmla="*/ 88907 h 144121"/>
              <a:gd name="connsiteX48" fmla="*/ 378 w 207240"/>
              <a:gd name="connsiteY48" fmla="*/ 86637 h 144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07240" h="144121">
                <a:moveTo>
                  <a:pt x="82854" y="103283"/>
                </a:moveTo>
                <a:cubicBezTo>
                  <a:pt x="91934" y="97987"/>
                  <a:pt x="100824" y="92690"/>
                  <a:pt x="109715" y="87583"/>
                </a:cubicBezTo>
                <a:cubicBezTo>
                  <a:pt x="117849" y="82854"/>
                  <a:pt x="126172" y="78125"/>
                  <a:pt x="134495" y="73396"/>
                </a:cubicBezTo>
                <a:cubicBezTo>
                  <a:pt x="135819" y="72639"/>
                  <a:pt x="136387" y="72071"/>
                  <a:pt x="134495" y="71315"/>
                </a:cubicBezTo>
                <a:cubicBezTo>
                  <a:pt x="131658" y="69801"/>
                  <a:pt x="129010" y="68288"/>
                  <a:pt x="126361" y="66586"/>
                </a:cubicBezTo>
                <a:cubicBezTo>
                  <a:pt x="121065" y="63370"/>
                  <a:pt x="115579" y="60343"/>
                  <a:pt x="110282" y="57317"/>
                </a:cubicBezTo>
                <a:cubicBezTo>
                  <a:pt x="103851" y="53533"/>
                  <a:pt x="97419" y="49750"/>
                  <a:pt x="90988" y="46156"/>
                </a:cubicBezTo>
                <a:cubicBezTo>
                  <a:pt x="88339" y="44643"/>
                  <a:pt x="85880" y="42940"/>
                  <a:pt x="82854" y="41805"/>
                </a:cubicBezTo>
                <a:lnTo>
                  <a:pt x="82854" y="103473"/>
                </a:lnTo>
                <a:close/>
                <a:moveTo>
                  <a:pt x="0" y="87204"/>
                </a:moveTo>
                <a:lnTo>
                  <a:pt x="0" y="57317"/>
                </a:lnTo>
                <a:cubicBezTo>
                  <a:pt x="0" y="57317"/>
                  <a:pt x="378" y="56182"/>
                  <a:pt x="378" y="55614"/>
                </a:cubicBezTo>
                <a:cubicBezTo>
                  <a:pt x="378" y="53344"/>
                  <a:pt x="378" y="50885"/>
                  <a:pt x="757" y="48615"/>
                </a:cubicBezTo>
                <a:cubicBezTo>
                  <a:pt x="1135" y="42751"/>
                  <a:pt x="1513" y="37076"/>
                  <a:pt x="2459" y="31212"/>
                </a:cubicBezTo>
                <a:cubicBezTo>
                  <a:pt x="3216" y="26861"/>
                  <a:pt x="3594" y="22700"/>
                  <a:pt x="5675" y="18727"/>
                </a:cubicBezTo>
                <a:cubicBezTo>
                  <a:pt x="7945" y="14187"/>
                  <a:pt x="11161" y="10404"/>
                  <a:pt x="15133" y="7567"/>
                </a:cubicBezTo>
                <a:cubicBezTo>
                  <a:pt x="20051" y="3972"/>
                  <a:pt x="25726" y="3594"/>
                  <a:pt x="31401" y="2837"/>
                </a:cubicBezTo>
                <a:cubicBezTo>
                  <a:pt x="37644" y="2081"/>
                  <a:pt x="43697" y="1513"/>
                  <a:pt x="49939" y="1135"/>
                </a:cubicBezTo>
                <a:cubicBezTo>
                  <a:pt x="56560" y="757"/>
                  <a:pt x="63370" y="568"/>
                  <a:pt x="69991" y="378"/>
                </a:cubicBezTo>
                <a:cubicBezTo>
                  <a:pt x="78125" y="0"/>
                  <a:pt x="86259" y="189"/>
                  <a:pt x="94203" y="0"/>
                </a:cubicBezTo>
                <a:cubicBezTo>
                  <a:pt x="103094" y="0"/>
                  <a:pt x="111985" y="0"/>
                  <a:pt x="120686" y="0"/>
                </a:cubicBezTo>
                <a:cubicBezTo>
                  <a:pt x="125605" y="0"/>
                  <a:pt x="130523" y="189"/>
                  <a:pt x="135630" y="568"/>
                </a:cubicBezTo>
                <a:cubicBezTo>
                  <a:pt x="142062" y="946"/>
                  <a:pt x="148493" y="946"/>
                  <a:pt x="155114" y="1513"/>
                </a:cubicBezTo>
                <a:cubicBezTo>
                  <a:pt x="159276" y="1702"/>
                  <a:pt x="163627" y="2081"/>
                  <a:pt x="167788" y="2270"/>
                </a:cubicBezTo>
                <a:cubicBezTo>
                  <a:pt x="172517" y="2459"/>
                  <a:pt x="177436" y="3027"/>
                  <a:pt x="182165" y="3972"/>
                </a:cubicBezTo>
                <a:cubicBezTo>
                  <a:pt x="188029" y="5107"/>
                  <a:pt x="193136" y="7756"/>
                  <a:pt x="197109" y="12296"/>
                </a:cubicBezTo>
                <a:cubicBezTo>
                  <a:pt x="200513" y="16457"/>
                  <a:pt x="202973" y="20997"/>
                  <a:pt x="203729" y="26483"/>
                </a:cubicBezTo>
                <a:cubicBezTo>
                  <a:pt x="204108" y="29888"/>
                  <a:pt x="204675" y="33293"/>
                  <a:pt x="205243" y="36698"/>
                </a:cubicBezTo>
                <a:cubicBezTo>
                  <a:pt x="205999" y="42751"/>
                  <a:pt x="206188" y="48804"/>
                  <a:pt x="206756" y="54668"/>
                </a:cubicBezTo>
                <a:cubicBezTo>
                  <a:pt x="207134" y="59397"/>
                  <a:pt x="206756" y="64316"/>
                  <a:pt x="207134" y="69045"/>
                </a:cubicBezTo>
                <a:cubicBezTo>
                  <a:pt x="207513" y="72639"/>
                  <a:pt x="206756" y="76422"/>
                  <a:pt x="206756" y="80016"/>
                </a:cubicBezTo>
                <a:cubicBezTo>
                  <a:pt x="206756" y="83421"/>
                  <a:pt x="206756" y="86826"/>
                  <a:pt x="206567" y="90231"/>
                </a:cubicBezTo>
                <a:cubicBezTo>
                  <a:pt x="206188" y="95906"/>
                  <a:pt x="205810" y="101581"/>
                  <a:pt x="205243" y="107256"/>
                </a:cubicBezTo>
                <a:cubicBezTo>
                  <a:pt x="204675" y="112931"/>
                  <a:pt x="204108" y="118606"/>
                  <a:pt x="202027" y="124091"/>
                </a:cubicBezTo>
                <a:cubicBezTo>
                  <a:pt x="198811" y="132604"/>
                  <a:pt x="192947" y="137900"/>
                  <a:pt x="184245" y="140170"/>
                </a:cubicBezTo>
                <a:cubicBezTo>
                  <a:pt x="177246" y="142062"/>
                  <a:pt x="169869" y="142251"/>
                  <a:pt x="162681" y="142819"/>
                </a:cubicBezTo>
                <a:cubicBezTo>
                  <a:pt x="158141" y="143197"/>
                  <a:pt x="153601" y="143386"/>
                  <a:pt x="148872" y="143575"/>
                </a:cubicBezTo>
                <a:cubicBezTo>
                  <a:pt x="144710" y="143954"/>
                  <a:pt x="140738" y="143764"/>
                  <a:pt x="136576" y="143954"/>
                </a:cubicBezTo>
                <a:cubicBezTo>
                  <a:pt x="129577" y="144332"/>
                  <a:pt x="122767" y="143954"/>
                  <a:pt x="115768" y="143954"/>
                </a:cubicBezTo>
                <a:cubicBezTo>
                  <a:pt x="104986" y="143954"/>
                  <a:pt x="94014" y="143954"/>
                  <a:pt x="83232" y="143954"/>
                </a:cubicBezTo>
                <a:cubicBezTo>
                  <a:pt x="77557" y="143954"/>
                  <a:pt x="71882" y="143954"/>
                  <a:pt x="66396" y="143575"/>
                </a:cubicBezTo>
                <a:cubicBezTo>
                  <a:pt x="60532" y="143386"/>
                  <a:pt x="54668" y="143197"/>
                  <a:pt x="48804" y="142819"/>
                </a:cubicBezTo>
                <a:cubicBezTo>
                  <a:pt x="42373" y="142440"/>
                  <a:pt x="36130" y="141873"/>
                  <a:pt x="29888" y="141305"/>
                </a:cubicBezTo>
                <a:cubicBezTo>
                  <a:pt x="25915" y="140927"/>
                  <a:pt x="22321" y="139981"/>
                  <a:pt x="18727" y="138279"/>
                </a:cubicBezTo>
                <a:cubicBezTo>
                  <a:pt x="12863" y="135630"/>
                  <a:pt x="8512" y="131280"/>
                  <a:pt x="5864" y="125226"/>
                </a:cubicBezTo>
                <a:cubicBezTo>
                  <a:pt x="4162" y="121254"/>
                  <a:pt x="3405" y="117092"/>
                  <a:pt x="2837" y="112742"/>
                </a:cubicBezTo>
                <a:cubicBezTo>
                  <a:pt x="2270" y="108391"/>
                  <a:pt x="1702" y="104040"/>
                  <a:pt x="1324" y="99878"/>
                </a:cubicBezTo>
                <a:cubicBezTo>
                  <a:pt x="1135" y="96284"/>
                  <a:pt x="567" y="92501"/>
                  <a:pt x="757" y="88907"/>
                </a:cubicBezTo>
                <a:cubicBezTo>
                  <a:pt x="757" y="88150"/>
                  <a:pt x="1135" y="87394"/>
                  <a:pt x="378" y="86637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884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BE17DB05-F884-918E-2C75-BCD4E032EACB}"/>
              </a:ext>
            </a:extLst>
          </p:cNvPr>
          <p:cNvSpPr/>
          <p:nvPr userDrawn="1"/>
        </p:nvSpPr>
        <p:spPr>
          <a:xfrm>
            <a:off x="4016176" y="603250"/>
            <a:ext cx="5651500" cy="5651500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Graphic 190">
            <a:extLst>
              <a:ext uri="{FF2B5EF4-FFF2-40B4-BE49-F238E27FC236}">
                <a16:creationId xmlns:a16="http://schemas.microsoft.com/office/drawing/2014/main" id="{203ABC79-7EB7-8F9A-9856-E46C4E2529CA}"/>
              </a:ext>
            </a:extLst>
          </p:cNvPr>
          <p:cNvSpPr/>
          <p:nvPr userDrawn="1"/>
        </p:nvSpPr>
        <p:spPr>
          <a:xfrm>
            <a:off x="5602367" y="739882"/>
            <a:ext cx="1499030" cy="1490370"/>
          </a:xfrm>
          <a:custGeom>
            <a:avLst/>
            <a:gdLst>
              <a:gd name="connsiteX0" fmla="*/ 262509 w 379190"/>
              <a:gd name="connsiteY0" fmla="*/ 51054 h 376999"/>
              <a:gd name="connsiteX1" fmla="*/ 328136 w 379190"/>
              <a:gd name="connsiteY1" fmla="*/ 116681 h 376999"/>
              <a:gd name="connsiteX2" fmla="*/ 262509 w 379190"/>
              <a:gd name="connsiteY2" fmla="*/ 182309 h 376999"/>
              <a:gd name="connsiteX3" fmla="*/ 197358 w 379190"/>
              <a:gd name="connsiteY3" fmla="*/ 124016 h 376999"/>
              <a:gd name="connsiteX4" fmla="*/ 244983 w 379190"/>
              <a:gd name="connsiteY4" fmla="*/ 124016 h 376999"/>
              <a:gd name="connsiteX5" fmla="*/ 235553 w 379190"/>
              <a:gd name="connsiteY5" fmla="*/ 133445 h 376999"/>
              <a:gd name="connsiteX6" fmla="*/ 245840 w 379190"/>
              <a:gd name="connsiteY6" fmla="*/ 143732 h 376999"/>
              <a:gd name="connsiteX7" fmla="*/ 267748 w 379190"/>
              <a:gd name="connsiteY7" fmla="*/ 121825 h 376999"/>
              <a:gd name="connsiteX8" fmla="*/ 267748 w 379190"/>
              <a:gd name="connsiteY8" fmla="*/ 111538 h 376999"/>
              <a:gd name="connsiteX9" fmla="*/ 245840 w 379190"/>
              <a:gd name="connsiteY9" fmla="*/ 89630 h 376999"/>
              <a:gd name="connsiteX10" fmla="*/ 235553 w 379190"/>
              <a:gd name="connsiteY10" fmla="*/ 99917 h 376999"/>
              <a:gd name="connsiteX11" fmla="*/ 244983 w 379190"/>
              <a:gd name="connsiteY11" fmla="*/ 109347 h 376999"/>
              <a:gd name="connsiteX12" fmla="*/ 197358 w 379190"/>
              <a:gd name="connsiteY12" fmla="*/ 109347 h 376999"/>
              <a:gd name="connsiteX13" fmla="*/ 262509 w 379190"/>
              <a:gd name="connsiteY13" fmla="*/ 51054 h 376999"/>
              <a:gd name="connsiteX14" fmla="*/ 262509 w 379190"/>
              <a:gd name="connsiteY14" fmla="*/ 14573 h 376999"/>
              <a:gd name="connsiteX15" fmla="*/ 364617 w 379190"/>
              <a:gd name="connsiteY15" fmla="*/ 116681 h 376999"/>
              <a:gd name="connsiteX16" fmla="*/ 262509 w 379190"/>
              <a:gd name="connsiteY16" fmla="*/ 218789 h 376999"/>
              <a:gd name="connsiteX17" fmla="*/ 160782 w 379190"/>
              <a:gd name="connsiteY17" fmla="*/ 124016 h 376999"/>
              <a:gd name="connsiteX18" fmla="*/ 182690 w 379190"/>
              <a:gd name="connsiteY18" fmla="*/ 124016 h 376999"/>
              <a:gd name="connsiteX19" fmla="*/ 262509 w 379190"/>
              <a:gd name="connsiteY19" fmla="*/ 196882 h 376999"/>
              <a:gd name="connsiteX20" fmla="*/ 342710 w 379190"/>
              <a:gd name="connsiteY20" fmla="*/ 116681 h 376999"/>
              <a:gd name="connsiteX21" fmla="*/ 262509 w 379190"/>
              <a:gd name="connsiteY21" fmla="*/ 36481 h 376999"/>
              <a:gd name="connsiteX22" fmla="*/ 182690 w 379190"/>
              <a:gd name="connsiteY22" fmla="*/ 109442 h 376999"/>
              <a:gd name="connsiteX23" fmla="*/ 160782 w 379190"/>
              <a:gd name="connsiteY23" fmla="*/ 109442 h 376999"/>
              <a:gd name="connsiteX24" fmla="*/ 262509 w 379190"/>
              <a:gd name="connsiteY24" fmla="*/ 14669 h 376999"/>
              <a:gd name="connsiteX25" fmla="*/ 146209 w 379190"/>
              <a:gd name="connsiteY25" fmla="*/ 109442 h 376999"/>
              <a:gd name="connsiteX26" fmla="*/ 126968 w 379190"/>
              <a:gd name="connsiteY26" fmla="*/ 109442 h 376999"/>
              <a:gd name="connsiteX27" fmla="*/ 107252 w 379190"/>
              <a:gd name="connsiteY27" fmla="*/ 89726 h 376999"/>
              <a:gd name="connsiteX28" fmla="*/ 96965 w 379190"/>
              <a:gd name="connsiteY28" fmla="*/ 100013 h 376999"/>
              <a:gd name="connsiteX29" fmla="*/ 106394 w 379190"/>
              <a:gd name="connsiteY29" fmla="*/ 109442 h 376999"/>
              <a:gd name="connsiteX30" fmla="*/ 76581 w 379190"/>
              <a:gd name="connsiteY30" fmla="*/ 109442 h 376999"/>
              <a:gd name="connsiteX31" fmla="*/ 0 w 379190"/>
              <a:gd name="connsiteY31" fmla="*/ 185928 h 376999"/>
              <a:gd name="connsiteX32" fmla="*/ 76581 w 379190"/>
              <a:gd name="connsiteY32" fmla="*/ 262509 h 376999"/>
              <a:gd name="connsiteX33" fmla="*/ 157448 w 379190"/>
              <a:gd name="connsiteY33" fmla="*/ 262509 h 376999"/>
              <a:gd name="connsiteX34" fmla="*/ 177165 w 379190"/>
              <a:gd name="connsiteY34" fmla="*/ 282226 h 376999"/>
              <a:gd name="connsiteX35" fmla="*/ 187452 w 379190"/>
              <a:gd name="connsiteY35" fmla="*/ 271939 h 376999"/>
              <a:gd name="connsiteX36" fmla="*/ 178022 w 379190"/>
              <a:gd name="connsiteY36" fmla="*/ 262509 h 376999"/>
              <a:gd name="connsiteX37" fmla="*/ 317183 w 379190"/>
              <a:gd name="connsiteY37" fmla="*/ 262509 h 376999"/>
              <a:gd name="connsiteX38" fmla="*/ 357283 w 379190"/>
              <a:gd name="connsiteY38" fmla="*/ 302609 h 376999"/>
              <a:gd name="connsiteX39" fmla="*/ 317183 w 379190"/>
              <a:gd name="connsiteY39" fmla="*/ 342710 h 376999"/>
              <a:gd name="connsiteX40" fmla="*/ 250889 w 379190"/>
              <a:gd name="connsiteY40" fmla="*/ 342710 h 376999"/>
              <a:gd name="connsiteX41" fmla="*/ 231172 w 379190"/>
              <a:gd name="connsiteY41" fmla="*/ 322993 h 376999"/>
              <a:gd name="connsiteX42" fmla="*/ 220885 w 379190"/>
              <a:gd name="connsiteY42" fmla="*/ 333280 h 376999"/>
              <a:gd name="connsiteX43" fmla="*/ 230315 w 379190"/>
              <a:gd name="connsiteY43" fmla="*/ 342710 h 376999"/>
              <a:gd name="connsiteX44" fmla="*/ 76772 w 379190"/>
              <a:gd name="connsiteY44" fmla="*/ 342710 h 376999"/>
              <a:gd name="connsiteX45" fmla="*/ 56960 w 379190"/>
              <a:gd name="connsiteY45" fmla="*/ 322993 h 376999"/>
              <a:gd name="connsiteX46" fmla="*/ 46673 w 379190"/>
              <a:gd name="connsiteY46" fmla="*/ 333280 h 376999"/>
              <a:gd name="connsiteX47" fmla="*/ 62675 w 379190"/>
              <a:gd name="connsiteY47" fmla="*/ 350044 h 376999"/>
              <a:gd name="connsiteX48" fmla="*/ 46673 w 379190"/>
              <a:gd name="connsiteY48" fmla="*/ 366713 h 376999"/>
              <a:gd name="connsiteX49" fmla="*/ 56960 w 379190"/>
              <a:gd name="connsiteY49" fmla="*/ 377000 h 376999"/>
              <a:gd name="connsiteX50" fmla="*/ 76772 w 379190"/>
              <a:gd name="connsiteY50" fmla="*/ 357283 h 376999"/>
              <a:gd name="connsiteX51" fmla="*/ 230315 w 379190"/>
              <a:gd name="connsiteY51" fmla="*/ 357283 h 376999"/>
              <a:gd name="connsiteX52" fmla="*/ 220885 w 379190"/>
              <a:gd name="connsiteY52" fmla="*/ 366713 h 376999"/>
              <a:gd name="connsiteX53" fmla="*/ 231172 w 379190"/>
              <a:gd name="connsiteY53" fmla="*/ 377000 h 376999"/>
              <a:gd name="connsiteX54" fmla="*/ 250889 w 379190"/>
              <a:gd name="connsiteY54" fmla="*/ 357283 h 376999"/>
              <a:gd name="connsiteX55" fmla="*/ 317183 w 379190"/>
              <a:gd name="connsiteY55" fmla="*/ 357283 h 376999"/>
              <a:gd name="connsiteX56" fmla="*/ 371856 w 379190"/>
              <a:gd name="connsiteY56" fmla="*/ 302609 h 376999"/>
              <a:gd name="connsiteX57" fmla="*/ 317183 w 379190"/>
              <a:gd name="connsiteY57" fmla="*/ 247936 h 376999"/>
              <a:gd name="connsiteX58" fmla="*/ 178022 w 379190"/>
              <a:gd name="connsiteY58" fmla="*/ 247936 h 376999"/>
              <a:gd name="connsiteX59" fmla="*/ 187452 w 379190"/>
              <a:gd name="connsiteY59" fmla="*/ 238506 h 376999"/>
              <a:gd name="connsiteX60" fmla="*/ 177165 w 379190"/>
              <a:gd name="connsiteY60" fmla="*/ 228219 h 376999"/>
              <a:gd name="connsiteX61" fmla="*/ 157448 w 379190"/>
              <a:gd name="connsiteY61" fmla="*/ 247936 h 376999"/>
              <a:gd name="connsiteX62" fmla="*/ 76581 w 379190"/>
              <a:gd name="connsiteY62" fmla="*/ 247936 h 376999"/>
              <a:gd name="connsiteX63" fmla="*/ 14573 w 379190"/>
              <a:gd name="connsiteY63" fmla="*/ 185928 h 376999"/>
              <a:gd name="connsiteX64" fmla="*/ 76581 w 379190"/>
              <a:gd name="connsiteY64" fmla="*/ 123920 h 376999"/>
              <a:gd name="connsiteX65" fmla="*/ 106394 w 379190"/>
              <a:gd name="connsiteY65" fmla="*/ 123920 h 376999"/>
              <a:gd name="connsiteX66" fmla="*/ 96965 w 379190"/>
              <a:gd name="connsiteY66" fmla="*/ 133350 h 376999"/>
              <a:gd name="connsiteX67" fmla="*/ 107252 w 379190"/>
              <a:gd name="connsiteY67" fmla="*/ 143637 h 376999"/>
              <a:gd name="connsiteX68" fmla="*/ 126968 w 379190"/>
              <a:gd name="connsiteY68" fmla="*/ 123920 h 376999"/>
              <a:gd name="connsiteX69" fmla="*/ 146209 w 379190"/>
              <a:gd name="connsiteY69" fmla="*/ 123920 h 376999"/>
              <a:gd name="connsiteX70" fmla="*/ 262509 w 379190"/>
              <a:gd name="connsiteY70" fmla="*/ 233267 h 376999"/>
              <a:gd name="connsiteX71" fmla="*/ 379190 w 379190"/>
              <a:gd name="connsiteY71" fmla="*/ 116586 h 376999"/>
              <a:gd name="connsiteX72" fmla="*/ 262509 w 379190"/>
              <a:gd name="connsiteY72" fmla="*/ 0 h 376999"/>
              <a:gd name="connsiteX73" fmla="*/ 146209 w 379190"/>
              <a:gd name="connsiteY73" fmla="*/ 109347 h 37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379190" h="376999">
                <a:moveTo>
                  <a:pt x="262509" y="51054"/>
                </a:moveTo>
                <a:cubicBezTo>
                  <a:pt x="298704" y="51054"/>
                  <a:pt x="328136" y="80486"/>
                  <a:pt x="328136" y="116681"/>
                </a:cubicBezTo>
                <a:cubicBezTo>
                  <a:pt x="328136" y="152876"/>
                  <a:pt x="298704" y="182309"/>
                  <a:pt x="262509" y="182309"/>
                </a:cubicBezTo>
                <a:cubicBezTo>
                  <a:pt x="228791" y="182309"/>
                  <a:pt x="200978" y="156686"/>
                  <a:pt x="197358" y="124016"/>
                </a:cubicBezTo>
                <a:lnTo>
                  <a:pt x="244983" y="124016"/>
                </a:lnTo>
                <a:lnTo>
                  <a:pt x="235553" y="133445"/>
                </a:lnTo>
                <a:lnTo>
                  <a:pt x="245840" y="143732"/>
                </a:lnTo>
                <a:lnTo>
                  <a:pt x="267748" y="121825"/>
                </a:lnTo>
                <a:cubicBezTo>
                  <a:pt x="270605" y="118967"/>
                  <a:pt x="270605" y="114395"/>
                  <a:pt x="267748" y="111538"/>
                </a:cubicBezTo>
                <a:lnTo>
                  <a:pt x="245840" y="89630"/>
                </a:lnTo>
                <a:lnTo>
                  <a:pt x="235553" y="99917"/>
                </a:lnTo>
                <a:lnTo>
                  <a:pt x="244983" y="109347"/>
                </a:lnTo>
                <a:lnTo>
                  <a:pt x="197358" y="109347"/>
                </a:lnTo>
                <a:cubicBezTo>
                  <a:pt x="200978" y="76581"/>
                  <a:pt x="228791" y="51054"/>
                  <a:pt x="262509" y="51054"/>
                </a:cubicBezTo>
                <a:moveTo>
                  <a:pt x="262509" y="14573"/>
                </a:moveTo>
                <a:cubicBezTo>
                  <a:pt x="318802" y="14573"/>
                  <a:pt x="364617" y="60389"/>
                  <a:pt x="364617" y="116681"/>
                </a:cubicBezTo>
                <a:cubicBezTo>
                  <a:pt x="364617" y="172974"/>
                  <a:pt x="318802" y="218789"/>
                  <a:pt x="262509" y="218789"/>
                </a:cubicBezTo>
                <a:cubicBezTo>
                  <a:pt x="206216" y="218789"/>
                  <a:pt x="164592" y="176879"/>
                  <a:pt x="160782" y="124016"/>
                </a:cubicBezTo>
                <a:lnTo>
                  <a:pt x="182690" y="124016"/>
                </a:lnTo>
                <a:cubicBezTo>
                  <a:pt x="186404" y="164878"/>
                  <a:pt x="220790" y="196882"/>
                  <a:pt x="262509" y="196882"/>
                </a:cubicBezTo>
                <a:cubicBezTo>
                  <a:pt x="306705" y="196882"/>
                  <a:pt x="342710" y="160877"/>
                  <a:pt x="342710" y="116681"/>
                </a:cubicBezTo>
                <a:cubicBezTo>
                  <a:pt x="342710" y="72485"/>
                  <a:pt x="306705" y="36481"/>
                  <a:pt x="262509" y="36481"/>
                </a:cubicBezTo>
                <a:cubicBezTo>
                  <a:pt x="220790" y="36481"/>
                  <a:pt x="186404" y="68580"/>
                  <a:pt x="182690" y="109442"/>
                </a:cubicBezTo>
                <a:lnTo>
                  <a:pt x="160782" y="109442"/>
                </a:lnTo>
                <a:cubicBezTo>
                  <a:pt x="164592" y="56579"/>
                  <a:pt x="208693" y="14669"/>
                  <a:pt x="262509" y="14669"/>
                </a:cubicBezTo>
                <a:moveTo>
                  <a:pt x="146209" y="109442"/>
                </a:moveTo>
                <a:lnTo>
                  <a:pt x="126968" y="109442"/>
                </a:lnTo>
                <a:lnTo>
                  <a:pt x="107252" y="89726"/>
                </a:lnTo>
                <a:lnTo>
                  <a:pt x="96965" y="100013"/>
                </a:lnTo>
                <a:lnTo>
                  <a:pt x="106394" y="109442"/>
                </a:lnTo>
                <a:lnTo>
                  <a:pt x="76581" y="109442"/>
                </a:lnTo>
                <a:cubicBezTo>
                  <a:pt x="34385" y="109347"/>
                  <a:pt x="0" y="143732"/>
                  <a:pt x="0" y="185928"/>
                </a:cubicBezTo>
                <a:cubicBezTo>
                  <a:pt x="0" y="228124"/>
                  <a:pt x="34385" y="262509"/>
                  <a:pt x="76581" y="262509"/>
                </a:cubicBezTo>
                <a:lnTo>
                  <a:pt x="157448" y="262509"/>
                </a:lnTo>
                <a:lnTo>
                  <a:pt x="177165" y="282226"/>
                </a:lnTo>
                <a:lnTo>
                  <a:pt x="187452" y="271939"/>
                </a:lnTo>
                <a:lnTo>
                  <a:pt x="178022" y="262509"/>
                </a:lnTo>
                <a:lnTo>
                  <a:pt x="317183" y="262509"/>
                </a:lnTo>
                <a:cubicBezTo>
                  <a:pt x="339281" y="262509"/>
                  <a:pt x="357283" y="280511"/>
                  <a:pt x="357283" y="302609"/>
                </a:cubicBezTo>
                <a:cubicBezTo>
                  <a:pt x="357283" y="324707"/>
                  <a:pt x="339281" y="342710"/>
                  <a:pt x="317183" y="342710"/>
                </a:cubicBezTo>
                <a:lnTo>
                  <a:pt x="250889" y="342710"/>
                </a:lnTo>
                <a:lnTo>
                  <a:pt x="231172" y="322993"/>
                </a:lnTo>
                <a:lnTo>
                  <a:pt x="220885" y="333280"/>
                </a:lnTo>
                <a:lnTo>
                  <a:pt x="230315" y="342710"/>
                </a:lnTo>
                <a:lnTo>
                  <a:pt x="76772" y="342710"/>
                </a:lnTo>
                <a:lnTo>
                  <a:pt x="56960" y="322993"/>
                </a:lnTo>
                <a:lnTo>
                  <a:pt x="46673" y="333280"/>
                </a:lnTo>
                <a:lnTo>
                  <a:pt x="62675" y="350044"/>
                </a:lnTo>
                <a:lnTo>
                  <a:pt x="46673" y="366713"/>
                </a:lnTo>
                <a:lnTo>
                  <a:pt x="56960" y="377000"/>
                </a:lnTo>
                <a:lnTo>
                  <a:pt x="76772" y="357283"/>
                </a:lnTo>
                <a:lnTo>
                  <a:pt x="230315" y="357283"/>
                </a:lnTo>
                <a:lnTo>
                  <a:pt x="220885" y="366713"/>
                </a:lnTo>
                <a:lnTo>
                  <a:pt x="231172" y="377000"/>
                </a:lnTo>
                <a:lnTo>
                  <a:pt x="250889" y="357283"/>
                </a:lnTo>
                <a:lnTo>
                  <a:pt x="317183" y="357283"/>
                </a:lnTo>
                <a:cubicBezTo>
                  <a:pt x="347377" y="357283"/>
                  <a:pt x="371856" y="332708"/>
                  <a:pt x="371856" y="302609"/>
                </a:cubicBezTo>
                <a:cubicBezTo>
                  <a:pt x="371856" y="272510"/>
                  <a:pt x="347282" y="247936"/>
                  <a:pt x="317183" y="247936"/>
                </a:cubicBezTo>
                <a:lnTo>
                  <a:pt x="178022" y="247936"/>
                </a:lnTo>
                <a:lnTo>
                  <a:pt x="187452" y="238506"/>
                </a:lnTo>
                <a:lnTo>
                  <a:pt x="177165" y="228219"/>
                </a:lnTo>
                <a:lnTo>
                  <a:pt x="157448" y="247936"/>
                </a:lnTo>
                <a:lnTo>
                  <a:pt x="76581" y="247936"/>
                </a:lnTo>
                <a:cubicBezTo>
                  <a:pt x="42386" y="247936"/>
                  <a:pt x="14573" y="220123"/>
                  <a:pt x="14573" y="185928"/>
                </a:cubicBezTo>
                <a:cubicBezTo>
                  <a:pt x="14573" y="151733"/>
                  <a:pt x="42386" y="123920"/>
                  <a:pt x="76581" y="123920"/>
                </a:cubicBezTo>
                <a:lnTo>
                  <a:pt x="106394" y="123920"/>
                </a:lnTo>
                <a:lnTo>
                  <a:pt x="96965" y="133350"/>
                </a:lnTo>
                <a:lnTo>
                  <a:pt x="107252" y="143637"/>
                </a:lnTo>
                <a:lnTo>
                  <a:pt x="126968" y="123920"/>
                </a:lnTo>
                <a:lnTo>
                  <a:pt x="146209" y="123920"/>
                </a:lnTo>
                <a:cubicBezTo>
                  <a:pt x="150019" y="184880"/>
                  <a:pt x="200597" y="233267"/>
                  <a:pt x="262509" y="233267"/>
                </a:cubicBezTo>
                <a:cubicBezTo>
                  <a:pt x="324422" y="233267"/>
                  <a:pt x="379190" y="180880"/>
                  <a:pt x="379190" y="116586"/>
                </a:cubicBezTo>
                <a:cubicBezTo>
                  <a:pt x="379190" y="52292"/>
                  <a:pt x="326803" y="0"/>
                  <a:pt x="262509" y="0"/>
                </a:cubicBezTo>
                <a:cubicBezTo>
                  <a:pt x="198215" y="0"/>
                  <a:pt x="150019" y="48482"/>
                  <a:pt x="146209" y="109347"/>
                </a:cubicBezTo>
              </a:path>
            </a:pathLst>
          </a:custGeom>
          <a:solidFill>
            <a:schemeClr val="accent2">
              <a:alpha val="2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E0A744B-FE81-56C9-694C-9E4F9673D800}"/>
              </a:ext>
            </a:extLst>
          </p:cNvPr>
          <p:cNvGrpSpPr/>
          <p:nvPr userDrawn="1"/>
        </p:nvGrpSpPr>
        <p:grpSpPr>
          <a:xfrm>
            <a:off x="4789120" y="3896144"/>
            <a:ext cx="2294072" cy="2044625"/>
            <a:chOff x="5943600" y="3295650"/>
            <a:chExt cx="303084" cy="270128"/>
          </a:xfrm>
          <a:solidFill>
            <a:schemeClr val="accent2">
              <a:alpha val="20000"/>
            </a:schemeClr>
          </a:solidFill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90B6FCF-CD1B-3CB2-68B0-9BA70EBFA359}"/>
                </a:ext>
              </a:extLst>
            </p:cNvPr>
            <p:cNvSpPr/>
            <p:nvPr/>
          </p:nvSpPr>
          <p:spPr>
            <a:xfrm>
              <a:off x="6132744" y="3473957"/>
              <a:ext cx="31930" cy="50768"/>
            </a:xfrm>
            <a:custGeom>
              <a:avLst/>
              <a:gdLst>
                <a:gd name="connsiteX0" fmla="*/ 28883 w 31930"/>
                <a:gd name="connsiteY0" fmla="*/ 50768 h 50768"/>
                <a:gd name="connsiteX1" fmla="*/ 25739 w 31930"/>
                <a:gd name="connsiteY1" fmla="*/ 47720 h 50768"/>
                <a:gd name="connsiteX2" fmla="*/ 25739 w 31930"/>
                <a:gd name="connsiteY2" fmla="*/ 19717 h 50768"/>
                <a:gd name="connsiteX3" fmla="*/ 1546 w 31930"/>
                <a:gd name="connsiteY3" fmla="*/ 5715 h 50768"/>
                <a:gd name="connsiteX4" fmla="*/ 403 w 31930"/>
                <a:gd name="connsiteY4" fmla="*/ 1524 h 50768"/>
                <a:gd name="connsiteX5" fmla="*/ 3070 w 31930"/>
                <a:gd name="connsiteY5" fmla="*/ 0 h 50768"/>
                <a:gd name="connsiteX6" fmla="*/ 4594 w 31930"/>
                <a:gd name="connsiteY6" fmla="*/ 381 h 50768"/>
                <a:gd name="connsiteX7" fmla="*/ 30407 w 31930"/>
                <a:gd name="connsiteY7" fmla="*/ 15240 h 50768"/>
                <a:gd name="connsiteX8" fmla="*/ 31931 w 31930"/>
                <a:gd name="connsiteY8" fmla="*/ 17907 h 50768"/>
                <a:gd name="connsiteX9" fmla="*/ 31931 w 31930"/>
                <a:gd name="connsiteY9" fmla="*/ 47625 h 50768"/>
                <a:gd name="connsiteX10" fmla="*/ 28883 w 31930"/>
                <a:gd name="connsiteY10" fmla="*/ 50673 h 5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930" h="50768">
                  <a:moveTo>
                    <a:pt x="28883" y="50768"/>
                  </a:moveTo>
                  <a:cubicBezTo>
                    <a:pt x="27168" y="50768"/>
                    <a:pt x="25739" y="49340"/>
                    <a:pt x="25739" y="47720"/>
                  </a:cubicBezTo>
                  <a:lnTo>
                    <a:pt x="25739" y="19717"/>
                  </a:lnTo>
                  <a:lnTo>
                    <a:pt x="1546" y="5715"/>
                  </a:lnTo>
                  <a:cubicBezTo>
                    <a:pt x="117" y="4858"/>
                    <a:pt x="-454" y="2953"/>
                    <a:pt x="403" y="1524"/>
                  </a:cubicBezTo>
                  <a:cubicBezTo>
                    <a:pt x="974" y="572"/>
                    <a:pt x="2022" y="0"/>
                    <a:pt x="3070" y="0"/>
                  </a:cubicBezTo>
                  <a:cubicBezTo>
                    <a:pt x="3641" y="0"/>
                    <a:pt x="4118" y="191"/>
                    <a:pt x="4594" y="381"/>
                  </a:cubicBezTo>
                  <a:lnTo>
                    <a:pt x="30407" y="15240"/>
                  </a:lnTo>
                  <a:cubicBezTo>
                    <a:pt x="31359" y="15811"/>
                    <a:pt x="31931" y="16859"/>
                    <a:pt x="31931" y="17907"/>
                  </a:cubicBezTo>
                  <a:lnTo>
                    <a:pt x="31931" y="47625"/>
                  </a:lnTo>
                  <a:cubicBezTo>
                    <a:pt x="31931" y="49340"/>
                    <a:pt x="30502" y="50673"/>
                    <a:pt x="28883" y="5067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50D0593-FA4A-E827-29F2-4CD66FA5D18A}"/>
                </a:ext>
              </a:extLst>
            </p:cNvPr>
            <p:cNvSpPr/>
            <p:nvPr/>
          </p:nvSpPr>
          <p:spPr>
            <a:xfrm>
              <a:off x="6052491" y="3318319"/>
              <a:ext cx="86318" cy="60674"/>
            </a:xfrm>
            <a:custGeom>
              <a:avLst/>
              <a:gdLst>
                <a:gd name="connsiteX0" fmla="*/ 43223 w 86318"/>
                <a:gd name="connsiteY0" fmla="*/ 60674 h 60674"/>
                <a:gd name="connsiteX1" fmla="*/ 40080 w 86318"/>
                <a:gd name="connsiteY1" fmla="*/ 57626 h 60674"/>
                <a:gd name="connsiteX2" fmla="*/ 40080 w 86318"/>
                <a:gd name="connsiteY2" fmla="*/ 28004 h 60674"/>
                <a:gd name="connsiteX3" fmla="*/ 1503 w 86318"/>
                <a:gd name="connsiteY3" fmla="*/ 5715 h 60674"/>
                <a:gd name="connsiteX4" fmla="*/ 360 w 86318"/>
                <a:gd name="connsiteY4" fmla="*/ 1524 h 60674"/>
                <a:gd name="connsiteX5" fmla="*/ 3027 w 86318"/>
                <a:gd name="connsiteY5" fmla="*/ 0 h 60674"/>
                <a:gd name="connsiteX6" fmla="*/ 4551 w 86318"/>
                <a:gd name="connsiteY6" fmla="*/ 381 h 60674"/>
                <a:gd name="connsiteX7" fmla="*/ 43128 w 86318"/>
                <a:gd name="connsiteY7" fmla="*/ 22670 h 60674"/>
                <a:gd name="connsiteX8" fmla="*/ 81704 w 86318"/>
                <a:gd name="connsiteY8" fmla="*/ 381 h 60674"/>
                <a:gd name="connsiteX9" fmla="*/ 83228 w 86318"/>
                <a:gd name="connsiteY9" fmla="*/ 0 h 60674"/>
                <a:gd name="connsiteX10" fmla="*/ 85895 w 86318"/>
                <a:gd name="connsiteY10" fmla="*/ 1524 h 60674"/>
                <a:gd name="connsiteX11" fmla="*/ 84752 w 86318"/>
                <a:gd name="connsiteY11" fmla="*/ 5715 h 60674"/>
                <a:gd name="connsiteX12" fmla="*/ 46176 w 86318"/>
                <a:gd name="connsiteY12" fmla="*/ 28004 h 60674"/>
                <a:gd name="connsiteX13" fmla="*/ 46176 w 86318"/>
                <a:gd name="connsiteY13" fmla="*/ 57626 h 60674"/>
                <a:gd name="connsiteX14" fmla="*/ 43128 w 86318"/>
                <a:gd name="connsiteY14" fmla="*/ 60674 h 60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6318" h="60674">
                  <a:moveTo>
                    <a:pt x="43223" y="60674"/>
                  </a:moveTo>
                  <a:cubicBezTo>
                    <a:pt x="41508" y="60674"/>
                    <a:pt x="40080" y="59246"/>
                    <a:pt x="40080" y="57626"/>
                  </a:cubicBezTo>
                  <a:lnTo>
                    <a:pt x="40080" y="28004"/>
                  </a:lnTo>
                  <a:lnTo>
                    <a:pt x="1503" y="5715"/>
                  </a:lnTo>
                  <a:cubicBezTo>
                    <a:pt x="75" y="4858"/>
                    <a:pt x="-402" y="2953"/>
                    <a:pt x="360" y="1524"/>
                  </a:cubicBezTo>
                  <a:cubicBezTo>
                    <a:pt x="932" y="571"/>
                    <a:pt x="1980" y="0"/>
                    <a:pt x="3027" y="0"/>
                  </a:cubicBezTo>
                  <a:cubicBezTo>
                    <a:pt x="3599" y="0"/>
                    <a:pt x="4075" y="190"/>
                    <a:pt x="4551" y="381"/>
                  </a:cubicBezTo>
                  <a:lnTo>
                    <a:pt x="43128" y="22670"/>
                  </a:lnTo>
                  <a:lnTo>
                    <a:pt x="81704" y="381"/>
                  </a:lnTo>
                  <a:cubicBezTo>
                    <a:pt x="81704" y="381"/>
                    <a:pt x="82657" y="0"/>
                    <a:pt x="83228" y="0"/>
                  </a:cubicBezTo>
                  <a:cubicBezTo>
                    <a:pt x="84276" y="0"/>
                    <a:pt x="85323" y="571"/>
                    <a:pt x="85895" y="1524"/>
                  </a:cubicBezTo>
                  <a:cubicBezTo>
                    <a:pt x="86752" y="2953"/>
                    <a:pt x="86276" y="4858"/>
                    <a:pt x="84752" y="5715"/>
                  </a:cubicBezTo>
                  <a:lnTo>
                    <a:pt x="46176" y="28004"/>
                  </a:lnTo>
                  <a:lnTo>
                    <a:pt x="46176" y="57626"/>
                  </a:lnTo>
                  <a:cubicBezTo>
                    <a:pt x="46176" y="59341"/>
                    <a:pt x="44747" y="60674"/>
                    <a:pt x="43128" y="60674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2723A12-1A76-167E-B304-8751A173932F}"/>
                </a:ext>
              </a:extLst>
            </p:cNvPr>
            <p:cNvSpPr/>
            <p:nvPr/>
          </p:nvSpPr>
          <p:spPr>
            <a:xfrm>
              <a:off x="6092591" y="3404425"/>
              <a:ext cx="31792" cy="50768"/>
            </a:xfrm>
            <a:custGeom>
              <a:avLst/>
              <a:gdLst>
                <a:gd name="connsiteX0" fmla="*/ 28840 w 31792"/>
                <a:gd name="connsiteY0" fmla="*/ 50768 h 50768"/>
                <a:gd name="connsiteX1" fmla="*/ 25697 w 31792"/>
                <a:gd name="connsiteY1" fmla="*/ 47720 h 50768"/>
                <a:gd name="connsiteX2" fmla="*/ 25697 w 31792"/>
                <a:gd name="connsiteY2" fmla="*/ 19717 h 50768"/>
                <a:gd name="connsiteX3" fmla="*/ 1503 w 31792"/>
                <a:gd name="connsiteY3" fmla="*/ 5715 h 50768"/>
                <a:gd name="connsiteX4" fmla="*/ 360 w 31792"/>
                <a:gd name="connsiteY4" fmla="*/ 1524 h 50768"/>
                <a:gd name="connsiteX5" fmla="*/ 3027 w 31792"/>
                <a:gd name="connsiteY5" fmla="*/ 0 h 50768"/>
                <a:gd name="connsiteX6" fmla="*/ 4552 w 31792"/>
                <a:gd name="connsiteY6" fmla="*/ 381 h 50768"/>
                <a:gd name="connsiteX7" fmla="*/ 30269 w 31792"/>
                <a:gd name="connsiteY7" fmla="*/ 15240 h 50768"/>
                <a:gd name="connsiteX8" fmla="*/ 31793 w 31792"/>
                <a:gd name="connsiteY8" fmla="*/ 17907 h 50768"/>
                <a:gd name="connsiteX9" fmla="*/ 31793 w 31792"/>
                <a:gd name="connsiteY9" fmla="*/ 47625 h 50768"/>
                <a:gd name="connsiteX10" fmla="*/ 28745 w 31792"/>
                <a:gd name="connsiteY10" fmla="*/ 50673 h 5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792" h="50768">
                  <a:moveTo>
                    <a:pt x="28840" y="50768"/>
                  </a:moveTo>
                  <a:cubicBezTo>
                    <a:pt x="27126" y="50768"/>
                    <a:pt x="25697" y="49340"/>
                    <a:pt x="25697" y="47720"/>
                  </a:cubicBezTo>
                  <a:lnTo>
                    <a:pt x="25697" y="19717"/>
                  </a:lnTo>
                  <a:lnTo>
                    <a:pt x="1503" y="5715"/>
                  </a:lnTo>
                  <a:cubicBezTo>
                    <a:pt x="75" y="4858"/>
                    <a:pt x="-402" y="2953"/>
                    <a:pt x="360" y="1524"/>
                  </a:cubicBezTo>
                  <a:cubicBezTo>
                    <a:pt x="932" y="571"/>
                    <a:pt x="1980" y="0"/>
                    <a:pt x="3027" y="0"/>
                  </a:cubicBezTo>
                  <a:cubicBezTo>
                    <a:pt x="3599" y="0"/>
                    <a:pt x="4075" y="95"/>
                    <a:pt x="4552" y="381"/>
                  </a:cubicBezTo>
                  <a:lnTo>
                    <a:pt x="30269" y="15240"/>
                  </a:lnTo>
                  <a:cubicBezTo>
                    <a:pt x="31221" y="15811"/>
                    <a:pt x="31793" y="16859"/>
                    <a:pt x="31793" y="17907"/>
                  </a:cubicBezTo>
                  <a:lnTo>
                    <a:pt x="31793" y="47625"/>
                  </a:lnTo>
                  <a:cubicBezTo>
                    <a:pt x="31793" y="49340"/>
                    <a:pt x="30364" y="50673"/>
                    <a:pt x="28745" y="50673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93D5D6AC-6C38-A575-5D80-4346916000A4}"/>
                </a:ext>
              </a:extLst>
            </p:cNvPr>
            <p:cNvSpPr/>
            <p:nvPr/>
          </p:nvSpPr>
          <p:spPr>
            <a:xfrm>
              <a:off x="5972248" y="3387852"/>
              <a:ext cx="246952" cy="168306"/>
            </a:xfrm>
            <a:custGeom>
              <a:avLst/>
              <a:gdLst>
                <a:gd name="connsiteX0" fmla="*/ 86414 w 246952"/>
                <a:gd name="connsiteY0" fmla="*/ 27908 h 168306"/>
                <a:gd name="connsiteX1" fmla="*/ 86414 w 246952"/>
                <a:gd name="connsiteY1" fmla="*/ 70676 h 168306"/>
                <a:gd name="connsiteX2" fmla="*/ 123466 w 246952"/>
                <a:gd name="connsiteY2" fmla="*/ 92107 h 168306"/>
                <a:gd name="connsiteX3" fmla="*/ 160518 w 246952"/>
                <a:gd name="connsiteY3" fmla="*/ 70676 h 168306"/>
                <a:gd name="connsiteX4" fmla="*/ 160518 w 246952"/>
                <a:gd name="connsiteY4" fmla="*/ 27908 h 168306"/>
                <a:gd name="connsiteX5" fmla="*/ 123466 w 246952"/>
                <a:gd name="connsiteY5" fmla="*/ 6477 h 168306"/>
                <a:gd name="connsiteX6" fmla="*/ 86414 w 246952"/>
                <a:gd name="connsiteY6" fmla="*/ 27908 h 168306"/>
                <a:gd name="connsiteX7" fmla="*/ 163566 w 246952"/>
                <a:gd name="connsiteY7" fmla="*/ 168307 h 168306"/>
                <a:gd name="connsiteX8" fmla="*/ 162042 w 246952"/>
                <a:gd name="connsiteY8" fmla="*/ 167926 h 168306"/>
                <a:gd name="connsiteX9" fmla="*/ 121942 w 246952"/>
                <a:gd name="connsiteY9" fmla="*/ 144780 h 168306"/>
                <a:gd name="connsiteX10" fmla="*/ 120418 w 246952"/>
                <a:gd name="connsiteY10" fmla="*/ 142113 h 168306"/>
                <a:gd name="connsiteX11" fmla="*/ 120418 w 246952"/>
                <a:gd name="connsiteY11" fmla="*/ 120491 h 168306"/>
                <a:gd name="connsiteX12" fmla="*/ 123466 w 246952"/>
                <a:gd name="connsiteY12" fmla="*/ 117348 h 168306"/>
                <a:gd name="connsiteX13" fmla="*/ 126514 w 246952"/>
                <a:gd name="connsiteY13" fmla="*/ 120491 h 168306"/>
                <a:gd name="connsiteX14" fmla="*/ 126514 w 246952"/>
                <a:gd name="connsiteY14" fmla="*/ 140303 h 168306"/>
                <a:gd name="connsiteX15" fmla="*/ 163566 w 246952"/>
                <a:gd name="connsiteY15" fmla="*/ 161735 h 168306"/>
                <a:gd name="connsiteX16" fmla="*/ 200618 w 246952"/>
                <a:gd name="connsiteY16" fmla="*/ 140303 h 168306"/>
                <a:gd name="connsiteX17" fmla="*/ 200618 w 246952"/>
                <a:gd name="connsiteY17" fmla="*/ 97536 h 168306"/>
                <a:gd name="connsiteX18" fmla="*/ 163566 w 246952"/>
                <a:gd name="connsiteY18" fmla="*/ 76105 h 168306"/>
                <a:gd name="connsiteX19" fmla="*/ 126514 w 246952"/>
                <a:gd name="connsiteY19" fmla="*/ 97536 h 168306"/>
                <a:gd name="connsiteX20" fmla="*/ 126514 w 246952"/>
                <a:gd name="connsiteY20" fmla="*/ 105632 h 168306"/>
                <a:gd name="connsiteX21" fmla="*/ 123466 w 246952"/>
                <a:gd name="connsiteY21" fmla="*/ 108776 h 168306"/>
                <a:gd name="connsiteX22" fmla="*/ 120418 w 246952"/>
                <a:gd name="connsiteY22" fmla="*/ 105632 h 168306"/>
                <a:gd name="connsiteX23" fmla="*/ 120418 w 246952"/>
                <a:gd name="connsiteY23" fmla="*/ 97536 h 168306"/>
                <a:gd name="connsiteX24" fmla="*/ 83366 w 246952"/>
                <a:gd name="connsiteY24" fmla="*/ 76105 h 168306"/>
                <a:gd name="connsiteX25" fmla="*/ 46313 w 246952"/>
                <a:gd name="connsiteY25" fmla="*/ 97536 h 168306"/>
                <a:gd name="connsiteX26" fmla="*/ 46313 w 246952"/>
                <a:gd name="connsiteY26" fmla="*/ 142113 h 168306"/>
                <a:gd name="connsiteX27" fmla="*/ 43265 w 246952"/>
                <a:gd name="connsiteY27" fmla="*/ 145256 h 168306"/>
                <a:gd name="connsiteX28" fmla="*/ 41075 w 246952"/>
                <a:gd name="connsiteY28" fmla="*/ 144304 h 168306"/>
                <a:gd name="connsiteX29" fmla="*/ 40122 w 246952"/>
                <a:gd name="connsiteY29" fmla="*/ 142113 h 168306"/>
                <a:gd name="connsiteX30" fmla="*/ 40122 w 246952"/>
                <a:gd name="connsiteY30" fmla="*/ 97536 h 168306"/>
                <a:gd name="connsiteX31" fmla="*/ 1546 w 246952"/>
                <a:gd name="connsiteY31" fmla="*/ 75248 h 168306"/>
                <a:gd name="connsiteX32" fmla="*/ 403 w 246952"/>
                <a:gd name="connsiteY32" fmla="*/ 71056 h 168306"/>
                <a:gd name="connsiteX33" fmla="*/ 3070 w 246952"/>
                <a:gd name="connsiteY33" fmla="*/ 69532 h 168306"/>
                <a:gd name="connsiteX34" fmla="*/ 4594 w 246952"/>
                <a:gd name="connsiteY34" fmla="*/ 69914 h 168306"/>
                <a:gd name="connsiteX35" fmla="*/ 43170 w 246952"/>
                <a:gd name="connsiteY35" fmla="*/ 92202 h 168306"/>
                <a:gd name="connsiteX36" fmla="*/ 80222 w 246952"/>
                <a:gd name="connsiteY36" fmla="*/ 70771 h 168306"/>
                <a:gd name="connsiteX37" fmla="*/ 80222 w 246952"/>
                <a:gd name="connsiteY37" fmla="*/ 26194 h 168306"/>
                <a:gd name="connsiteX38" fmla="*/ 81746 w 246952"/>
                <a:gd name="connsiteY38" fmla="*/ 23527 h 168306"/>
                <a:gd name="connsiteX39" fmla="*/ 121942 w 246952"/>
                <a:gd name="connsiteY39" fmla="*/ 381 h 168306"/>
                <a:gd name="connsiteX40" fmla="*/ 123466 w 246952"/>
                <a:gd name="connsiteY40" fmla="*/ 0 h 168306"/>
                <a:gd name="connsiteX41" fmla="*/ 124990 w 246952"/>
                <a:gd name="connsiteY41" fmla="*/ 381 h 168306"/>
                <a:gd name="connsiteX42" fmla="*/ 165185 w 246952"/>
                <a:gd name="connsiteY42" fmla="*/ 23527 h 168306"/>
                <a:gd name="connsiteX43" fmla="*/ 166709 w 246952"/>
                <a:gd name="connsiteY43" fmla="*/ 26194 h 168306"/>
                <a:gd name="connsiteX44" fmla="*/ 166709 w 246952"/>
                <a:gd name="connsiteY44" fmla="*/ 70771 h 168306"/>
                <a:gd name="connsiteX45" fmla="*/ 203762 w 246952"/>
                <a:gd name="connsiteY45" fmla="*/ 92202 h 168306"/>
                <a:gd name="connsiteX46" fmla="*/ 242338 w 246952"/>
                <a:gd name="connsiteY46" fmla="*/ 69914 h 168306"/>
                <a:gd name="connsiteX47" fmla="*/ 243862 w 246952"/>
                <a:gd name="connsiteY47" fmla="*/ 69532 h 168306"/>
                <a:gd name="connsiteX48" fmla="*/ 246529 w 246952"/>
                <a:gd name="connsiteY48" fmla="*/ 71056 h 168306"/>
                <a:gd name="connsiteX49" fmla="*/ 245386 w 246952"/>
                <a:gd name="connsiteY49" fmla="*/ 75248 h 168306"/>
                <a:gd name="connsiteX50" fmla="*/ 206810 w 246952"/>
                <a:gd name="connsiteY50" fmla="*/ 97536 h 168306"/>
                <a:gd name="connsiteX51" fmla="*/ 206810 w 246952"/>
                <a:gd name="connsiteY51" fmla="*/ 142113 h 168306"/>
                <a:gd name="connsiteX52" fmla="*/ 205286 w 246952"/>
                <a:gd name="connsiteY52" fmla="*/ 144780 h 168306"/>
                <a:gd name="connsiteX53" fmla="*/ 165090 w 246952"/>
                <a:gd name="connsiteY53" fmla="*/ 167926 h 168306"/>
                <a:gd name="connsiteX54" fmla="*/ 163566 w 246952"/>
                <a:gd name="connsiteY54" fmla="*/ 168307 h 168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46952" h="168306">
                  <a:moveTo>
                    <a:pt x="86414" y="27908"/>
                  </a:moveTo>
                  <a:lnTo>
                    <a:pt x="86414" y="70676"/>
                  </a:lnTo>
                  <a:lnTo>
                    <a:pt x="123466" y="92107"/>
                  </a:lnTo>
                  <a:lnTo>
                    <a:pt x="160518" y="70676"/>
                  </a:lnTo>
                  <a:lnTo>
                    <a:pt x="160518" y="27908"/>
                  </a:lnTo>
                  <a:lnTo>
                    <a:pt x="123466" y="6477"/>
                  </a:lnTo>
                  <a:lnTo>
                    <a:pt x="86414" y="27908"/>
                  </a:lnTo>
                  <a:close/>
                  <a:moveTo>
                    <a:pt x="163566" y="168307"/>
                  </a:moveTo>
                  <a:cubicBezTo>
                    <a:pt x="162995" y="168307"/>
                    <a:pt x="162518" y="168212"/>
                    <a:pt x="162042" y="167926"/>
                  </a:cubicBezTo>
                  <a:lnTo>
                    <a:pt x="121942" y="144780"/>
                  </a:lnTo>
                  <a:cubicBezTo>
                    <a:pt x="120989" y="144209"/>
                    <a:pt x="120418" y="143256"/>
                    <a:pt x="120418" y="142113"/>
                  </a:cubicBezTo>
                  <a:lnTo>
                    <a:pt x="120418" y="120491"/>
                  </a:lnTo>
                  <a:cubicBezTo>
                    <a:pt x="120418" y="118777"/>
                    <a:pt x="121847" y="117348"/>
                    <a:pt x="123466" y="117348"/>
                  </a:cubicBezTo>
                  <a:cubicBezTo>
                    <a:pt x="125085" y="117348"/>
                    <a:pt x="126514" y="118777"/>
                    <a:pt x="126514" y="120491"/>
                  </a:cubicBezTo>
                  <a:lnTo>
                    <a:pt x="126514" y="140303"/>
                  </a:lnTo>
                  <a:lnTo>
                    <a:pt x="163566" y="161735"/>
                  </a:lnTo>
                  <a:lnTo>
                    <a:pt x="200618" y="140303"/>
                  </a:lnTo>
                  <a:lnTo>
                    <a:pt x="200618" y="97536"/>
                  </a:lnTo>
                  <a:lnTo>
                    <a:pt x="163566" y="76105"/>
                  </a:lnTo>
                  <a:lnTo>
                    <a:pt x="126514" y="97536"/>
                  </a:lnTo>
                  <a:lnTo>
                    <a:pt x="126514" y="105632"/>
                  </a:lnTo>
                  <a:cubicBezTo>
                    <a:pt x="126514" y="107347"/>
                    <a:pt x="125085" y="108776"/>
                    <a:pt x="123466" y="108776"/>
                  </a:cubicBezTo>
                  <a:cubicBezTo>
                    <a:pt x="121847" y="108776"/>
                    <a:pt x="120418" y="107347"/>
                    <a:pt x="120418" y="105632"/>
                  </a:cubicBezTo>
                  <a:lnTo>
                    <a:pt x="120418" y="97536"/>
                  </a:lnTo>
                  <a:lnTo>
                    <a:pt x="83366" y="76105"/>
                  </a:lnTo>
                  <a:lnTo>
                    <a:pt x="46313" y="97536"/>
                  </a:lnTo>
                  <a:lnTo>
                    <a:pt x="46313" y="142113"/>
                  </a:lnTo>
                  <a:cubicBezTo>
                    <a:pt x="46313" y="143828"/>
                    <a:pt x="44980" y="145256"/>
                    <a:pt x="43265" y="145256"/>
                  </a:cubicBezTo>
                  <a:cubicBezTo>
                    <a:pt x="42408" y="145256"/>
                    <a:pt x="41646" y="144971"/>
                    <a:pt x="41075" y="144304"/>
                  </a:cubicBezTo>
                  <a:cubicBezTo>
                    <a:pt x="40503" y="143732"/>
                    <a:pt x="40122" y="142970"/>
                    <a:pt x="40122" y="142113"/>
                  </a:cubicBezTo>
                  <a:lnTo>
                    <a:pt x="40122" y="97536"/>
                  </a:lnTo>
                  <a:lnTo>
                    <a:pt x="1546" y="75248"/>
                  </a:lnTo>
                  <a:cubicBezTo>
                    <a:pt x="117" y="74390"/>
                    <a:pt x="-454" y="72485"/>
                    <a:pt x="403" y="71056"/>
                  </a:cubicBezTo>
                  <a:cubicBezTo>
                    <a:pt x="974" y="70104"/>
                    <a:pt x="2022" y="69532"/>
                    <a:pt x="3070" y="69532"/>
                  </a:cubicBezTo>
                  <a:cubicBezTo>
                    <a:pt x="3641" y="69532"/>
                    <a:pt x="4118" y="69628"/>
                    <a:pt x="4594" y="69914"/>
                  </a:cubicBezTo>
                  <a:lnTo>
                    <a:pt x="43170" y="92202"/>
                  </a:lnTo>
                  <a:lnTo>
                    <a:pt x="80222" y="70771"/>
                  </a:lnTo>
                  <a:lnTo>
                    <a:pt x="80222" y="26194"/>
                  </a:lnTo>
                  <a:cubicBezTo>
                    <a:pt x="80222" y="25146"/>
                    <a:pt x="80794" y="24098"/>
                    <a:pt x="81746" y="23527"/>
                  </a:cubicBezTo>
                  <a:lnTo>
                    <a:pt x="121942" y="381"/>
                  </a:lnTo>
                  <a:cubicBezTo>
                    <a:pt x="121942" y="381"/>
                    <a:pt x="122894" y="0"/>
                    <a:pt x="123466" y="0"/>
                  </a:cubicBezTo>
                  <a:cubicBezTo>
                    <a:pt x="124037" y="0"/>
                    <a:pt x="124514" y="95"/>
                    <a:pt x="124990" y="381"/>
                  </a:cubicBezTo>
                  <a:lnTo>
                    <a:pt x="165185" y="23527"/>
                  </a:lnTo>
                  <a:cubicBezTo>
                    <a:pt x="166138" y="24098"/>
                    <a:pt x="166709" y="25146"/>
                    <a:pt x="166709" y="26194"/>
                  </a:cubicBezTo>
                  <a:lnTo>
                    <a:pt x="166709" y="70771"/>
                  </a:lnTo>
                  <a:lnTo>
                    <a:pt x="203762" y="92202"/>
                  </a:lnTo>
                  <a:lnTo>
                    <a:pt x="242338" y="69914"/>
                  </a:lnTo>
                  <a:cubicBezTo>
                    <a:pt x="242338" y="69914"/>
                    <a:pt x="243290" y="69532"/>
                    <a:pt x="243862" y="69532"/>
                  </a:cubicBezTo>
                  <a:cubicBezTo>
                    <a:pt x="244910" y="69532"/>
                    <a:pt x="245957" y="70104"/>
                    <a:pt x="246529" y="71056"/>
                  </a:cubicBezTo>
                  <a:cubicBezTo>
                    <a:pt x="247386" y="72485"/>
                    <a:pt x="246910" y="74390"/>
                    <a:pt x="245386" y="75248"/>
                  </a:cubicBezTo>
                  <a:lnTo>
                    <a:pt x="206810" y="97536"/>
                  </a:lnTo>
                  <a:lnTo>
                    <a:pt x="206810" y="142113"/>
                  </a:lnTo>
                  <a:cubicBezTo>
                    <a:pt x="206810" y="143256"/>
                    <a:pt x="206238" y="144209"/>
                    <a:pt x="205286" y="144780"/>
                  </a:cubicBezTo>
                  <a:lnTo>
                    <a:pt x="165090" y="167926"/>
                  </a:lnTo>
                  <a:cubicBezTo>
                    <a:pt x="165090" y="167926"/>
                    <a:pt x="164138" y="168307"/>
                    <a:pt x="163566" y="168307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140DD2C-51DB-7CD0-FC30-332A32932DF6}"/>
                </a:ext>
              </a:extLst>
            </p:cNvPr>
            <p:cNvSpPr/>
            <p:nvPr/>
          </p:nvSpPr>
          <p:spPr>
            <a:xfrm>
              <a:off x="6144196" y="3295650"/>
              <a:ext cx="25146" cy="25146"/>
            </a:xfrm>
            <a:custGeom>
              <a:avLst/>
              <a:gdLst>
                <a:gd name="connsiteX0" fmla="*/ 12573 w 25146"/>
                <a:gd name="connsiteY0" fmla="*/ 6191 h 25146"/>
                <a:gd name="connsiteX1" fmla="*/ 6191 w 25146"/>
                <a:gd name="connsiteY1" fmla="*/ 12573 h 25146"/>
                <a:gd name="connsiteX2" fmla="*/ 12573 w 25146"/>
                <a:gd name="connsiteY2" fmla="*/ 18955 h 25146"/>
                <a:gd name="connsiteX3" fmla="*/ 18955 w 25146"/>
                <a:gd name="connsiteY3" fmla="*/ 12573 h 25146"/>
                <a:gd name="connsiteX4" fmla="*/ 12573 w 25146"/>
                <a:gd name="connsiteY4" fmla="*/ 6191 h 25146"/>
                <a:gd name="connsiteX5" fmla="*/ 12573 w 25146"/>
                <a:gd name="connsiteY5" fmla="*/ 25146 h 25146"/>
                <a:gd name="connsiteX6" fmla="*/ 0 w 25146"/>
                <a:gd name="connsiteY6" fmla="*/ 12573 h 25146"/>
                <a:gd name="connsiteX7" fmla="*/ 12573 w 25146"/>
                <a:gd name="connsiteY7" fmla="*/ 0 h 25146"/>
                <a:gd name="connsiteX8" fmla="*/ 25146 w 25146"/>
                <a:gd name="connsiteY8" fmla="*/ 12573 h 25146"/>
                <a:gd name="connsiteX9" fmla="*/ 12573 w 25146"/>
                <a:gd name="connsiteY9" fmla="*/ 25146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46" h="25146">
                  <a:moveTo>
                    <a:pt x="12573" y="6191"/>
                  </a:moveTo>
                  <a:cubicBezTo>
                    <a:pt x="9049" y="6191"/>
                    <a:pt x="6191" y="9049"/>
                    <a:pt x="6191" y="12573"/>
                  </a:cubicBezTo>
                  <a:cubicBezTo>
                    <a:pt x="6191" y="16097"/>
                    <a:pt x="9049" y="18955"/>
                    <a:pt x="12573" y="18955"/>
                  </a:cubicBezTo>
                  <a:cubicBezTo>
                    <a:pt x="16097" y="18955"/>
                    <a:pt x="18955" y="16097"/>
                    <a:pt x="18955" y="12573"/>
                  </a:cubicBezTo>
                  <a:cubicBezTo>
                    <a:pt x="18955" y="9049"/>
                    <a:pt x="16097" y="6191"/>
                    <a:pt x="12573" y="6191"/>
                  </a:cubicBezTo>
                  <a:close/>
                  <a:moveTo>
                    <a:pt x="12573" y="25146"/>
                  </a:moveTo>
                  <a:cubicBezTo>
                    <a:pt x="5620" y="25146"/>
                    <a:pt x="0" y="19526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526" y="0"/>
                    <a:pt x="25146" y="5620"/>
                    <a:pt x="25146" y="12573"/>
                  </a:cubicBezTo>
                  <a:cubicBezTo>
                    <a:pt x="25146" y="19526"/>
                    <a:pt x="19526" y="25146"/>
                    <a:pt x="12573" y="2514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DAE241E-1795-03B1-740A-4C5C43D5A5E3}"/>
                </a:ext>
              </a:extLst>
            </p:cNvPr>
            <p:cNvSpPr/>
            <p:nvPr/>
          </p:nvSpPr>
          <p:spPr>
            <a:xfrm>
              <a:off x="6024276" y="3295650"/>
              <a:ext cx="25145" cy="25146"/>
            </a:xfrm>
            <a:custGeom>
              <a:avLst/>
              <a:gdLst>
                <a:gd name="connsiteX0" fmla="*/ 12573 w 25145"/>
                <a:gd name="connsiteY0" fmla="*/ 6191 h 25146"/>
                <a:gd name="connsiteX1" fmla="*/ 6191 w 25145"/>
                <a:gd name="connsiteY1" fmla="*/ 12573 h 25146"/>
                <a:gd name="connsiteX2" fmla="*/ 12573 w 25145"/>
                <a:gd name="connsiteY2" fmla="*/ 18955 h 25146"/>
                <a:gd name="connsiteX3" fmla="*/ 18955 w 25145"/>
                <a:gd name="connsiteY3" fmla="*/ 12573 h 25146"/>
                <a:gd name="connsiteX4" fmla="*/ 12573 w 25145"/>
                <a:gd name="connsiteY4" fmla="*/ 6191 h 25146"/>
                <a:gd name="connsiteX5" fmla="*/ 12573 w 25145"/>
                <a:gd name="connsiteY5" fmla="*/ 25146 h 25146"/>
                <a:gd name="connsiteX6" fmla="*/ 0 w 25145"/>
                <a:gd name="connsiteY6" fmla="*/ 12573 h 25146"/>
                <a:gd name="connsiteX7" fmla="*/ 12573 w 25145"/>
                <a:gd name="connsiteY7" fmla="*/ 0 h 25146"/>
                <a:gd name="connsiteX8" fmla="*/ 25146 w 25145"/>
                <a:gd name="connsiteY8" fmla="*/ 12573 h 25146"/>
                <a:gd name="connsiteX9" fmla="*/ 12573 w 25145"/>
                <a:gd name="connsiteY9" fmla="*/ 25146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45" h="25146">
                  <a:moveTo>
                    <a:pt x="12573" y="6191"/>
                  </a:moveTo>
                  <a:cubicBezTo>
                    <a:pt x="9049" y="6191"/>
                    <a:pt x="6191" y="9049"/>
                    <a:pt x="6191" y="12573"/>
                  </a:cubicBezTo>
                  <a:cubicBezTo>
                    <a:pt x="6191" y="16097"/>
                    <a:pt x="9049" y="18955"/>
                    <a:pt x="12573" y="18955"/>
                  </a:cubicBezTo>
                  <a:cubicBezTo>
                    <a:pt x="16097" y="18955"/>
                    <a:pt x="18955" y="16097"/>
                    <a:pt x="18955" y="12573"/>
                  </a:cubicBezTo>
                  <a:cubicBezTo>
                    <a:pt x="18955" y="9049"/>
                    <a:pt x="16097" y="6191"/>
                    <a:pt x="12573" y="6191"/>
                  </a:cubicBezTo>
                  <a:close/>
                  <a:moveTo>
                    <a:pt x="12573" y="25146"/>
                  </a:moveTo>
                  <a:cubicBezTo>
                    <a:pt x="5620" y="25146"/>
                    <a:pt x="0" y="19526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526" y="0"/>
                    <a:pt x="25146" y="5620"/>
                    <a:pt x="25146" y="12573"/>
                  </a:cubicBezTo>
                  <a:cubicBezTo>
                    <a:pt x="25146" y="19526"/>
                    <a:pt x="19526" y="25146"/>
                    <a:pt x="12573" y="2514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E8DB45C-C822-79F3-9F85-B42BE4C29A6D}"/>
                </a:ext>
              </a:extLst>
            </p:cNvPr>
            <p:cNvSpPr/>
            <p:nvPr/>
          </p:nvSpPr>
          <p:spPr>
            <a:xfrm>
              <a:off x="5943600" y="3436620"/>
              <a:ext cx="25146" cy="25146"/>
            </a:xfrm>
            <a:custGeom>
              <a:avLst/>
              <a:gdLst>
                <a:gd name="connsiteX0" fmla="*/ 12573 w 25146"/>
                <a:gd name="connsiteY0" fmla="*/ 6191 h 25146"/>
                <a:gd name="connsiteX1" fmla="*/ 6191 w 25146"/>
                <a:gd name="connsiteY1" fmla="*/ 12573 h 25146"/>
                <a:gd name="connsiteX2" fmla="*/ 12573 w 25146"/>
                <a:gd name="connsiteY2" fmla="*/ 18955 h 25146"/>
                <a:gd name="connsiteX3" fmla="*/ 18955 w 25146"/>
                <a:gd name="connsiteY3" fmla="*/ 12573 h 25146"/>
                <a:gd name="connsiteX4" fmla="*/ 12573 w 25146"/>
                <a:gd name="connsiteY4" fmla="*/ 6191 h 25146"/>
                <a:gd name="connsiteX5" fmla="*/ 12573 w 25146"/>
                <a:gd name="connsiteY5" fmla="*/ 25146 h 25146"/>
                <a:gd name="connsiteX6" fmla="*/ 0 w 25146"/>
                <a:gd name="connsiteY6" fmla="*/ 12573 h 25146"/>
                <a:gd name="connsiteX7" fmla="*/ 12573 w 25146"/>
                <a:gd name="connsiteY7" fmla="*/ 0 h 25146"/>
                <a:gd name="connsiteX8" fmla="*/ 25146 w 25146"/>
                <a:gd name="connsiteY8" fmla="*/ 12573 h 25146"/>
                <a:gd name="connsiteX9" fmla="*/ 12573 w 25146"/>
                <a:gd name="connsiteY9" fmla="*/ 25146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46" h="25146">
                  <a:moveTo>
                    <a:pt x="12573" y="6191"/>
                  </a:moveTo>
                  <a:cubicBezTo>
                    <a:pt x="9049" y="6191"/>
                    <a:pt x="6191" y="9049"/>
                    <a:pt x="6191" y="12573"/>
                  </a:cubicBezTo>
                  <a:cubicBezTo>
                    <a:pt x="6191" y="16097"/>
                    <a:pt x="9049" y="18955"/>
                    <a:pt x="12573" y="18955"/>
                  </a:cubicBezTo>
                  <a:cubicBezTo>
                    <a:pt x="16097" y="18955"/>
                    <a:pt x="18955" y="16097"/>
                    <a:pt x="18955" y="12573"/>
                  </a:cubicBezTo>
                  <a:cubicBezTo>
                    <a:pt x="18955" y="9049"/>
                    <a:pt x="16097" y="6191"/>
                    <a:pt x="12573" y="6191"/>
                  </a:cubicBezTo>
                  <a:moveTo>
                    <a:pt x="12573" y="25146"/>
                  </a:moveTo>
                  <a:cubicBezTo>
                    <a:pt x="5620" y="25146"/>
                    <a:pt x="0" y="19526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526" y="0"/>
                    <a:pt x="25146" y="5620"/>
                    <a:pt x="25146" y="12573"/>
                  </a:cubicBezTo>
                  <a:cubicBezTo>
                    <a:pt x="25146" y="19526"/>
                    <a:pt x="19526" y="25146"/>
                    <a:pt x="12573" y="2514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674B9ED-7510-DBFD-AFF1-5E470E2A0389}"/>
                </a:ext>
              </a:extLst>
            </p:cNvPr>
            <p:cNvSpPr/>
            <p:nvPr/>
          </p:nvSpPr>
          <p:spPr>
            <a:xfrm>
              <a:off x="6221539" y="3436524"/>
              <a:ext cx="25145" cy="25241"/>
            </a:xfrm>
            <a:custGeom>
              <a:avLst/>
              <a:gdLst>
                <a:gd name="connsiteX0" fmla="*/ 12668 w 25145"/>
                <a:gd name="connsiteY0" fmla="*/ 6286 h 25241"/>
                <a:gd name="connsiteX1" fmla="*/ 6286 w 25145"/>
                <a:gd name="connsiteY1" fmla="*/ 12668 h 25241"/>
                <a:gd name="connsiteX2" fmla="*/ 12668 w 25145"/>
                <a:gd name="connsiteY2" fmla="*/ 19050 h 25241"/>
                <a:gd name="connsiteX3" fmla="*/ 19050 w 25145"/>
                <a:gd name="connsiteY3" fmla="*/ 12668 h 25241"/>
                <a:gd name="connsiteX4" fmla="*/ 12668 w 25145"/>
                <a:gd name="connsiteY4" fmla="*/ 6286 h 25241"/>
                <a:gd name="connsiteX5" fmla="*/ 12668 w 25145"/>
                <a:gd name="connsiteY5" fmla="*/ 25241 h 25241"/>
                <a:gd name="connsiteX6" fmla="*/ 3715 w 25145"/>
                <a:gd name="connsiteY6" fmla="*/ 21526 h 25241"/>
                <a:gd name="connsiteX7" fmla="*/ 0 w 25145"/>
                <a:gd name="connsiteY7" fmla="*/ 12573 h 25241"/>
                <a:gd name="connsiteX8" fmla="*/ 12573 w 25145"/>
                <a:gd name="connsiteY8" fmla="*/ 0 h 25241"/>
                <a:gd name="connsiteX9" fmla="*/ 25146 w 25145"/>
                <a:gd name="connsiteY9" fmla="*/ 12573 h 25241"/>
                <a:gd name="connsiteX10" fmla="*/ 12573 w 25145"/>
                <a:gd name="connsiteY10" fmla="*/ 25146 h 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145" h="25241">
                  <a:moveTo>
                    <a:pt x="12668" y="6286"/>
                  </a:moveTo>
                  <a:cubicBezTo>
                    <a:pt x="9144" y="6286"/>
                    <a:pt x="6286" y="9144"/>
                    <a:pt x="6286" y="12668"/>
                  </a:cubicBezTo>
                  <a:cubicBezTo>
                    <a:pt x="6286" y="16192"/>
                    <a:pt x="9144" y="19050"/>
                    <a:pt x="12668" y="19050"/>
                  </a:cubicBezTo>
                  <a:cubicBezTo>
                    <a:pt x="16192" y="19050"/>
                    <a:pt x="19050" y="16192"/>
                    <a:pt x="19050" y="12668"/>
                  </a:cubicBezTo>
                  <a:cubicBezTo>
                    <a:pt x="19050" y="9144"/>
                    <a:pt x="16192" y="6286"/>
                    <a:pt x="12668" y="6286"/>
                  </a:cubicBezTo>
                  <a:close/>
                  <a:moveTo>
                    <a:pt x="12668" y="25241"/>
                  </a:moveTo>
                  <a:cubicBezTo>
                    <a:pt x="9334" y="25241"/>
                    <a:pt x="6096" y="23908"/>
                    <a:pt x="3715" y="21526"/>
                  </a:cubicBezTo>
                  <a:cubicBezTo>
                    <a:pt x="1333" y="19145"/>
                    <a:pt x="0" y="16002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526" y="0"/>
                    <a:pt x="25146" y="5620"/>
                    <a:pt x="25146" y="12573"/>
                  </a:cubicBezTo>
                  <a:cubicBezTo>
                    <a:pt x="25146" y="19526"/>
                    <a:pt x="19526" y="25146"/>
                    <a:pt x="12573" y="2514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2CDE3B7-6F19-2AD3-67AC-DEE78DFCE0FF}"/>
                </a:ext>
              </a:extLst>
            </p:cNvPr>
            <p:cNvSpPr/>
            <p:nvPr/>
          </p:nvSpPr>
          <p:spPr>
            <a:xfrm>
              <a:off x="6001130" y="3540632"/>
              <a:ext cx="25146" cy="25146"/>
            </a:xfrm>
            <a:custGeom>
              <a:avLst/>
              <a:gdLst>
                <a:gd name="connsiteX0" fmla="*/ 12573 w 25146"/>
                <a:gd name="connsiteY0" fmla="*/ 6096 h 25146"/>
                <a:gd name="connsiteX1" fmla="*/ 6191 w 25146"/>
                <a:gd name="connsiteY1" fmla="*/ 12478 h 25146"/>
                <a:gd name="connsiteX2" fmla="*/ 12573 w 25146"/>
                <a:gd name="connsiteY2" fmla="*/ 18860 h 25146"/>
                <a:gd name="connsiteX3" fmla="*/ 18955 w 25146"/>
                <a:gd name="connsiteY3" fmla="*/ 12478 h 25146"/>
                <a:gd name="connsiteX4" fmla="*/ 12573 w 25146"/>
                <a:gd name="connsiteY4" fmla="*/ 6096 h 25146"/>
                <a:gd name="connsiteX5" fmla="*/ 12573 w 25146"/>
                <a:gd name="connsiteY5" fmla="*/ 25146 h 25146"/>
                <a:gd name="connsiteX6" fmla="*/ 0 w 25146"/>
                <a:gd name="connsiteY6" fmla="*/ 12573 h 25146"/>
                <a:gd name="connsiteX7" fmla="*/ 12573 w 25146"/>
                <a:gd name="connsiteY7" fmla="*/ 0 h 25146"/>
                <a:gd name="connsiteX8" fmla="*/ 25146 w 25146"/>
                <a:gd name="connsiteY8" fmla="*/ 12573 h 25146"/>
                <a:gd name="connsiteX9" fmla="*/ 12573 w 25146"/>
                <a:gd name="connsiteY9" fmla="*/ 25146 h 25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146" h="25146">
                  <a:moveTo>
                    <a:pt x="12573" y="6096"/>
                  </a:moveTo>
                  <a:cubicBezTo>
                    <a:pt x="9049" y="6096"/>
                    <a:pt x="6191" y="8954"/>
                    <a:pt x="6191" y="12478"/>
                  </a:cubicBezTo>
                  <a:cubicBezTo>
                    <a:pt x="6191" y="16002"/>
                    <a:pt x="9049" y="18860"/>
                    <a:pt x="12573" y="18860"/>
                  </a:cubicBezTo>
                  <a:cubicBezTo>
                    <a:pt x="16097" y="18860"/>
                    <a:pt x="18955" y="16002"/>
                    <a:pt x="18955" y="12478"/>
                  </a:cubicBezTo>
                  <a:cubicBezTo>
                    <a:pt x="18955" y="8954"/>
                    <a:pt x="16097" y="6096"/>
                    <a:pt x="12573" y="6096"/>
                  </a:cubicBezTo>
                  <a:close/>
                  <a:moveTo>
                    <a:pt x="12573" y="25146"/>
                  </a:moveTo>
                  <a:cubicBezTo>
                    <a:pt x="5620" y="25146"/>
                    <a:pt x="0" y="19526"/>
                    <a:pt x="0" y="12573"/>
                  </a:cubicBezTo>
                  <a:cubicBezTo>
                    <a:pt x="0" y="5620"/>
                    <a:pt x="5620" y="0"/>
                    <a:pt x="12573" y="0"/>
                  </a:cubicBezTo>
                  <a:cubicBezTo>
                    <a:pt x="19526" y="0"/>
                    <a:pt x="25146" y="5620"/>
                    <a:pt x="25146" y="12573"/>
                  </a:cubicBezTo>
                  <a:cubicBezTo>
                    <a:pt x="25146" y="19526"/>
                    <a:pt x="19526" y="25146"/>
                    <a:pt x="12573" y="25146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AA1D1D18-2247-6B80-5E52-F738FA4E50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84117" y="2127947"/>
            <a:ext cx="3061435" cy="3061435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E08736-3884-304F-2A72-5AB18808CE91}"/>
              </a:ext>
            </a:extLst>
          </p:cNvPr>
          <p:cNvGrpSpPr/>
          <p:nvPr userDrawn="1"/>
        </p:nvGrpSpPr>
        <p:grpSpPr>
          <a:xfrm>
            <a:off x="4209402" y="1938560"/>
            <a:ext cx="2680564" cy="2647164"/>
            <a:chOff x="17954497" y="192132"/>
            <a:chExt cx="2964441" cy="2927504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36ED49C-AF80-09A8-7B14-48CE8A1DB297}"/>
                </a:ext>
              </a:extLst>
            </p:cNvPr>
            <p:cNvSpPr/>
            <p:nvPr/>
          </p:nvSpPr>
          <p:spPr>
            <a:xfrm>
              <a:off x="17954497" y="192132"/>
              <a:ext cx="2964441" cy="2927504"/>
            </a:xfrm>
            <a:custGeom>
              <a:avLst/>
              <a:gdLst>
                <a:gd name="connsiteX0" fmla="*/ 1482220 w 2964441"/>
                <a:gd name="connsiteY0" fmla="*/ 2927505 h 2927504"/>
                <a:gd name="connsiteX1" fmla="*/ 2964442 w 2964441"/>
                <a:gd name="connsiteY1" fmla="*/ 1463786 h 2927504"/>
                <a:gd name="connsiteX2" fmla="*/ 1482220 w 2964441"/>
                <a:gd name="connsiteY2" fmla="*/ 0 h 2927504"/>
                <a:gd name="connsiteX3" fmla="*/ 0 w 2964441"/>
                <a:gd name="connsiteY3" fmla="*/ 1463718 h 2927504"/>
                <a:gd name="connsiteX4" fmla="*/ 1482220 w 2964441"/>
                <a:gd name="connsiteY4" fmla="*/ 2927437 h 2927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4441" h="2927504">
                  <a:moveTo>
                    <a:pt x="1482220" y="2927505"/>
                  </a:moveTo>
                  <a:cubicBezTo>
                    <a:pt x="2300865" y="2927505"/>
                    <a:pt x="2964442" y="2272196"/>
                    <a:pt x="2964442" y="1463786"/>
                  </a:cubicBezTo>
                  <a:cubicBezTo>
                    <a:pt x="2964442" y="655376"/>
                    <a:pt x="2300797" y="0"/>
                    <a:pt x="1482220" y="0"/>
                  </a:cubicBezTo>
                  <a:cubicBezTo>
                    <a:pt x="663644" y="0"/>
                    <a:pt x="0" y="655308"/>
                    <a:pt x="0" y="1463718"/>
                  </a:cubicBezTo>
                  <a:cubicBezTo>
                    <a:pt x="0" y="2272129"/>
                    <a:pt x="663644" y="2927437"/>
                    <a:pt x="1482220" y="2927437"/>
                  </a:cubicBezTo>
                </a:path>
              </a:pathLst>
            </a:custGeom>
            <a:gradFill>
              <a:gsLst>
                <a:gs pos="0">
                  <a:srgbClr val="55B4E6">
                    <a:alpha val="80000"/>
                  </a:srgbClr>
                </a:gs>
                <a:gs pos="100000">
                  <a:srgbClr val="0095DA">
                    <a:alpha val="80000"/>
                  </a:srgbClr>
                </a:gs>
              </a:gsLst>
              <a:lin ang="5400000" scaled="0"/>
            </a:gra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5" name="Graphic 4">
              <a:extLst>
                <a:ext uri="{FF2B5EF4-FFF2-40B4-BE49-F238E27FC236}">
                  <a16:creationId xmlns:a16="http://schemas.microsoft.com/office/drawing/2014/main" id="{AED2AD99-4E60-89C2-69B1-F93E4CC2A960}"/>
                </a:ext>
              </a:extLst>
            </p:cNvPr>
            <p:cNvGrpSpPr/>
            <p:nvPr/>
          </p:nvGrpSpPr>
          <p:grpSpPr>
            <a:xfrm>
              <a:off x="18107666" y="326799"/>
              <a:ext cx="2658102" cy="2658102"/>
              <a:chOff x="7150769" y="649379"/>
              <a:chExt cx="2658102" cy="2658102"/>
            </a:xfrm>
            <a:solidFill>
              <a:srgbClr val="FFFFFF">
                <a:alpha val="40000"/>
              </a:srgbClr>
            </a:solidFill>
          </p:grpSpPr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990739F5-DCBC-6DB3-5AB3-64E57B5DCA78}"/>
                  </a:ext>
                </a:extLst>
              </p:cNvPr>
              <p:cNvSpPr/>
              <p:nvPr/>
            </p:nvSpPr>
            <p:spPr>
              <a:xfrm>
                <a:off x="7150769" y="1046325"/>
                <a:ext cx="2658102" cy="2261156"/>
              </a:xfrm>
              <a:custGeom>
                <a:avLst/>
                <a:gdLst>
                  <a:gd name="connsiteX0" fmla="*/ 1329051 w 2658102"/>
                  <a:gd name="connsiteY0" fmla="*/ 2261156 h 2261156"/>
                  <a:gd name="connsiteX1" fmla="*/ 811596 w 2658102"/>
                  <a:gd name="connsiteY1" fmla="*/ 2156174 h 2261156"/>
                  <a:gd name="connsiteX2" fmla="*/ 389159 w 2658102"/>
                  <a:gd name="connsiteY2" fmla="*/ 1869828 h 2261156"/>
                  <a:gd name="connsiteX3" fmla="*/ 104440 w 2658102"/>
                  <a:gd name="connsiteY3" fmla="*/ 1445223 h 2261156"/>
                  <a:gd name="connsiteX4" fmla="*/ 0 w 2658102"/>
                  <a:gd name="connsiteY4" fmla="*/ 925395 h 2261156"/>
                  <a:gd name="connsiteX5" fmla="*/ 369301 w 2658102"/>
                  <a:gd name="connsiteY5" fmla="*/ 3531 h 2261156"/>
                  <a:gd name="connsiteX6" fmla="*/ 385296 w 2658102"/>
                  <a:gd name="connsiteY6" fmla="*/ 2989 h 2261156"/>
                  <a:gd name="connsiteX7" fmla="*/ 385838 w 2658102"/>
                  <a:gd name="connsiteY7" fmla="*/ 18713 h 2261156"/>
                  <a:gd name="connsiteX8" fmla="*/ 22636 w 2658102"/>
                  <a:gd name="connsiteY8" fmla="*/ 925395 h 2261156"/>
                  <a:gd name="connsiteX9" fmla="*/ 405357 w 2658102"/>
                  <a:gd name="connsiteY9" fmla="*/ 1854308 h 2261156"/>
                  <a:gd name="connsiteX10" fmla="*/ 1329051 w 2658102"/>
                  <a:gd name="connsiteY10" fmla="*/ 2238926 h 2261156"/>
                  <a:gd name="connsiteX11" fmla="*/ 2252745 w 2658102"/>
                  <a:gd name="connsiteY11" fmla="*/ 1854308 h 2261156"/>
                  <a:gd name="connsiteX12" fmla="*/ 2635466 w 2658102"/>
                  <a:gd name="connsiteY12" fmla="*/ 925395 h 2261156"/>
                  <a:gd name="connsiteX13" fmla="*/ 2312454 w 2658102"/>
                  <a:gd name="connsiteY13" fmla="*/ 59445 h 2261156"/>
                  <a:gd name="connsiteX14" fmla="*/ 2313539 w 2658102"/>
                  <a:gd name="connsiteY14" fmla="*/ 43789 h 2261156"/>
                  <a:gd name="connsiteX15" fmla="*/ 2329533 w 2658102"/>
                  <a:gd name="connsiteY15" fmla="*/ 44874 h 2261156"/>
                  <a:gd name="connsiteX16" fmla="*/ 2572165 w 2658102"/>
                  <a:gd name="connsiteY16" fmla="*/ 445216 h 2261156"/>
                  <a:gd name="connsiteX17" fmla="*/ 2658102 w 2658102"/>
                  <a:gd name="connsiteY17" fmla="*/ 925395 h 2261156"/>
                  <a:gd name="connsiteX18" fmla="*/ 2553663 w 2658102"/>
                  <a:gd name="connsiteY18" fmla="*/ 1445223 h 2261156"/>
                  <a:gd name="connsiteX19" fmla="*/ 2268943 w 2658102"/>
                  <a:gd name="connsiteY19" fmla="*/ 1869828 h 2261156"/>
                  <a:gd name="connsiteX20" fmla="*/ 1846507 w 2658102"/>
                  <a:gd name="connsiteY20" fmla="*/ 2156174 h 2261156"/>
                  <a:gd name="connsiteX21" fmla="*/ 1329051 w 2658102"/>
                  <a:gd name="connsiteY21" fmla="*/ 2261156 h 226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58102" h="2261156">
                    <a:moveTo>
                      <a:pt x="1329051" y="2261156"/>
                    </a:moveTo>
                    <a:cubicBezTo>
                      <a:pt x="1149585" y="2261156"/>
                      <a:pt x="975541" y="2225846"/>
                      <a:pt x="811596" y="2156174"/>
                    </a:cubicBezTo>
                    <a:cubicBezTo>
                      <a:pt x="653343" y="2088874"/>
                      <a:pt x="511220" y="1992567"/>
                      <a:pt x="389159" y="1869828"/>
                    </a:cubicBezTo>
                    <a:cubicBezTo>
                      <a:pt x="267166" y="1747157"/>
                      <a:pt x="171333" y="1604289"/>
                      <a:pt x="104440" y="1445223"/>
                    </a:cubicBezTo>
                    <a:cubicBezTo>
                      <a:pt x="35175" y="1280600"/>
                      <a:pt x="0" y="1105675"/>
                      <a:pt x="0" y="925395"/>
                    </a:cubicBezTo>
                    <a:cubicBezTo>
                      <a:pt x="0" y="581306"/>
                      <a:pt x="131143" y="253889"/>
                      <a:pt x="369301" y="3531"/>
                    </a:cubicBezTo>
                    <a:cubicBezTo>
                      <a:pt x="373571" y="-942"/>
                      <a:pt x="380687" y="-1213"/>
                      <a:pt x="385296" y="2989"/>
                    </a:cubicBezTo>
                    <a:cubicBezTo>
                      <a:pt x="389837" y="7191"/>
                      <a:pt x="390108" y="14240"/>
                      <a:pt x="385838" y="18713"/>
                    </a:cubicBezTo>
                    <a:cubicBezTo>
                      <a:pt x="151611" y="264936"/>
                      <a:pt x="22636" y="586931"/>
                      <a:pt x="22636" y="925395"/>
                    </a:cubicBezTo>
                    <a:cubicBezTo>
                      <a:pt x="22636" y="1263860"/>
                      <a:pt x="158592" y="1606187"/>
                      <a:pt x="405357" y="1854308"/>
                    </a:cubicBezTo>
                    <a:cubicBezTo>
                      <a:pt x="652123" y="2102294"/>
                      <a:pt x="980150" y="2238926"/>
                      <a:pt x="1329051" y="2238926"/>
                    </a:cubicBezTo>
                    <a:cubicBezTo>
                      <a:pt x="1677952" y="2238926"/>
                      <a:pt x="2005979" y="2102294"/>
                      <a:pt x="2252745" y="1854308"/>
                    </a:cubicBezTo>
                    <a:cubicBezTo>
                      <a:pt x="2499511" y="1606187"/>
                      <a:pt x="2635466" y="1276262"/>
                      <a:pt x="2635466" y="925395"/>
                    </a:cubicBezTo>
                    <a:cubicBezTo>
                      <a:pt x="2635466" y="596759"/>
                      <a:pt x="2523774" y="297332"/>
                      <a:pt x="2312454" y="59445"/>
                    </a:cubicBezTo>
                    <a:cubicBezTo>
                      <a:pt x="2308320" y="54836"/>
                      <a:pt x="2308795" y="47788"/>
                      <a:pt x="2313539" y="43789"/>
                    </a:cubicBezTo>
                    <a:cubicBezTo>
                      <a:pt x="2318215" y="39723"/>
                      <a:pt x="2325399" y="40265"/>
                      <a:pt x="2329533" y="44874"/>
                    </a:cubicBezTo>
                    <a:cubicBezTo>
                      <a:pt x="2434854" y="163411"/>
                      <a:pt x="2516522" y="298078"/>
                      <a:pt x="2572165" y="445216"/>
                    </a:cubicBezTo>
                    <a:cubicBezTo>
                      <a:pt x="2629230" y="595945"/>
                      <a:pt x="2658102" y="757451"/>
                      <a:pt x="2658102" y="925395"/>
                    </a:cubicBezTo>
                    <a:cubicBezTo>
                      <a:pt x="2658102" y="1105675"/>
                      <a:pt x="2622996" y="1280600"/>
                      <a:pt x="2553663" y="1445223"/>
                    </a:cubicBezTo>
                    <a:cubicBezTo>
                      <a:pt x="2486770" y="1604289"/>
                      <a:pt x="2390937" y="1747157"/>
                      <a:pt x="2268943" y="1869828"/>
                    </a:cubicBezTo>
                    <a:cubicBezTo>
                      <a:pt x="2146882" y="1992499"/>
                      <a:pt x="2004760" y="2088807"/>
                      <a:pt x="1846507" y="2156174"/>
                    </a:cubicBezTo>
                    <a:cubicBezTo>
                      <a:pt x="1682629" y="2225846"/>
                      <a:pt x="1508517" y="2261156"/>
                      <a:pt x="1329051" y="2261156"/>
                    </a:cubicBezTo>
                  </a:path>
                </a:pathLst>
              </a:custGeom>
              <a:grpFill/>
              <a:ln w="6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5E17A91-BF21-A53E-E511-BC492A582ACA}"/>
                  </a:ext>
                </a:extLst>
              </p:cNvPr>
              <p:cNvSpPr/>
              <p:nvPr/>
            </p:nvSpPr>
            <p:spPr>
              <a:xfrm>
                <a:off x="7705019" y="649379"/>
                <a:ext cx="1496258" cy="277128"/>
              </a:xfrm>
              <a:custGeom>
                <a:avLst/>
                <a:gdLst>
                  <a:gd name="connsiteX0" fmla="*/ 679172 w 1496258"/>
                  <a:gd name="connsiteY0" fmla="*/ 26635 h 277128"/>
                  <a:gd name="connsiteX1" fmla="*/ 667922 w 1496258"/>
                  <a:gd name="connsiteY1" fmla="*/ 16469 h 277128"/>
                  <a:gd name="connsiteX2" fmla="*/ 678223 w 1496258"/>
                  <a:gd name="connsiteY2" fmla="*/ 4473 h 277128"/>
                  <a:gd name="connsiteX3" fmla="*/ 787205 w 1496258"/>
                  <a:gd name="connsiteY3" fmla="*/ 0 h 277128"/>
                  <a:gd name="connsiteX4" fmla="*/ 799878 w 1496258"/>
                  <a:gd name="connsiteY4" fmla="*/ 68 h 277128"/>
                  <a:gd name="connsiteX5" fmla="*/ 811060 w 1496258"/>
                  <a:gd name="connsiteY5" fmla="*/ 11251 h 277128"/>
                  <a:gd name="connsiteX6" fmla="*/ 799743 w 1496258"/>
                  <a:gd name="connsiteY6" fmla="*/ 22230 h 277128"/>
                  <a:gd name="connsiteX7" fmla="*/ 799675 w 1496258"/>
                  <a:gd name="connsiteY7" fmla="*/ 22230 h 277128"/>
                  <a:gd name="connsiteX8" fmla="*/ 787205 w 1496258"/>
                  <a:gd name="connsiteY8" fmla="*/ 22230 h 277128"/>
                  <a:gd name="connsiteX9" fmla="*/ 680121 w 1496258"/>
                  <a:gd name="connsiteY9" fmla="*/ 26635 h 277128"/>
                  <a:gd name="connsiteX10" fmla="*/ 679172 w 1496258"/>
                  <a:gd name="connsiteY10" fmla="*/ 26635 h 277128"/>
                  <a:gd name="connsiteX11" fmla="*/ 1039596 w 1496258"/>
                  <a:gd name="connsiteY11" fmla="*/ 46358 h 277128"/>
                  <a:gd name="connsiteX12" fmla="*/ 1037358 w 1496258"/>
                  <a:gd name="connsiteY12" fmla="*/ 46154 h 277128"/>
                  <a:gd name="connsiteX13" fmla="*/ 919093 w 1496258"/>
                  <a:gd name="connsiteY13" fmla="*/ 28804 h 277128"/>
                  <a:gd name="connsiteX14" fmla="*/ 908995 w 1496258"/>
                  <a:gd name="connsiteY14" fmla="*/ 16605 h 277128"/>
                  <a:gd name="connsiteX15" fmla="*/ 921397 w 1496258"/>
                  <a:gd name="connsiteY15" fmla="*/ 6710 h 277128"/>
                  <a:gd name="connsiteX16" fmla="*/ 1041764 w 1496258"/>
                  <a:gd name="connsiteY16" fmla="*/ 24331 h 277128"/>
                  <a:gd name="connsiteX17" fmla="*/ 1050710 w 1496258"/>
                  <a:gd name="connsiteY17" fmla="*/ 37411 h 277128"/>
                  <a:gd name="connsiteX18" fmla="*/ 1039596 w 1496258"/>
                  <a:gd name="connsiteY18" fmla="*/ 46358 h 277128"/>
                  <a:gd name="connsiteX19" fmla="*/ 441827 w 1496258"/>
                  <a:gd name="connsiteY19" fmla="*/ 68520 h 277128"/>
                  <a:gd name="connsiteX20" fmla="*/ 430915 w 1496258"/>
                  <a:gd name="connsiteY20" fmla="*/ 60387 h 277128"/>
                  <a:gd name="connsiteX21" fmla="*/ 438778 w 1496258"/>
                  <a:gd name="connsiteY21" fmla="*/ 46696 h 277128"/>
                  <a:gd name="connsiteX22" fmla="*/ 557450 w 1496258"/>
                  <a:gd name="connsiteY22" fmla="*/ 20061 h 277128"/>
                  <a:gd name="connsiteX23" fmla="*/ 570598 w 1496258"/>
                  <a:gd name="connsiteY23" fmla="*/ 29007 h 277128"/>
                  <a:gd name="connsiteX24" fmla="*/ 561449 w 1496258"/>
                  <a:gd name="connsiteY24" fmla="*/ 41884 h 277128"/>
                  <a:gd name="connsiteX25" fmla="*/ 444877 w 1496258"/>
                  <a:gd name="connsiteY25" fmla="*/ 68045 h 277128"/>
                  <a:gd name="connsiteX26" fmla="*/ 441827 w 1496258"/>
                  <a:gd name="connsiteY26" fmla="*/ 68452 h 277128"/>
                  <a:gd name="connsiteX27" fmla="*/ 1270637 w 1496258"/>
                  <a:gd name="connsiteY27" fmla="*/ 113657 h 277128"/>
                  <a:gd name="connsiteX28" fmla="*/ 1266435 w 1496258"/>
                  <a:gd name="connsiteY28" fmla="*/ 112844 h 277128"/>
                  <a:gd name="connsiteX29" fmla="*/ 1153456 w 1496258"/>
                  <a:gd name="connsiteY29" fmla="*/ 74213 h 277128"/>
                  <a:gd name="connsiteX30" fmla="*/ 1145865 w 1496258"/>
                  <a:gd name="connsiteY30" fmla="*/ 60387 h 277128"/>
                  <a:gd name="connsiteX31" fmla="*/ 1159895 w 1496258"/>
                  <a:gd name="connsiteY31" fmla="*/ 52932 h 277128"/>
                  <a:gd name="connsiteX32" fmla="*/ 1274839 w 1496258"/>
                  <a:gd name="connsiteY32" fmla="*/ 92308 h 277128"/>
                  <a:gd name="connsiteX33" fmla="*/ 1281142 w 1496258"/>
                  <a:gd name="connsiteY33" fmla="*/ 106744 h 277128"/>
                  <a:gd name="connsiteX34" fmla="*/ 1270637 w 1496258"/>
                  <a:gd name="connsiteY34" fmla="*/ 113725 h 277128"/>
                  <a:gd name="connsiteX35" fmla="*/ 216749 w 1496258"/>
                  <a:gd name="connsiteY35" fmla="*/ 153170 h 277128"/>
                  <a:gd name="connsiteX36" fmla="*/ 206583 w 1496258"/>
                  <a:gd name="connsiteY36" fmla="*/ 147002 h 277128"/>
                  <a:gd name="connsiteX37" fmla="*/ 211734 w 1496258"/>
                  <a:gd name="connsiteY37" fmla="*/ 132160 h 277128"/>
                  <a:gd name="connsiteX38" fmla="*/ 323222 w 1496258"/>
                  <a:gd name="connsiteY38" fmla="*/ 84243 h 277128"/>
                  <a:gd name="connsiteX39" fmla="*/ 337862 w 1496258"/>
                  <a:gd name="connsiteY39" fmla="*/ 90614 h 277128"/>
                  <a:gd name="connsiteX40" fmla="*/ 331355 w 1496258"/>
                  <a:gd name="connsiteY40" fmla="*/ 104914 h 277128"/>
                  <a:gd name="connsiteX41" fmla="*/ 221765 w 1496258"/>
                  <a:gd name="connsiteY41" fmla="*/ 152017 h 277128"/>
                  <a:gd name="connsiteX42" fmla="*/ 216749 w 1496258"/>
                  <a:gd name="connsiteY42" fmla="*/ 153170 h 277128"/>
                  <a:gd name="connsiteX43" fmla="*/ 1484939 w 1496258"/>
                  <a:gd name="connsiteY43" fmla="*/ 222096 h 277128"/>
                  <a:gd name="connsiteX44" fmla="*/ 1478839 w 1496258"/>
                  <a:gd name="connsiteY44" fmla="*/ 220334 h 277128"/>
                  <a:gd name="connsiteX45" fmla="*/ 1375146 w 1496258"/>
                  <a:gd name="connsiteY45" fmla="*/ 161777 h 277128"/>
                  <a:gd name="connsiteX46" fmla="*/ 1370265 w 1496258"/>
                  <a:gd name="connsiteY46" fmla="*/ 146799 h 277128"/>
                  <a:gd name="connsiteX47" fmla="*/ 1385514 w 1496258"/>
                  <a:gd name="connsiteY47" fmla="*/ 142055 h 277128"/>
                  <a:gd name="connsiteX48" fmla="*/ 1491039 w 1496258"/>
                  <a:gd name="connsiteY48" fmla="*/ 201628 h 277128"/>
                  <a:gd name="connsiteX49" fmla="*/ 1494496 w 1496258"/>
                  <a:gd name="connsiteY49" fmla="*/ 216945 h 277128"/>
                  <a:gd name="connsiteX50" fmla="*/ 1484939 w 1496258"/>
                  <a:gd name="connsiteY50" fmla="*/ 222096 h 277128"/>
                  <a:gd name="connsiteX51" fmla="*/ 11326 w 1496258"/>
                  <a:gd name="connsiteY51" fmla="*/ 277061 h 277128"/>
                  <a:gd name="connsiteX52" fmla="*/ 2244 w 1496258"/>
                  <a:gd name="connsiteY52" fmla="*/ 272588 h 277128"/>
                  <a:gd name="connsiteX53" fmla="*/ 4548 w 1496258"/>
                  <a:gd name="connsiteY53" fmla="*/ 257067 h 277128"/>
                  <a:gd name="connsiteX54" fmla="*/ 105193 w 1496258"/>
                  <a:gd name="connsiteY54" fmla="*/ 189903 h 277128"/>
                  <a:gd name="connsiteX55" fmla="*/ 120781 w 1496258"/>
                  <a:gd name="connsiteY55" fmla="*/ 193563 h 277128"/>
                  <a:gd name="connsiteX56" fmla="*/ 117053 w 1496258"/>
                  <a:gd name="connsiteY56" fmla="*/ 208880 h 277128"/>
                  <a:gd name="connsiteX57" fmla="*/ 18103 w 1496258"/>
                  <a:gd name="connsiteY57" fmla="*/ 274892 h 277128"/>
                  <a:gd name="connsiteX58" fmla="*/ 11326 w 1496258"/>
                  <a:gd name="connsiteY58" fmla="*/ 277129 h 277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496258" h="277128">
                    <a:moveTo>
                      <a:pt x="679172" y="26635"/>
                    </a:moveTo>
                    <a:cubicBezTo>
                      <a:pt x="673344" y="26635"/>
                      <a:pt x="668396" y="22230"/>
                      <a:pt x="667922" y="16469"/>
                    </a:cubicBezTo>
                    <a:cubicBezTo>
                      <a:pt x="667380" y="10369"/>
                      <a:pt x="671988" y="5015"/>
                      <a:pt x="678223" y="4473"/>
                    </a:cubicBezTo>
                    <a:cubicBezTo>
                      <a:pt x="714279" y="1491"/>
                      <a:pt x="750945" y="0"/>
                      <a:pt x="787205" y="0"/>
                    </a:cubicBezTo>
                    <a:cubicBezTo>
                      <a:pt x="791407" y="0"/>
                      <a:pt x="795609" y="0"/>
                      <a:pt x="799878" y="68"/>
                    </a:cubicBezTo>
                    <a:cubicBezTo>
                      <a:pt x="806113" y="68"/>
                      <a:pt x="811128" y="5151"/>
                      <a:pt x="811060" y="11251"/>
                    </a:cubicBezTo>
                    <a:cubicBezTo>
                      <a:pt x="811060" y="17350"/>
                      <a:pt x="805910" y="22230"/>
                      <a:pt x="799743" y="22230"/>
                    </a:cubicBezTo>
                    <a:lnTo>
                      <a:pt x="799675" y="22230"/>
                    </a:lnTo>
                    <a:cubicBezTo>
                      <a:pt x="795541" y="22230"/>
                      <a:pt x="791339" y="22230"/>
                      <a:pt x="787205" y="22230"/>
                    </a:cubicBezTo>
                    <a:cubicBezTo>
                      <a:pt x="751555" y="22230"/>
                      <a:pt x="715499" y="23721"/>
                      <a:pt x="680121" y="26635"/>
                    </a:cubicBezTo>
                    <a:cubicBezTo>
                      <a:pt x="679782" y="26635"/>
                      <a:pt x="679443" y="26635"/>
                      <a:pt x="679172" y="26635"/>
                    </a:cubicBezTo>
                    <a:moveTo>
                      <a:pt x="1039596" y="46358"/>
                    </a:moveTo>
                    <a:cubicBezTo>
                      <a:pt x="1038849" y="46358"/>
                      <a:pt x="1038104" y="46290"/>
                      <a:pt x="1037358" y="46154"/>
                    </a:cubicBezTo>
                    <a:cubicBezTo>
                      <a:pt x="998456" y="38631"/>
                      <a:pt x="958673" y="32803"/>
                      <a:pt x="919093" y="28804"/>
                    </a:cubicBezTo>
                    <a:cubicBezTo>
                      <a:pt x="912857" y="28194"/>
                      <a:pt x="908317" y="22704"/>
                      <a:pt x="908995" y="16605"/>
                    </a:cubicBezTo>
                    <a:cubicBezTo>
                      <a:pt x="909604" y="10505"/>
                      <a:pt x="915161" y="6100"/>
                      <a:pt x="921397" y="6710"/>
                    </a:cubicBezTo>
                    <a:cubicBezTo>
                      <a:pt x="961655" y="10776"/>
                      <a:pt x="1002184" y="16672"/>
                      <a:pt x="1041764" y="24331"/>
                    </a:cubicBezTo>
                    <a:cubicBezTo>
                      <a:pt x="1047864" y="25551"/>
                      <a:pt x="1051862" y="31379"/>
                      <a:pt x="1050710" y="37411"/>
                    </a:cubicBezTo>
                    <a:cubicBezTo>
                      <a:pt x="1049626" y="42698"/>
                      <a:pt x="1044881" y="46358"/>
                      <a:pt x="1039596" y="46358"/>
                    </a:cubicBezTo>
                    <a:moveTo>
                      <a:pt x="441827" y="68520"/>
                    </a:moveTo>
                    <a:cubicBezTo>
                      <a:pt x="436880" y="68520"/>
                      <a:pt x="432339" y="65334"/>
                      <a:pt x="430915" y="60387"/>
                    </a:cubicBezTo>
                    <a:cubicBezTo>
                      <a:pt x="429221" y="54490"/>
                      <a:pt x="432746" y="48391"/>
                      <a:pt x="438778" y="46696"/>
                    </a:cubicBezTo>
                    <a:cubicBezTo>
                      <a:pt x="477748" y="35988"/>
                      <a:pt x="517666" y="27042"/>
                      <a:pt x="557450" y="20061"/>
                    </a:cubicBezTo>
                    <a:cubicBezTo>
                      <a:pt x="563550" y="18977"/>
                      <a:pt x="569446" y="22975"/>
                      <a:pt x="570598" y="29007"/>
                    </a:cubicBezTo>
                    <a:cubicBezTo>
                      <a:pt x="571683" y="35039"/>
                      <a:pt x="567616" y="40800"/>
                      <a:pt x="561449" y="41884"/>
                    </a:cubicBezTo>
                    <a:cubicBezTo>
                      <a:pt x="522343" y="48797"/>
                      <a:pt x="483102" y="57608"/>
                      <a:pt x="444877" y="68045"/>
                    </a:cubicBezTo>
                    <a:cubicBezTo>
                      <a:pt x="443861" y="68316"/>
                      <a:pt x="442844" y="68452"/>
                      <a:pt x="441827" y="68452"/>
                    </a:cubicBezTo>
                    <a:moveTo>
                      <a:pt x="1270637" y="113657"/>
                    </a:moveTo>
                    <a:cubicBezTo>
                      <a:pt x="1269214" y="113657"/>
                      <a:pt x="1267791" y="113386"/>
                      <a:pt x="1266435" y="112844"/>
                    </a:cubicBezTo>
                    <a:cubicBezTo>
                      <a:pt x="1229566" y="98273"/>
                      <a:pt x="1191545" y="85260"/>
                      <a:pt x="1153456" y="74213"/>
                    </a:cubicBezTo>
                    <a:cubicBezTo>
                      <a:pt x="1147492" y="72451"/>
                      <a:pt x="1144035" y="66283"/>
                      <a:pt x="1145865" y="60387"/>
                    </a:cubicBezTo>
                    <a:cubicBezTo>
                      <a:pt x="1147627" y="54490"/>
                      <a:pt x="1153931" y="51169"/>
                      <a:pt x="1159895" y="52932"/>
                    </a:cubicBezTo>
                    <a:cubicBezTo>
                      <a:pt x="1198661" y="64250"/>
                      <a:pt x="1237292" y="77466"/>
                      <a:pt x="1274839" y="92308"/>
                    </a:cubicBezTo>
                    <a:cubicBezTo>
                      <a:pt x="1280600" y="94613"/>
                      <a:pt x="1283447" y="101051"/>
                      <a:pt x="1281142" y="106744"/>
                    </a:cubicBezTo>
                    <a:cubicBezTo>
                      <a:pt x="1279381" y="111082"/>
                      <a:pt x="1275111" y="113725"/>
                      <a:pt x="1270637" y="113725"/>
                    </a:cubicBezTo>
                    <a:moveTo>
                      <a:pt x="216749" y="153170"/>
                    </a:moveTo>
                    <a:cubicBezTo>
                      <a:pt x="212615" y="153170"/>
                      <a:pt x="208548" y="150865"/>
                      <a:pt x="206583" y="147002"/>
                    </a:cubicBezTo>
                    <a:cubicBezTo>
                      <a:pt x="203804" y="141512"/>
                      <a:pt x="206109" y="134871"/>
                      <a:pt x="211734" y="132160"/>
                    </a:cubicBezTo>
                    <a:cubicBezTo>
                      <a:pt x="247993" y="114538"/>
                      <a:pt x="285540" y="98408"/>
                      <a:pt x="323222" y="84243"/>
                    </a:cubicBezTo>
                    <a:cubicBezTo>
                      <a:pt x="329051" y="82007"/>
                      <a:pt x="335625" y="84921"/>
                      <a:pt x="337862" y="90614"/>
                    </a:cubicBezTo>
                    <a:cubicBezTo>
                      <a:pt x="340098" y="96307"/>
                      <a:pt x="337184" y="102746"/>
                      <a:pt x="331355" y="104914"/>
                    </a:cubicBezTo>
                    <a:cubicBezTo>
                      <a:pt x="294283" y="118876"/>
                      <a:pt x="257414" y="134667"/>
                      <a:pt x="221765" y="152017"/>
                    </a:cubicBezTo>
                    <a:cubicBezTo>
                      <a:pt x="220138" y="152763"/>
                      <a:pt x="218444" y="153170"/>
                      <a:pt x="216749" y="153170"/>
                    </a:cubicBezTo>
                    <a:moveTo>
                      <a:pt x="1484939" y="222096"/>
                    </a:moveTo>
                    <a:cubicBezTo>
                      <a:pt x="1482838" y="222096"/>
                      <a:pt x="1480737" y="221554"/>
                      <a:pt x="1478839" y="220334"/>
                    </a:cubicBezTo>
                    <a:cubicBezTo>
                      <a:pt x="1445292" y="199324"/>
                      <a:pt x="1410456" y="179601"/>
                      <a:pt x="1375146" y="161777"/>
                    </a:cubicBezTo>
                    <a:cubicBezTo>
                      <a:pt x="1369588" y="158998"/>
                      <a:pt x="1367419" y="152289"/>
                      <a:pt x="1370265" y="146799"/>
                    </a:cubicBezTo>
                    <a:cubicBezTo>
                      <a:pt x="1373112" y="141309"/>
                      <a:pt x="1379957" y="139208"/>
                      <a:pt x="1385514" y="142055"/>
                    </a:cubicBezTo>
                    <a:cubicBezTo>
                      <a:pt x="1421435" y="160218"/>
                      <a:pt x="1456881" y="180279"/>
                      <a:pt x="1491039" y="201628"/>
                    </a:cubicBezTo>
                    <a:cubicBezTo>
                      <a:pt x="1496325" y="204949"/>
                      <a:pt x="1497817" y="211794"/>
                      <a:pt x="1494496" y="216945"/>
                    </a:cubicBezTo>
                    <a:cubicBezTo>
                      <a:pt x="1492326" y="220266"/>
                      <a:pt x="1488667" y="222096"/>
                      <a:pt x="1484939" y="222096"/>
                    </a:cubicBezTo>
                    <a:moveTo>
                      <a:pt x="11326" y="277061"/>
                    </a:moveTo>
                    <a:cubicBezTo>
                      <a:pt x="7869" y="277061"/>
                      <a:pt x="4481" y="275502"/>
                      <a:pt x="2244" y="272588"/>
                    </a:cubicBezTo>
                    <a:cubicBezTo>
                      <a:pt x="-1484" y="267708"/>
                      <a:pt x="-467" y="260727"/>
                      <a:pt x="4548" y="257067"/>
                    </a:cubicBezTo>
                    <a:cubicBezTo>
                      <a:pt x="36944" y="233279"/>
                      <a:pt x="70831" y="210642"/>
                      <a:pt x="105193" y="189903"/>
                    </a:cubicBezTo>
                    <a:cubicBezTo>
                      <a:pt x="110479" y="186718"/>
                      <a:pt x="117460" y="188344"/>
                      <a:pt x="120781" y="193563"/>
                    </a:cubicBezTo>
                    <a:cubicBezTo>
                      <a:pt x="124034" y="198782"/>
                      <a:pt x="122407" y="205627"/>
                      <a:pt x="117053" y="208880"/>
                    </a:cubicBezTo>
                    <a:cubicBezTo>
                      <a:pt x="83234" y="229280"/>
                      <a:pt x="49957" y="251510"/>
                      <a:pt x="18103" y="274892"/>
                    </a:cubicBezTo>
                    <a:cubicBezTo>
                      <a:pt x="16070" y="276383"/>
                      <a:pt x="13698" y="277129"/>
                      <a:pt x="11326" y="277129"/>
                    </a:cubicBezTo>
                  </a:path>
                </a:pathLst>
              </a:custGeom>
              <a:grpFill/>
              <a:ln w="6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74" name="Title 1">
            <a:extLst>
              <a:ext uri="{FF2B5EF4-FFF2-40B4-BE49-F238E27FC236}">
                <a16:creationId xmlns:a16="http://schemas.microsoft.com/office/drawing/2014/main" id="{E5BFF489-3F8E-5A34-04FE-4F4565C354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7903" y="2431463"/>
            <a:ext cx="2403560" cy="668894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157CF4DF-C8F8-A895-4692-67D5B72F88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7201" y="3145357"/>
            <a:ext cx="2403560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526DE27D-91A7-0B94-A979-4EFF869092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3713" y="3939737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7" name="Text Placeholder 68">
            <a:extLst>
              <a:ext uri="{FF2B5EF4-FFF2-40B4-BE49-F238E27FC236}">
                <a16:creationId xmlns:a16="http://schemas.microsoft.com/office/drawing/2014/main" id="{4D096354-59CB-854C-4F52-9647BB72C6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12" y="2722563"/>
            <a:ext cx="3089275" cy="10033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35216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4D401DD-DF55-1E7F-F6AE-EBB568D5C81C}"/>
              </a:ext>
            </a:extLst>
          </p:cNvPr>
          <p:cNvSpPr/>
          <p:nvPr userDrawn="1"/>
        </p:nvSpPr>
        <p:spPr>
          <a:xfrm>
            <a:off x="4334720" y="1446834"/>
            <a:ext cx="10943863" cy="4242121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AA7923-B45E-1240-B00A-80913CDD5CB4}"/>
              </a:ext>
            </a:extLst>
          </p:cNvPr>
          <p:cNvGrpSpPr/>
          <p:nvPr userDrawn="1"/>
        </p:nvGrpSpPr>
        <p:grpSpPr>
          <a:xfrm>
            <a:off x="5494919" y="1837829"/>
            <a:ext cx="2917041" cy="2917041"/>
            <a:chOff x="2814460" y="2627404"/>
            <a:chExt cx="2917041" cy="2917041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330F9DB-1636-DE50-CA9C-D702DB902294}"/>
                </a:ext>
              </a:extLst>
            </p:cNvPr>
            <p:cNvSpPr/>
            <p:nvPr/>
          </p:nvSpPr>
          <p:spPr>
            <a:xfrm>
              <a:off x="2922399" y="2752196"/>
              <a:ext cx="2701163" cy="2667456"/>
            </a:xfrm>
            <a:custGeom>
              <a:avLst/>
              <a:gdLst>
                <a:gd name="connsiteX0" fmla="*/ 1115489 w 2230978"/>
                <a:gd name="connsiteY0" fmla="*/ 2203139 h 2203138"/>
                <a:gd name="connsiteX1" fmla="*/ 2230979 w 2230978"/>
                <a:gd name="connsiteY1" fmla="*/ 1101570 h 2203138"/>
                <a:gd name="connsiteX2" fmla="*/ 1115489 w 2230978"/>
                <a:gd name="connsiteY2" fmla="*/ 0 h 2203138"/>
                <a:gd name="connsiteX3" fmla="*/ 0 w 2230978"/>
                <a:gd name="connsiteY3" fmla="*/ 1101570 h 2203138"/>
                <a:gd name="connsiteX4" fmla="*/ 1115489 w 2230978"/>
                <a:gd name="connsiteY4" fmla="*/ 2203139 h 220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978" h="2203138">
                  <a:moveTo>
                    <a:pt x="1115489" y="2203139"/>
                  </a:moveTo>
                  <a:cubicBezTo>
                    <a:pt x="1731550" y="2203139"/>
                    <a:pt x="2230979" y="1709932"/>
                    <a:pt x="2230979" y="1101570"/>
                  </a:cubicBezTo>
                  <a:cubicBezTo>
                    <a:pt x="2230979" y="493207"/>
                    <a:pt x="1731550" y="0"/>
                    <a:pt x="1115489" y="0"/>
                  </a:cubicBezTo>
                  <a:cubicBezTo>
                    <a:pt x="499429" y="0"/>
                    <a:pt x="0" y="493207"/>
                    <a:pt x="0" y="1101570"/>
                  </a:cubicBezTo>
                  <a:cubicBezTo>
                    <a:pt x="0" y="1709932"/>
                    <a:pt x="499429" y="2203139"/>
                    <a:pt x="1115489" y="2203139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105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" name="Graphic 106">
              <a:extLst>
                <a:ext uri="{FF2B5EF4-FFF2-40B4-BE49-F238E27FC236}">
                  <a16:creationId xmlns:a16="http://schemas.microsoft.com/office/drawing/2014/main" id="{40D9D90F-0F42-F5C9-A3A5-010CF31FB9E8}"/>
                </a:ext>
              </a:extLst>
            </p:cNvPr>
            <p:cNvGrpSpPr/>
            <p:nvPr/>
          </p:nvGrpSpPr>
          <p:grpSpPr>
            <a:xfrm>
              <a:off x="2814460" y="2627404"/>
              <a:ext cx="2917041" cy="2917041"/>
              <a:chOff x="619234" y="3603226"/>
              <a:chExt cx="2409279" cy="2409279"/>
            </a:xfrm>
            <a:solidFill>
              <a:srgbClr val="0095DA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27F99F41-08B1-14F1-C459-D9FC5155AB37}"/>
                  </a:ext>
                </a:extLst>
              </p:cNvPr>
              <p:cNvSpPr/>
              <p:nvPr/>
            </p:nvSpPr>
            <p:spPr>
              <a:xfrm>
                <a:off x="990714" y="3603226"/>
                <a:ext cx="2037799" cy="2409279"/>
              </a:xfrm>
              <a:custGeom>
                <a:avLst/>
                <a:gdLst>
                  <a:gd name="connsiteX0" fmla="*/ 2037295 w 2037799"/>
                  <a:gd name="connsiteY0" fmla="*/ 1169903 h 2409279"/>
                  <a:gd name="connsiteX1" fmla="*/ 1955674 w 2037799"/>
                  <a:gd name="connsiteY1" fmla="*/ 1641387 h 2409279"/>
                  <a:gd name="connsiteX2" fmla="*/ 1707225 w 2037799"/>
                  <a:gd name="connsiteY2" fmla="*/ 2031566 h 2409279"/>
                  <a:gd name="connsiteX3" fmla="*/ 1329912 w 2037799"/>
                  <a:gd name="connsiteY3" fmla="*/ 2300578 h 2409279"/>
                  <a:gd name="connsiteX4" fmla="*/ 861592 w 2037799"/>
                  <a:gd name="connsiteY4" fmla="*/ 2408774 h 2409279"/>
                  <a:gd name="connsiteX5" fmla="*/ 16802 w 2037799"/>
                  <a:gd name="connsiteY5" fmla="*/ 2098213 h 2409279"/>
                  <a:gd name="connsiteX6" fmla="*/ 15853 w 2037799"/>
                  <a:gd name="connsiteY6" fmla="*/ 2083765 h 2409279"/>
                  <a:gd name="connsiteX7" fmla="*/ 30089 w 2037799"/>
                  <a:gd name="connsiteY7" fmla="*/ 2082816 h 2409279"/>
                  <a:gd name="connsiteX8" fmla="*/ 861065 w 2037799"/>
                  <a:gd name="connsiteY8" fmla="*/ 2388210 h 2409279"/>
                  <a:gd name="connsiteX9" fmla="*/ 1692778 w 2037799"/>
                  <a:gd name="connsiteY9" fmla="*/ 2017224 h 2409279"/>
                  <a:gd name="connsiteX10" fmla="*/ 2017154 w 2037799"/>
                  <a:gd name="connsiteY10" fmla="*/ 1170325 h 2409279"/>
                  <a:gd name="connsiteX11" fmla="*/ 1644586 w 2037799"/>
                  <a:gd name="connsiteY11" fmla="*/ 343463 h 2409279"/>
                  <a:gd name="connsiteX12" fmla="*/ 793047 w 2037799"/>
                  <a:gd name="connsiteY12" fmla="*/ 21091 h 2409279"/>
                  <a:gd name="connsiteX13" fmla="*/ 16907 w 2037799"/>
                  <a:gd name="connsiteY13" fmla="*/ 336292 h 2409279"/>
                  <a:gd name="connsiteX14" fmla="*/ 2671 w 2037799"/>
                  <a:gd name="connsiteY14" fmla="*/ 335765 h 2409279"/>
                  <a:gd name="connsiteX15" fmla="*/ 3199 w 2037799"/>
                  <a:gd name="connsiteY15" fmla="*/ 321212 h 2409279"/>
                  <a:gd name="connsiteX16" fmla="*/ 359632 w 2037799"/>
                  <a:gd name="connsiteY16" fmla="*/ 90901 h 2409279"/>
                  <a:gd name="connsiteX17" fmla="*/ 792414 w 2037799"/>
                  <a:gd name="connsiteY17" fmla="*/ 527 h 2409279"/>
                  <a:gd name="connsiteX18" fmla="*/ 1266112 w 2037799"/>
                  <a:gd name="connsiteY18" fmla="*/ 81621 h 2409279"/>
                  <a:gd name="connsiteX19" fmla="*/ 1658189 w 2037799"/>
                  <a:gd name="connsiteY19" fmla="*/ 328594 h 2409279"/>
                  <a:gd name="connsiteX20" fmla="*/ 1928572 w 2037799"/>
                  <a:gd name="connsiteY20" fmla="*/ 703903 h 2409279"/>
                  <a:gd name="connsiteX21" fmla="*/ 2037190 w 2037799"/>
                  <a:gd name="connsiteY21" fmla="*/ 1170009 h 2409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37799" h="2409279">
                    <a:moveTo>
                      <a:pt x="2037295" y="1169903"/>
                    </a:moveTo>
                    <a:cubicBezTo>
                      <a:pt x="2041935" y="1332513"/>
                      <a:pt x="2014517" y="1491115"/>
                      <a:pt x="1955674" y="1641387"/>
                    </a:cubicBezTo>
                    <a:cubicBezTo>
                      <a:pt x="1898835" y="1786491"/>
                      <a:pt x="1815210" y="1917781"/>
                      <a:pt x="1707225" y="2031566"/>
                    </a:cubicBezTo>
                    <a:cubicBezTo>
                      <a:pt x="1599241" y="2145350"/>
                      <a:pt x="1472274" y="2235830"/>
                      <a:pt x="1329912" y="2300578"/>
                    </a:cubicBezTo>
                    <a:cubicBezTo>
                      <a:pt x="1182593" y="2367647"/>
                      <a:pt x="1024940" y="2404028"/>
                      <a:pt x="861592" y="2408774"/>
                    </a:cubicBezTo>
                    <a:cubicBezTo>
                      <a:pt x="549871" y="2417737"/>
                      <a:pt x="249749" y="2307433"/>
                      <a:pt x="16802" y="2098213"/>
                    </a:cubicBezTo>
                    <a:cubicBezTo>
                      <a:pt x="12584" y="2094416"/>
                      <a:pt x="12268" y="2087984"/>
                      <a:pt x="15853" y="2083765"/>
                    </a:cubicBezTo>
                    <a:cubicBezTo>
                      <a:pt x="19544" y="2079547"/>
                      <a:pt x="25871" y="2079125"/>
                      <a:pt x="30089" y="2082816"/>
                    </a:cubicBezTo>
                    <a:cubicBezTo>
                      <a:pt x="259240" y="2288556"/>
                      <a:pt x="554405" y="2397068"/>
                      <a:pt x="861065" y="2388210"/>
                    </a:cubicBezTo>
                    <a:cubicBezTo>
                      <a:pt x="1179007" y="2379036"/>
                      <a:pt x="1474383" y="2247324"/>
                      <a:pt x="1692778" y="2017224"/>
                    </a:cubicBezTo>
                    <a:cubicBezTo>
                      <a:pt x="1911067" y="1787229"/>
                      <a:pt x="2026328" y="1486475"/>
                      <a:pt x="2017154" y="1170325"/>
                    </a:cubicBezTo>
                    <a:cubicBezTo>
                      <a:pt x="2008085" y="854175"/>
                      <a:pt x="1875740" y="560592"/>
                      <a:pt x="1644586" y="343463"/>
                    </a:cubicBezTo>
                    <a:cubicBezTo>
                      <a:pt x="1413431" y="126544"/>
                      <a:pt x="1110990" y="11916"/>
                      <a:pt x="793047" y="21091"/>
                    </a:cubicBezTo>
                    <a:cubicBezTo>
                      <a:pt x="495351" y="29632"/>
                      <a:pt x="226866" y="138672"/>
                      <a:pt x="16907" y="336292"/>
                    </a:cubicBezTo>
                    <a:cubicBezTo>
                      <a:pt x="12795" y="340194"/>
                      <a:pt x="6468" y="339877"/>
                      <a:pt x="2671" y="335765"/>
                    </a:cubicBezTo>
                    <a:cubicBezTo>
                      <a:pt x="-1125" y="331652"/>
                      <a:pt x="-809" y="325114"/>
                      <a:pt x="3199" y="321212"/>
                    </a:cubicBezTo>
                    <a:cubicBezTo>
                      <a:pt x="107809" y="222718"/>
                      <a:pt x="227815" y="145210"/>
                      <a:pt x="359632" y="90901"/>
                    </a:cubicBezTo>
                    <a:cubicBezTo>
                      <a:pt x="494718" y="35327"/>
                      <a:pt x="640350" y="4956"/>
                      <a:pt x="792414" y="527"/>
                    </a:cubicBezTo>
                    <a:cubicBezTo>
                      <a:pt x="955762" y="-4218"/>
                      <a:pt x="1115103" y="23094"/>
                      <a:pt x="1266112" y="81621"/>
                    </a:cubicBezTo>
                    <a:cubicBezTo>
                      <a:pt x="1411955" y="138144"/>
                      <a:pt x="1543877" y="221242"/>
                      <a:pt x="1658189" y="328594"/>
                    </a:cubicBezTo>
                    <a:cubicBezTo>
                      <a:pt x="1772501" y="435946"/>
                      <a:pt x="1863508" y="562279"/>
                      <a:pt x="1928572" y="703903"/>
                    </a:cubicBezTo>
                    <a:cubicBezTo>
                      <a:pt x="1995957" y="850590"/>
                      <a:pt x="2032550" y="1007399"/>
                      <a:pt x="2037190" y="1170009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6BA9388-0EF4-B508-B165-F1D27DBE3A78}"/>
                  </a:ext>
                </a:extLst>
              </p:cNvPr>
              <p:cNvSpPr/>
              <p:nvPr/>
            </p:nvSpPr>
            <p:spPr>
              <a:xfrm>
                <a:off x="619234" y="4183209"/>
                <a:ext cx="271545" cy="1354226"/>
              </a:xfrm>
              <a:custGeom>
                <a:avLst/>
                <a:gdLst>
                  <a:gd name="connsiteX0" fmla="*/ 27103 w 271545"/>
                  <a:gd name="connsiteY0" fmla="*/ 745149 h 1354226"/>
                  <a:gd name="connsiteX1" fmla="*/ 18140 w 271545"/>
                  <a:gd name="connsiteY1" fmla="*/ 755588 h 1354226"/>
                  <a:gd name="connsiteX2" fmla="*/ 7067 w 271545"/>
                  <a:gd name="connsiteY2" fmla="*/ 746519 h 1354226"/>
                  <a:gd name="connsiteX3" fmla="*/ 213 w 271545"/>
                  <a:gd name="connsiteY3" fmla="*/ 647920 h 1354226"/>
                  <a:gd name="connsiteX4" fmla="*/ 2 w 271545"/>
                  <a:gd name="connsiteY4" fmla="*/ 636426 h 1354226"/>
                  <a:gd name="connsiteX5" fmla="*/ 9809 w 271545"/>
                  <a:gd name="connsiteY5" fmla="*/ 625986 h 1354226"/>
                  <a:gd name="connsiteX6" fmla="*/ 20038 w 271545"/>
                  <a:gd name="connsiteY6" fmla="*/ 636004 h 1354226"/>
                  <a:gd name="connsiteX7" fmla="*/ 20038 w 271545"/>
                  <a:gd name="connsiteY7" fmla="*/ 636004 h 1354226"/>
                  <a:gd name="connsiteX8" fmla="*/ 20354 w 271545"/>
                  <a:gd name="connsiteY8" fmla="*/ 647393 h 1354226"/>
                  <a:gd name="connsiteX9" fmla="*/ 27103 w 271545"/>
                  <a:gd name="connsiteY9" fmla="*/ 744305 h 1354226"/>
                  <a:gd name="connsiteX10" fmla="*/ 27103 w 271545"/>
                  <a:gd name="connsiteY10" fmla="*/ 745149 h 1354226"/>
                  <a:gd name="connsiteX11" fmla="*/ 35540 w 271545"/>
                  <a:gd name="connsiteY11" fmla="*/ 418031 h 1354226"/>
                  <a:gd name="connsiteX12" fmla="*/ 35434 w 271545"/>
                  <a:gd name="connsiteY12" fmla="*/ 420035 h 1354226"/>
                  <a:gd name="connsiteX13" fmla="*/ 22780 w 271545"/>
                  <a:gd name="connsiteY13" fmla="*/ 527703 h 1354226"/>
                  <a:gd name="connsiteX14" fmla="*/ 12024 w 271545"/>
                  <a:gd name="connsiteY14" fmla="*/ 537194 h 1354226"/>
                  <a:gd name="connsiteX15" fmla="*/ 2744 w 271545"/>
                  <a:gd name="connsiteY15" fmla="*/ 526227 h 1354226"/>
                  <a:gd name="connsiteX16" fmla="*/ 15609 w 271545"/>
                  <a:gd name="connsiteY16" fmla="*/ 416660 h 1354226"/>
                  <a:gd name="connsiteX17" fmla="*/ 27209 w 271545"/>
                  <a:gd name="connsiteY17" fmla="*/ 408224 h 1354226"/>
                  <a:gd name="connsiteX18" fmla="*/ 35645 w 271545"/>
                  <a:gd name="connsiteY18" fmla="*/ 418031 h 1354226"/>
                  <a:gd name="connsiteX19" fmla="*/ 71289 w 271545"/>
                  <a:gd name="connsiteY19" fmla="*/ 959009 h 1354226"/>
                  <a:gd name="connsiteX20" fmla="*/ 64223 w 271545"/>
                  <a:gd name="connsiteY20" fmla="*/ 969027 h 1354226"/>
                  <a:gd name="connsiteX21" fmla="*/ 51674 w 271545"/>
                  <a:gd name="connsiteY21" fmla="*/ 962278 h 1354226"/>
                  <a:gd name="connsiteX22" fmla="*/ 24467 w 271545"/>
                  <a:gd name="connsiteY22" fmla="*/ 855453 h 1354226"/>
                  <a:gd name="connsiteX23" fmla="*/ 32271 w 271545"/>
                  <a:gd name="connsiteY23" fmla="*/ 843326 h 1354226"/>
                  <a:gd name="connsiteX24" fmla="*/ 44187 w 271545"/>
                  <a:gd name="connsiteY24" fmla="*/ 851235 h 1354226"/>
                  <a:gd name="connsiteX25" fmla="*/ 70972 w 271545"/>
                  <a:gd name="connsiteY25" fmla="*/ 956161 h 1354226"/>
                  <a:gd name="connsiteX26" fmla="*/ 71394 w 271545"/>
                  <a:gd name="connsiteY26" fmla="*/ 958903 h 1354226"/>
                  <a:gd name="connsiteX27" fmla="*/ 90797 w 271545"/>
                  <a:gd name="connsiteY27" fmla="*/ 206807 h 1354226"/>
                  <a:gd name="connsiteX28" fmla="*/ 90165 w 271545"/>
                  <a:gd name="connsiteY28" fmla="*/ 210604 h 1354226"/>
                  <a:gd name="connsiteX29" fmla="*/ 58107 w 271545"/>
                  <a:gd name="connsiteY29" fmla="*/ 313948 h 1354226"/>
                  <a:gd name="connsiteX30" fmla="*/ 45769 w 271545"/>
                  <a:gd name="connsiteY30" fmla="*/ 321225 h 1354226"/>
                  <a:gd name="connsiteX31" fmla="*/ 38598 w 271545"/>
                  <a:gd name="connsiteY31" fmla="*/ 308676 h 1354226"/>
                  <a:gd name="connsiteX32" fmla="*/ 71289 w 271545"/>
                  <a:gd name="connsiteY32" fmla="*/ 203538 h 1354226"/>
                  <a:gd name="connsiteX33" fmla="*/ 84259 w 271545"/>
                  <a:gd name="connsiteY33" fmla="*/ 197527 h 1354226"/>
                  <a:gd name="connsiteX34" fmla="*/ 90797 w 271545"/>
                  <a:gd name="connsiteY34" fmla="*/ 206913 h 1354226"/>
                  <a:gd name="connsiteX35" fmla="*/ 153964 w 271545"/>
                  <a:gd name="connsiteY35" fmla="*/ 1160742 h 1354226"/>
                  <a:gd name="connsiteX36" fmla="*/ 148586 w 271545"/>
                  <a:gd name="connsiteY36" fmla="*/ 1170127 h 1354226"/>
                  <a:gd name="connsiteX37" fmla="*/ 134983 w 271545"/>
                  <a:gd name="connsiteY37" fmla="*/ 1165803 h 1354226"/>
                  <a:gd name="connsiteX38" fmla="*/ 88688 w 271545"/>
                  <a:gd name="connsiteY38" fmla="*/ 1066044 h 1354226"/>
                  <a:gd name="connsiteX39" fmla="*/ 94067 w 271545"/>
                  <a:gd name="connsiteY39" fmla="*/ 1052652 h 1354226"/>
                  <a:gd name="connsiteX40" fmla="*/ 107248 w 271545"/>
                  <a:gd name="connsiteY40" fmla="*/ 1058135 h 1354226"/>
                  <a:gd name="connsiteX41" fmla="*/ 152804 w 271545"/>
                  <a:gd name="connsiteY41" fmla="*/ 1156207 h 1354226"/>
                  <a:gd name="connsiteX42" fmla="*/ 153964 w 271545"/>
                  <a:gd name="connsiteY42" fmla="*/ 1160742 h 1354226"/>
                  <a:gd name="connsiteX43" fmla="*/ 183386 w 271545"/>
                  <a:gd name="connsiteY43" fmla="*/ 9925 h 1354226"/>
                  <a:gd name="connsiteX44" fmla="*/ 182015 w 271545"/>
                  <a:gd name="connsiteY44" fmla="*/ 15514 h 1354226"/>
                  <a:gd name="connsiteX45" fmla="*/ 131608 w 271545"/>
                  <a:gd name="connsiteY45" fmla="*/ 110950 h 1354226"/>
                  <a:gd name="connsiteX46" fmla="*/ 118215 w 271545"/>
                  <a:gd name="connsiteY46" fmla="*/ 115801 h 1354226"/>
                  <a:gd name="connsiteX47" fmla="*/ 113470 w 271545"/>
                  <a:gd name="connsiteY47" fmla="*/ 102092 h 1354226"/>
                  <a:gd name="connsiteX48" fmla="*/ 164721 w 271545"/>
                  <a:gd name="connsiteY48" fmla="*/ 4969 h 1354226"/>
                  <a:gd name="connsiteX49" fmla="*/ 178535 w 271545"/>
                  <a:gd name="connsiteY49" fmla="*/ 1489 h 1354226"/>
                  <a:gd name="connsiteX50" fmla="*/ 183386 w 271545"/>
                  <a:gd name="connsiteY50" fmla="*/ 10031 h 1354226"/>
                  <a:gd name="connsiteX51" fmla="*/ 271545 w 271545"/>
                  <a:gd name="connsiteY51" fmla="*/ 1343704 h 1354226"/>
                  <a:gd name="connsiteX52" fmla="*/ 267749 w 271545"/>
                  <a:gd name="connsiteY52" fmla="*/ 1352035 h 1354226"/>
                  <a:gd name="connsiteX53" fmla="*/ 253618 w 271545"/>
                  <a:gd name="connsiteY53" fmla="*/ 1350347 h 1354226"/>
                  <a:gd name="connsiteX54" fmla="*/ 190135 w 271545"/>
                  <a:gd name="connsiteY54" fmla="*/ 1260923 h 1354226"/>
                  <a:gd name="connsiteX55" fmla="*/ 192982 w 271545"/>
                  <a:gd name="connsiteY55" fmla="*/ 1246687 h 1354226"/>
                  <a:gd name="connsiteX56" fmla="*/ 206902 w 271545"/>
                  <a:gd name="connsiteY56" fmla="*/ 1249639 h 1354226"/>
                  <a:gd name="connsiteX57" fmla="*/ 269331 w 271545"/>
                  <a:gd name="connsiteY57" fmla="*/ 1337588 h 1354226"/>
                  <a:gd name="connsiteX58" fmla="*/ 271545 w 271545"/>
                  <a:gd name="connsiteY58" fmla="*/ 1343704 h 135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271545" h="1354226">
                    <a:moveTo>
                      <a:pt x="27103" y="745149"/>
                    </a:moveTo>
                    <a:cubicBezTo>
                      <a:pt x="27209" y="750421"/>
                      <a:pt x="23413" y="755061"/>
                      <a:pt x="18140" y="755588"/>
                    </a:cubicBezTo>
                    <a:cubicBezTo>
                      <a:pt x="12656" y="756221"/>
                      <a:pt x="7595" y="752214"/>
                      <a:pt x="7067" y="746519"/>
                    </a:cubicBezTo>
                    <a:cubicBezTo>
                      <a:pt x="3482" y="713934"/>
                      <a:pt x="1162" y="680716"/>
                      <a:pt x="213" y="647920"/>
                    </a:cubicBezTo>
                    <a:cubicBezTo>
                      <a:pt x="107" y="644124"/>
                      <a:pt x="2" y="640328"/>
                      <a:pt x="2" y="636426"/>
                    </a:cubicBezTo>
                    <a:cubicBezTo>
                      <a:pt x="-104" y="630731"/>
                      <a:pt x="4325" y="626091"/>
                      <a:pt x="9809" y="625986"/>
                    </a:cubicBezTo>
                    <a:cubicBezTo>
                      <a:pt x="15293" y="625880"/>
                      <a:pt x="19933" y="630310"/>
                      <a:pt x="20038" y="636004"/>
                    </a:cubicBezTo>
                    <a:lnTo>
                      <a:pt x="20038" y="636004"/>
                    </a:lnTo>
                    <a:cubicBezTo>
                      <a:pt x="20038" y="639906"/>
                      <a:pt x="20249" y="643597"/>
                      <a:pt x="20354" y="647393"/>
                    </a:cubicBezTo>
                    <a:cubicBezTo>
                      <a:pt x="21303" y="679662"/>
                      <a:pt x="23518" y="712352"/>
                      <a:pt x="27103" y="744305"/>
                    </a:cubicBezTo>
                    <a:cubicBezTo>
                      <a:pt x="27103" y="744621"/>
                      <a:pt x="27103" y="744938"/>
                      <a:pt x="27103" y="745149"/>
                    </a:cubicBezTo>
                    <a:moveTo>
                      <a:pt x="35540" y="418031"/>
                    </a:moveTo>
                    <a:cubicBezTo>
                      <a:pt x="35540" y="418664"/>
                      <a:pt x="35540" y="419402"/>
                      <a:pt x="35434" y="420035"/>
                    </a:cubicBezTo>
                    <a:cubicBezTo>
                      <a:pt x="29634" y="455467"/>
                      <a:pt x="25416" y="491638"/>
                      <a:pt x="22780" y="527703"/>
                    </a:cubicBezTo>
                    <a:cubicBezTo>
                      <a:pt x="22358" y="533398"/>
                      <a:pt x="17507" y="537616"/>
                      <a:pt x="12024" y="537194"/>
                    </a:cubicBezTo>
                    <a:cubicBezTo>
                      <a:pt x="6435" y="536772"/>
                      <a:pt x="2322" y="531816"/>
                      <a:pt x="2744" y="526227"/>
                    </a:cubicBezTo>
                    <a:cubicBezTo>
                      <a:pt x="5380" y="489634"/>
                      <a:pt x="9704" y="452831"/>
                      <a:pt x="15609" y="416660"/>
                    </a:cubicBezTo>
                    <a:cubicBezTo>
                      <a:pt x="16558" y="411071"/>
                      <a:pt x="21725" y="407275"/>
                      <a:pt x="27209" y="408224"/>
                    </a:cubicBezTo>
                    <a:cubicBezTo>
                      <a:pt x="32060" y="409068"/>
                      <a:pt x="35434" y="413286"/>
                      <a:pt x="35645" y="418031"/>
                    </a:cubicBezTo>
                    <a:moveTo>
                      <a:pt x="71289" y="959009"/>
                    </a:moveTo>
                    <a:cubicBezTo>
                      <a:pt x="71394" y="963543"/>
                      <a:pt x="68652" y="967656"/>
                      <a:pt x="64223" y="969027"/>
                    </a:cubicBezTo>
                    <a:cubicBezTo>
                      <a:pt x="58950" y="970714"/>
                      <a:pt x="53256" y="967656"/>
                      <a:pt x="51674" y="962278"/>
                    </a:cubicBezTo>
                    <a:cubicBezTo>
                      <a:pt x="41023" y="927267"/>
                      <a:pt x="31849" y="891307"/>
                      <a:pt x="24467" y="855453"/>
                    </a:cubicBezTo>
                    <a:cubicBezTo>
                      <a:pt x="23307" y="849970"/>
                      <a:pt x="26787" y="844486"/>
                      <a:pt x="32271" y="843326"/>
                    </a:cubicBezTo>
                    <a:cubicBezTo>
                      <a:pt x="37754" y="842166"/>
                      <a:pt x="43027" y="845751"/>
                      <a:pt x="44187" y="851235"/>
                    </a:cubicBezTo>
                    <a:cubicBezTo>
                      <a:pt x="51463" y="886457"/>
                      <a:pt x="60427" y="921783"/>
                      <a:pt x="70972" y="956161"/>
                    </a:cubicBezTo>
                    <a:cubicBezTo>
                      <a:pt x="71289" y="957111"/>
                      <a:pt x="71394" y="958060"/>
                      <a:pt x="71394" y="958903"/>
                    </a:cubicBezTo>
                    <a:moveTo>
                      <a:pt x="90797" y="206807"/>
                    </a:moveTo>
                    <a:cubicBezTo>
                      <a:pt x="90797" y="208073"/>
                      <a:pt x="90587" y="209338"/>
                      <a:pt x="90165" y="210604"/>
                    </a:cubicBezTo>
                    <a:cubicBezTo>
                      <a:pt x="77932" y="244349"/>
                      <a:pt x="67176" y="279149"/>
                      <a:pt x="58107" y="313948"/>
                    </a:cubicBezTo>
                    <a:cubicBezTo>
                      <a:pt x="56736" y="319432"/>
                      <a:pt x="51147" y="322701"/>
                      <a:pt x="45769" y="321225"/>
                    </a:cubicBezTo>
                    <a:cubicBezTo>
                      <a:pt x="40391" y="319748"/>
                      <a:pt x="37227" y="314159"/>
                      <a:pt x="38598" y="308676"/>
                    </a:cubicBezTo>
                    <a:cubicBezTo>
                      <a:pt x="47772" y="273243"/>
                      <a:pt x="58845" y="237916"/>
                      <a:pt x="71289" y="203538"/>
                    </a:cubicBezTo>
                    <a:cubicBezTo>
                      <a:pt x="73187" y="198266"/>
                      <a:pt x="78987" y="195524"/>
                      <a:pt x="84259" y="197527"/>
                    </a:cubicBezTo>
                    <a:cubicBezTo>
                      <a:pt x="88267" y="199004"/>
                      <a:pt x="90692" y="202800"/>
                      <a:pt x="90797" y="206913"/>
                    </a:cubicBezTo>
                    <a:moveTo>
                      <a:pt x="153964" y="1160742"/>
                    </a:moveTo>
                    <a:cubicBezTo>
                      <a:pt x="154070" y="1164538"/>
                      <a:pt x="152066" y="1168229"/>
                      <a:pt x="148586" y="1170127"/>
                    </a:cubicBezTo>
                    <a:cubicBezTo>
                      <a:pt x="143735" y="1172763"/>
                      <a:pt x="137619" y="1170865"/>
                      <a:pt x="134983" y="1165803"/>
                    </a:cubicBezTo>
                    <a:cubicBezTo>
                      <a:pt x="118110" y="1133429"/>
                      <a:pt x="102503" y="1099789"/>
                      <a:pt x="88688" y="1066044"/>
                    </a:cubicBezTo>
                    <a:cubicBezTo>
                      <a:pt x="86579" y="1060772"/>
                      <a:pt x="89005" y="1054761"/>
                      <a:pt x="94067" y="1052652"/>
                    </a:cubicBezTo>
                    <a:cubicBezTo>
                      <a:pt x="99128" y="1050543"/>
                      <a:pt x="105139" y="1052968"/>
                      <a:pt x="107248" y="1058135"/>
                    </a:cubicBezTo>
                    <a:cubicBezTo>
                      <a:pt x="120852" y="1091353"/>
                      <a:pt x="136143" y="1124360"/>
                      <a:pt x="152804" y="1156207"/>
                    </a:cubicBezTo>
                    <a:cubicBezTo>
                      <a:pt x="153542" y="1157684"/>
                      <a:pt x="153964" y="1159160"/>
                      <a:pt x="153964" y="1160742"/>
                    </a:cubicBezTo>
                    <a:moveTo>
                      <a:pt x="183386" y="9925"/>
                    </a:moveTo>
                    <a:cubicBezTo>
                      <a:pt x="183386" y="11823"/>
                      <a:pt x="182964" y="13722"/>
                      <a:pt x="182015" y="15514"/>
                    </a:cubicBezTo>
                    <a:cubicBezTo>
                      <a:pt x="163877" y="46412"/>
                      <a:pt x="146899" y="78576"/>
                      <a:pt x="131608" y="110950"/>
                    </a:cubicBezTo>
                    <a:cubicBezTo>
                      <a:pt x="129183" y="116012"/>
                      <a:pt x="123172" y="118226"/>
                      <a:pt x="118215" y="115801"/>
                    </a:cubicBezTo>
                    <a:cubicBezTo>
                      <a:pt x="113154" y="113375"/>
                      <a:pt x="111045" y="107259"/>
                      <a:pt x="113470" y="102092"/>
                    </a:cubicBezTo>
                    <a:cubicBezTo>
                      <a:pt x="128972" y="69085"/>
                      <a:pt x="146266" y="36394"/>
                      <a:pt x="164721" y="4969"/>
                    </a:cubicBezTo>
                    <a:cubicBezTo>
                      <a:pt x="167568" y="118"/>
                      <a:pt x="173790" y="-1464"/>
                      <a:pt x="178535" y="1489"/>
                    </a:cubicBezTo>
                    <a:cubicBezTo>
                      <a:pt x="181593" y="3387"/>
                      <a:pt x="183280" y="6656"/>
                      <a:pt x="183386" y="10031"/>
                    </a:cubicBezTo>
                    <a:moveTo>
                      <a:pt x="271545" y="1343704"/>
                    </a:moveTo>
                    <a:cubicBezTo>
                      <a:pt x="271545" y="1346868"/>
                      <a:pt x="270280" y="1349926"/>
                      <a:pt x="267749" y="1352035"/>
                    </a:cubicBezTo>
                    <a:cubicBezTo>
                      <a:pt x="263425" y="1355515"/>
                      <a:pt x="257098" y="1354777"/>
                      <a:pt x="253618" y="1350347"/>
                    </a:cubicBezTo>
                    <a:cubicBezTo>
                      <a:pt x="231156" y="1321664"/>
                      <a:pt x="209855" y="1291504"/>
                      <a:pt x="190135" y="1260923"/>
                    </a:cubicBezTo>
                    <a:cubicBezTo>
                      <a:pt x="187077" y="1256177"/>
                      <a:pt x="188342" y="1249850"/>
                      <a:pt x="192982" y="1246687"/>
                    </a:cubicBezTo>
                    <a:cubicBezTo>
                      <a:pt x="197622" y="1243523"/>
                      <a:pt x="203844" y="1244894"/>
                      <a:pt x="206902" y="1249639"/>
                    </a:cubicBezTo>
                    <a:cubicBezTo>
                      <a:pt x="226306" y="1279693"/>
                      <a:pt x="247291" y="1309326"/>
                      <a:pt x="269331" y="1337588"/>
                    </a:cubicBezTo>
                    <a:cubicBezTo>
                      <a:pt x="270702" y="1339380"/>
                      <a:pt x="271440" y="1341489"/>
                      <a:pt x="271545" y="1343704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2AB4A11-B04B-0470-B5EE-9A446DCC9EAD}"/>
              </a:ext>
            </a:extLst>
          </p:cNvPr>
          <p:cNvGrpSpPr/>
          <p:nvPr userDrawn="1"/>
        </p:nvGrpSpPr>
        <p:grpSpPr>
          <a:xfrm>
            <a:off x="8464415" y="1839289"/>
            <a:ext cx="2836808" cy="2919645"/>
            <a:chOff x="5783956" y="2628864"/>
            <a:chExt cx="2836808" cy="291964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4178894-069E-C26D-997A-A4DA989CE02C}"/>
                </a:ext>
              </a:extLst>
            </p:cNvPr>
            <p:cNvSpPr/>
            <p:nvPr/>
          </p:nvSpPr>
          <p:spPr>
            <a:xfrm flipH="1">
              <a:off x="5819625" y="2754958"/>
              <a:ext cx="2701163" cy="2667456"/>
            </a:xfrm>
            <a:custGeom>
              <a:avLst/>
              <a:gdLst>
                <a:gd name="connsiteX0" fmla="*/ 1115489 w 2230978"/>
                <a:gd name="connsiteY0" fmla="*/ 2203139 h 2203138"/>
                <a:gd name="connsiteX1" fmla="*/ 0 w 2230978"/>
                <a:gd name="connsiteY1" fmla="*/ 1101570 h 2203138"/>
                <a:gd name="connsiteX2" fmla="*/ 1115489 w 2230978"/>
                <a:gd name="connsiteY2" fmla="*/ 0 h 2203138"/>
                <a:gd name="connsiteX3" fmla="*/ 2230979 w 2230978"/>
                <a:gd name="connsiteY3" fmla="*/ 1101570 h 2203138"/>
                <a:gd name="connsiteX4" fmla="*/ 1115489 w 2230978"/>
                <a:gd name="connsiteY4" fmla="*/ 2203139 h 220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978" h="2203138">
                  <a:moveTo>
                    <a:pt x="1115489" y="2203139"/>
                  </a:moveTo>
                  <a:cubicBezTo>
                    <a:pt x="499429" y="2203139"/>
                    <a:pt x="0" y="1709932"/>
                    <a:pt x="0" y="1101570"/>
                  </a:cubicBezTo>
                  <a:cubicBezTo>
                    <a:pt x="0" y="493207"/>
                    <a:pt x="499429" y="0"/>
                    <a:pt x="1115489" y="0"/>
                  </a:cubicBezTo>
                  <a:cubicBezTo>
                    <a:pt x="1731550" y="0"/>
                    <a:pt x="2230979" y="493207"/>
                    <a:pt x="2230979" y="1101570"/>
                  </a:cubicBezTo>
                  <a:cubicBezTo>
                    <a:pt x="2230979" y="1709932"/>
                    <a:pt x="1731550" y="2203139"/>
                    <a:pt x="1115489" y="2203139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105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1" name="Graphic 106">
              <a:extLst>
                <a:ext uri="{FF2B5EF4-FFF2-40B4-BE49-F238E27FC236}">
                  <a16:creationId xmlns:a16="http://schemas.microsoft.com/office/drawing/2014/main" id="{F0442A1D-6857-12E1-E802-C47106DE1111}"/>
                </a:ext>
              </a:extLst>
            </p:cNvPr>
            <p:cNvGrpSpPr/>
            <p:nvPr/>
          </p:nvGrpSpPr>
          <p:grpSpPr>
            <a:xfrm>
              <a:off x="5783956" y="2628864"/>
              <a:ext cx="2836808" cy="2919645"/>
              <a:chOff x="3043846" y="3604687"/>
              <a:chExt cx="2343012" cy="2411430"/>
            </a:xfrm>
            <a:solidFill>
              <a:srgbClr val="0095DA"/>
            </a:solidFill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2CEDFDA-4EB0-6A7D-9036-BC765D70C9AF}"/>
                  </a:ext>
                </a:extLst>
              </p:cNvPr>
              <p:cNvSpPr/>
              <p:nvPr/>
            </p:nvSpPr>
            <p:spPr>
              <a:xfrm>
                <a:off x="3043846" y="3604687"/>
                <a:ext cx="2343012" cy="2411430"/>
              </a:xfrm>
              <a:custGeom>
                <a:avLst/>
                <a:gdLst>
                  <a:gd name="connsiteX0" fmla="*/ 2199325 w 2343012"/>
                  <a:gd name="connsiteY0" fmla="*/ 631894 h 2411430"/>
                  <a:gd name="connsiteX1" fmla="*/ 2337891 w 2343012"/>
                  <a:gd name="connsiteY1" fmla="*/ 1089984 h 2411430"/>
                  <a:gd name="connsiteX2" fmla="*/ 2290964 w 2343012"/>
                  <a:gd name="connsiteY2" fmla="*/ 1550185 h 2411430"/>
                  <a:gd name="connsiteX3" fmla="*/ 2074467 w 2343012"/>
                  <a:gd name="connsiteY3" fmla="*/ 1959872 h 2411430"/>
                  <a:gd name="connsiteX4" fmla="*/ 1704536 w 2343012"/>
                  <a:gd name="connsiteY4" fmla="*/ 2266637 h 2411430"/>
                  <a:gd name="connsiteX5" fmla="*/ 810183 w 2343012"/>
                  <a:gd name="connsiteY5" fmla="*/ 2368189 h 2411430"/>
                  <a:gd name="connsiteX6" fmla="*/ 802907 w 2343012"/>
                  <a:gd name="connsiteY6" fmla="*/ 2355640 h 2411430"/>
                  <a:gd name="connsiteX7" fmla="*/ 815244 w 2343012"/>
                  <a:gd name="connsiteY7" fmla="*/ 2348469 h 2411430"/>
                  <a:gd name="connsiteX8" fmla="*/ 1694834 w 2343012"/>
                  <a:gd name="connsiteY8" fmla="*/ 2248604 h 2411430"/>
                  <a:gd name="connsiteX9" fmla="*/ 2271666 w 2343012"/>
                  <a:gd name="connsiteY9" fmla="*/ 1543963 h 2411430"/>
                  <a:gd name="connsiteX10" fmla="*/ 2181608 w 2343012"/>
                  <a:gd name="connsiteY10" fmla="*/ 641490 h 2411430"/>
                  <a:gd name="connsiteX11" fmla="*/ 1477705 w 2343012"/>
                  <a:gd name="connsiteY11" fmla="*/ 69720 h 2411430"/>
                  <a:gd name="connsiteX12" fmla="*/ 571857 w 2343012"/>
                  <a:gd name="connsiteY12" fmla="*/ 163574 h 2411430"/>
                  <a:gd name="connsiteX13" fmla="*/ 19596 w 2343012"/>
                  <a:gd name="connsiteY13" fmla="*/ 793554 h 2411430"/>
                  <a:gd name="connsiteX14" fmla="*/ 6625 w 2343012"/>
                  <a:gd name="connsiteY14" fmla="*/ 799459 h 2411430"/>
                  <a:gd name="connsiteX15" fmla="*/ 615 w 2343012"/>
                  <a:gd name="connsiteY15" fmla="*/ 786278 h 2411430"/>
                  <a:gd name="connsiteX16" fmla="*/ 215846 w 2343012"/>
                  <a:gd name="connsiteY16" fmla="*/ 420564 h 2411430"/>
                  <a:gd name="connsiteX17" fmla="*/ 562050 w 2343012"/>
                  <a:gd name="connsiteY17" fmla="*/ 145646 h 2411430"/>
                  <a:gd name="connsiteX18" fmla="*/ 1021828 w 2343012"/>
                  <a:gd name="connsiteY18" fmla="*/ 5604 h 2411430"/>
                  <a:gd name="connsiteX19" fmla="*/ 1483083 w 2343012"/>
                  <a:gd name="connsiteY19" fmla="*/ 50316 h 2411430"/>
                  <a:gd name="connsiteX20" fmla="*/ 1893087 w 2343012"/>
                  <a:gd name="connsiteY20" fmla="*/ 264387 h 2411430"/>
                  <a:gd name="connsiteX21" fmla="*/ 2199219 w 2343012"/>
                  <a:gd name="connsiteY21" fmla="*/ 632210 h 24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343012" h="2411430">
                    <a:moveTo>
                      <a:pt x="2199325" y="631894"/>
                    </a:moveTo>
                    <a:cubicBezTo>
                      <a:pt x="2276411" y="775100"/>
                      <a:pt x="2323127" y="929168"/>
                      <a:pt x="2337891" y="1089984"/>
                    </a:cubicBezTo>
                    <a:cubicBezTo>
                      <a:pt x="2352232" y="1245212"/>
                      <a:pt x="2336414" y="1400018"/>
                      <a:pt x="2290964" y="1550185"/>
                    </a:cubicBezTo>
                    <a:cubicBezTo>
                      <a:pt x="2245513" y="1700245"/>
                      <a:pt x="2172645" y="1838179"/>
                      <a:pt x="2074467" y="1959872"/>
                    </a:cubicBezTo>
                    <a:cubicBezTo>
                      <a:pt x="1972810" y="2085889"/>
                      <a:pt x="1848375" y="2189129"/>
                      <a:pt x="1704536" y="2266637"/>
                    </a:cubicBezTo>
                    <a:cubicBezTo>
                      <a:pt x="1429934" y="2414483"/>
                      <a:pt x="1112308" y="2450548"/>
                      <a:pt x="810183" y="2368189"/>
                    </a:cubicBezTo>
                    <a:cubicBezTo>
                      <a:pt x="804805" y="2366713"/>
                      <a:pt x="801536" y="2361124"/>
                      <a:pt x="802907" y="2355640"/>
                    </a:cubicBezTo>
                    <a:cubicBezTo>
                      <a:pt x="804278" y="2350156"/>
                      <a:pt x="809761" y="2346993"/>
                      <a:pt x="815244" y="2348469"/>
                    </a:cubicBezTo>
                    <a:cubicBezTo>
                      <a:pt x="1112413" y="2429563"/>
                      <a:pt x="1424767" y="2394025"/>
                      <a:pt x="1694834" y="2248604"/>
                    </a:cubicBezTo>
                    <a:cubicBezTo>
                      <a:pt x="1974919" y="2097806"/>
                      <a:pt x="2179710" y="1847564"/>
                      <a:pt x="2271666" y="1543963"/>
                    </a:cubicBezTo>
                    <a:cubicBezTo>
                      <a:pt x="2363516" y="1240467"/>
                      <a:pt x="2331564" y="919993"/>
                      <a:pt x="2181608" y="641490"/>
                    </a:cubicBezTo>
                    <a:cubicBezTo>
                      <a:pt x="2031653" y="363092"/>
                      <a:pt x="1781622" y="159988"/>
                      <a:pt x="1477705" y="69720"/>
                    </a:cubicBezTo>
                    <a:cubicBezTo>
                      <a:pt x="1173682" y="-20549"/>
                      <a:pt x="851942" y="12669"/>
                      <a:pt x="571857" y="163574"/>
                    </a:cubicBezTo>
                    <a:cubicBezTo>
                      <a:pt x="309594" y="304776"/>
                      <a:pt x="118617" y="522643"/>
                      <a:pt x="19596" y="793554"/>
                    </a:cubicBezTo>
                    <a:cubicBezTo>
                      <a:pt x="17698" y="798827"/>
                      <a:pt x="11898" y="801463"/>
                      <a:pt x="6625" y="799459"/>
                    </a:cubicBezTo>
                    <a:cubicBezTo>
                      <a:pt x="1353" y="797456"/>
                      <a:pt x="-1284" y="791550"/>
                      <a:pt x="615" y="786278"/>
                    </a:cubicBezTo>
                    <a:cubicBezTo>
                      <a:pt x="49967" y="651297"/>
                      <a:pt x="122308" y="528233"/>
                      <a:pt x="215846" y="420564"/>
                    </a:cubicBezTo>
                    <a:cubicBezTo>
                      <a:pt x="311598" y="310260"/>
                      <a:pt x="428124" y="217777"/>
                      <a:pt x="562050" y="145646"/>
                    </a:cubicBezTo>
                    <a:cubicBezTo>
                      <a:pt x="705889" y="68138"/>
                      <a:pt x="860590" y="21000"/>
                      <a:pt x="1021828" y="5604"/>
                    </a:cubicBezTo>
                    <a:cubicBezTo>
                      <a:pt x="1177478" y="-9371"/>
                      <a:pt x="1332706" y="5709"/>
                      <a:pt x="1483083" y="50316"/>
                    </a:cubicBezTo>
                    <a:cubicBezTo>
                      <a:pt x="1633460" y="95029"/>
                      <a:pt x="1771393" y="167054"/>
                      <a:pt x="1893087" y="264387"/>
                    </a:cubicBezTo>
                    <a:cubicBezTo>
                      <a:pt x="2019104" y="365201"/>
                      <a:pt x="2122133" y="489004"/>
                      <a:pt x="2199219" y="632210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3" name="Graphic 106">
                <a:extLst>
                  <a:ext uri="{FF2B5EF4-FFF2-40B4-BE49-F238E27FC236}">
                    <a16:creationId xmlns:a16="http://schemas.microsoft.com/office/drawing/2014/main" id="{22E5CC3B-BEB7-B528-CD1A-1849FC75A475}"/>
                  </a:ext>
                </a:extLst>
              </p:cNvPr>
              <p:cNvGrpSpPr/>
              <p:nvPr/>
            </p:nvGrpSpPr>
            <p:grpSpPr>
              <a:xfrm>
                <a:off x="3110000" y="5344097"/>
                <a:ext cx="562406" cy="540023"/>
                <a:chOff x="3110000" y="5344097"/>
                <a:chExt cx="562406" cy="540023"/>
              </a:xfrm>
              <a:solidFill>
                <a:srgbClr val="0095DA"/>
              </a:solidFill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31006FD8-7CAD-0619-8B03-9B6E98AD6F2F}"/>
                    </a:ext>
                  </a:extLst>
                </p:cNvPr>
                <p:cNvSpPr/>
                <p:nvPr/>
              </p:nvSpPr>
              <p:spPr>
                <a:xfrm>
                  <a:off x="3110000" y="5344097"/>
                  <a:ext cx="75553" cy="114740"/>
                </a:xfrm>
                <a:custGeom>
                  <a:avLst/>
                  <a:gdLst>
                    <a:gd name="connsiteX0" fmla="*/ 74292 w 75553"/>
                    <a:gd name="connsiteY0" fmla="*/ 99718 h 114740"/>
                    <a:gd name="connsiteX1" fmla="*/ 71023 w 75553"/>
                    <a:gd name="connsiteY1" fmla="*/ 113111 h 114740"/>
                    <a:gd name="connsiteX2" fmla="*/ 56998 w 75553"/>
                    <a:gd name="connsiteY2" fmla="*/ 110053 h 114740"/>
                    <a:gd name="connsiteX3" fmla="*/ 6591 w 75553"/>
                    <a:gd name="connsiteY3" fmla="*/ 24952 h 114740"/>
                    <a:gd name="connsiteX4" fmla="*/ 1213 w 75553"/>
                    <a:gd name="connsiteY4" fmla="*/ 14828 h 114740"/>
                    <a:gd name="connsiteX5" fmla="*/ 5325 w 75553"/>
                    <a:gd name="connsiteY5" fmla="*/ 1119 h 114740"/>
                    <a:gd name="connsiteX6" fmla="*/ 18929 w 75553"/>
                    <a:gd name="connsiteY6" fmla="*/ 5443 h 114740"/>
                    <a:gd name="connsiteX7" fmla="*/ 18929 w 75553"/>
                    <a:gd name="connsiteY7" fmla="*/ 5443 h 114740"/>
                    <a:gd name="connsiteX8" fmla="*/ 24201 w 75553"/>
                    <a:gd name="connsiteY8" fmla="*/ 15461 h 114740"/>
                    <a:gd name="connsiteX9" fmla="*/ 73765 w 75553"/>
                    <a:gd name="connsiteY9" fmla="*/ 99086 h 114740"/>
                    <a:gd name="connsiteX10" fmla="*/ 74187 w 75553"/>
                    <a:gd name="connsiteY10" fmla="*/ 99824 h 114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5553" h="114740">
                      <a:moveTo>
                        <a:pt x="74292" y="99718"/>
                      </a:moveTo>
                      <a:cubicBezTo>
                        <a:pt x="76823" y="104358"/>
                        <a:pt x="75452" y="110158"/>
                        <a:pt x="71023" y="113111"/>
                      </a:cubicBezTo>
                      <a:cubicBezTo>
                        <a:pt x="66383" y="116169"/>
                        <a:pt x="60161" y="114798"/>
                        <a:pt x="56998" y="110053"/>
                      </a:cubicBezTo>
                      <a:cubicBezTo>
                        <a:pt x="39176" y="82529"/>
                        <a:pt x="22198" y="53951"/>
                        <a:pt x="6591" y="24952"/>
                      </a:cubicBezTo>
                      <a:cubicBezTo>
                        <a:pt x="4798" y="21577"/>
                        <a:pt x="3005" y="18203"/>
                        <a:pt x="1213" y="14828"/>
                      </a:cubicBezTo>
                      <a:cubicBezTo>
                        <a:pt x="-1424" y="9872"/>
                        <a:pt x="369" y="3650"/>
                        <a:pt x="5325" y="1119"/>
                      </a:cubicBezTo>
                      <a:cubicBezTo>
                        <a:pt x="10176" y="-1412"/>
                        <a:pt x="16292" y="486"/>
                        <a:pt x="18929" y="5443"/>
                      </a:cubicBezTo>
                      <a:lnTo>
                        <a:pt x="18929" y="5443"/>
                      </a:lnTo>
                      <a:cubicBezTo>
                        <a:pt x="20721" y="8817"/>
                        <a:pt x="22409" y="12192"/>
                        <a:pt x="24201" y="15461"/>
                      </a:cubicBezTo>
                      <a:cubicBezTo>
                        <a:pt x="39492" y="43933"/>
                        <a:pt x="56154" y="72089"/>
                        <a:pt x="73765" y="99086"/>
                      </a:cubicBezTo>
                      <a:cubicBezTo>
                        <a:pt x="73870" y="99296"/>
                        <a:pt x="74081" y="99613"/>
                        <a:pt x="74187" y="99824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BEAFD469-9687-6226-37B4-2E0C5F122FB2}"/>
                    </a:ext>
                  </a:extLst>
                </p:cNvPr>
                <p:cNvSpPr/>
                <p:nvPr/>
              </p:nvSpPr>
              <p:spPr>
                <a:xfrm>
                  <a:off x="3229188" y="5527049"/>
                  <a:ext cx="91834" cy="103054"/>
                </a:xfrm>
                <a:custGeom>
                  <a:avLst/>
                  <a:gdLst>
                    <a:gd name="connsiteX0" fmla="*/ 90612 w 91834"/>
                    <a:gd name="connsiteY0" fmla="*/ 88129 h 103054"/>
                    <a:gd name="connsiteX1" fmla="*/ 88819 w 91834"/>
                    <a:gd name="connsiteY1" fmla="*/ 100256 h 103054"/>
                    <a:gd name="connsiteX2" fmla="*/ 74583 w 91834"/>
                    <a:gd name="connsiteY2" fmla="*/ 99834 h 103054"/>
                    <a:gd name="connsiteX3" fmla="*/ 2241 w 91834"/>
                    <a:gd name="connsiteY3" fmla="*/ 16526 h 103054"/>
                    <a:gd name="connsiteX4" fmla="*/ 3718 w 91834"/>
                    <a:gd name="connsiteY4" fmla="*/ 2184 h 103054"/>
                    <a:gd name="connsiteX5" fmla="*/ 17954 w 91834"/>
                    <a:gd name="connsiteY5" fmla="*/ 3977 h 103054"/>
                    <a:gd name="connsiteX6" fmla="*/ 88924 w 91834"/>
                    <a:gd name="connsiteY6" fmla="*/ 85809 h 103054"/>
                    <a:gd name="connsiteX7" fmla="*/ 90612 w 91834"/>
                    <a:gd name="connsiteY7" fmla="*/ 88023 h 103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834" h="103054">
                      <a:moveTo>
                        <a:pt x="90612" y="88129"/>
                      </a:moveTo>
                      <a:cubicBezTo>
                        <a:pt x="92721" y="92030"/>
                        <a:pt x="92088" y="97092"/>
                        <a:pt x="88819" y="100256"/>
                      </a:cubicBezTo>
                      <a:cubicBezTo>
                        <a:pt x="84812" y="104158"/>
                        <a:pt x="78379" y="103947"/>
                        <a:pt x="74583" y="99834"/>
                      </a:cubicBezTo>
                      <a:cubicBezTo>
                        <a:pt x="49274" y="73365"/>
                        <a:pt x="25020" y="45314"/>
                        <a:pt x="2241" y="16526"/>
                      </a:cubicBezTo>
                      <a:cubicBezTo>
                        <a:pt x="-1238" y="12096"/>
                        <a:pt x="-606" y="5664"/>
                        <a:pt x="3718" y="2184"/>
                      </a:cubicBezTo>
                      <a:cubicBezTo>
                        <a:pt x="8041" y="-1296"/>
                        <a:pt x="14474" y="-558"/>
                        <a:pt x="17954" y="3977"/>
                      </a:cubicBezTo>
                      <a:cubicBezTo>
                        <a:pt x="40310" y="32238"/>
                        <a:pt x="64143" y="59761"/>
                        <a:pt x="88924" y="85809"/>
                      </a:cubicBezTo>
                      <a:cubicBezTo>
                        <a:pt x="89557" y="86547"/>
                        <a:pt x="90190" y="87285"/>
                        <a:pt x="90612" y="88023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1DC8AAF9-572B-E474-7023-ED153BDBB5CE}"/>
                    </a:ext>
                  </a:extLst>
                </p:cNvPr>
                <p:cNvSpPr/>
                <p:nvPr/>
              </p:nvSpPr>
              <p:spPr>
                <a:xfrm>
                  <a:off x="3379665" y="5685216"/>
                  <a:ext cx="105680" cy="88251"/>
                </a:xfrm>
                <a:custGeom>
                  <a:avLst/>
                  <a:gdLst>
                    <a:gd name="connsiteX0" fmla="*/ 104432 w 105680"/>
                    <a:gd name="connsiteY0" fmla="*/ 73273 h 88251"/>
                    <a:gd name="connsiteX1" fmla="*/ 103905 w 105680"/>
                    <a:gd name="connsiteY1" fmla="*/ 84029 h 88251"/>
                    <a:gd name="connsiteX2" fmla="*/ 89774 w 105680"/>
                    <a:gd name="connsiteY2" fmla="*/ 86349 h 88251"/>
                    <a:gd name="connsiteX3" fmla="*/ 3619 w 105680"/>
                    <a:gd name="connsiteY3" fmla="*/ 17910 h 88251"/>
                    <a:gd name="connsiteX4" fmla="*/ 2459 w 105680"/>
                    <a:gd name="connsiteY4" fmla="*/ 3463 h 88251"/>
                    <a:gd name="connsiteX5" fmla="*/ 16695 w 105680"/>
                    <a:gd name="connsiteY5" fmla="*/ 2514 h 88251"/>
                    <a:gd name="connsiteX6" fmla="*/ 101374 w 105680"/>
                    <a:gd name="connsiteY6" fmla="*/ 69688 h 88251"/>
                    <a:gd name="connsiteX7" fmla="*/ 104432 w 105680"/>
                    <a:gd name="connsiteY7" fmla="*/ 73168 h 88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5680" h="88251">
                      <a:moveTo>
                        <a:pt x="104432" y="73273"/>
                      </a:moveTo>
                      <a:cubicBezTo>
                        <a:pt x="106225" y="76648"/>
                        <a:pt x="106120" y="80760"/>
                        <a:pt x="103905" y="84029"/>
                      </a:cubicBezTo>
                      <a:cubicBezTo>
                        <a:pt x="100741" y="88564"/>
                        <a:pt x="94414" y="89618"/>
                        <a:pt x="89774" y="86349"/>
                      </a:cubicBezTo>
                      <a:cubicBezTo>
                        <a:pt x="60142" y="64942"/>
                        <a:pt x="31142" y="41953"/>
                        <a:pt x="3619" y="17910"/>
                      </a:cubicBezTo>
                      <a:cubicBezTo>
                        <a:pt x="-705" y="14219"/>
                        <a:pt x="-1232" y="7681"/>
                        <a:pt x="2459" y="3463"/>
                      </a:cubicBezTo>
                      <a:cubicBezTo>
                        <a:pt x="6149" y="-755"/>
                        <a:pt x="12477" y="-1177"/>
                        <a:pt x="16695" y="2514"/>
                      </a:cubicBezTo>
                      <a:cubicBezTo>
                        <a:pt x="43691" y="26135"/>
                        <a:pt x="72269" y="48702"/>
                        <a:pt x="101374" y="69688"/>
                      </a:cubicBezTo>
                      <a:cubicBezTo>
                        <a:pt x="102640" y="70637"/>
                        <a:pt x="103694" y="71797"/>
                        <a:pt x="104432" y="73168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A2695CBE-C1D9-EC22-0794-EB92CBBA104C}"/>
                    </a:ext>
                  </a:extLst>
                </p:cNvPr>
                <p:cNvSpPr/>
                <p:nvPr/>
              </p:nvSpPr>
              <p:spPr>
                <a:xfrm>
                  <a:off x="3556180" y="5812649"/>
                  <a:ext cx="116227" cy="71471"/>
                </a:xfrm>
                <a:custGeom>
                  <a:avLst/>
                  <a:gdLst>
                    <a:gd name="connsiteX0" fmla="*/ 114992 w 116227"/>
                    <a:gd name="connsiteY0" fmla="*/ 56461 h 71471"/>
                    <a:gd name="connsiteX1" fmla="*/ 115309 w 116227"/>
                    <a:gd name="connsiteY1" fmla="*/ 65635 h 71471"/>
                    <a:gd name="connsiteX2" fmla="*/ 101916 w 116227"/>
                    <a:gd name="connsiteY2" fmla="*/ 70486 h 71471"/>
                    <a:gd name="connsiteX3" fmla="*/ 5109 w 116227"/>
                    <a:gd name="connsiteY3" fmla="*/ 19025 h 71471"/>
                    <a:gd name="connsiteX4" fmla="*/ 1313 w 116227"/>
                    <a:gd name="connsiteY4" fmla="*/ 4999 h 71471"/>
                    <a:gd name="connsiteX5" fmla="*/ 15128 w 116227"/>
                    <a:gd name="connsiteY5" fmla="*/ 1414 h 71471"/>
                    <a:gd name="connsiteX6" fmla="*/ 110352 w 116227"/>
                    <a:gd name="connsiteY6" fmla="*/ 52032 h 71471"/>
                    <a:gd name="connsiteX7" fmla="*/ 114992 w 116227"/>
                    <a:gd name="connsiteY7" fmla="*/ 56461 h 7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6227" h="71471">
                      <a:moveTo>
                        <a:pt x="114992" y="56461"/>
                      </a:moveTo>
                      <a:cubicBezTo>
                        <a:pt x="116469" y="59203"/>
                        <a:pt x="116679" y="62577"/>
                        <a:pt x="115309" y="65635"/>
                      </a:cubicBezTo>
                      <a:cubicBezTo>
                        <a:pt x="112989" y="70697"/>
                        <a:pt x="106978" y="72912"/>
                        <a:pt x="101916" y="70486"/>
                      </a:cubicBezTo>
                      <a:cubicBezTo>
                        <a:pt x="69014" y="54879"/>
                        <a:pt x="36429" y="37585"/>
                        <a:pt x="5109" y="19025"/>
                      </a:cubicBezTo>
                      <a:cubicBezTo>
                        <a:pt x="259" y="16177"/>
                        <a:pt x="-1429" y="9850"/>
                        <a:pt x="1313" y="4999"/>
                      </a:cubicBezTo>
                      <a:cubicBezTo>
                        <a:pt x="4055" y="149"/>
                        <a:pt x="10277" y="-1433"/>
                        <a:pt x="15128" y="1414"/>
                      </a:cubicBezTo>
                      <a:cubicBezTo>
                        <a:pt x="45920" y="19657"/>
                        <a:pt x="77978" y="36635"/>
                        <a:pt x="110352" y="52032"/>
                      </a:cubicBezTo>
                      <a:cubicBezTo>
                        <a:pt x="112461" y="52981"/>
                        <a:pt x="114043" y="54563"/>
                        <a:pt x="114992" y="56461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AA1D1D18-2247-6B80-5E52-F738FA4E50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16301" y="3603890"/>
            <a:ext cx="1903922" cy="1903922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E5BFF489-3F8E-5A34-04FE-4F4565C354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02858" y="2267095"/>
            <a:ext cx="2684967" cy="664506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Name 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157CF4DF-C8F8-A895-4692-67D5B72F88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2156" y="2989528"/>
            <a:ext cx="2684967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69">
            <a:extLst>
              <a:ext uri="{FF2B5EF4-FFF2-40B4-BE49-F238E27FC236}">
                <a16:creationId xmlns:a16="http://schemas.microsoft.com/office/drawing/2014/main" id="{956C6D9E-60FF-ADAA-B8ED-C49537E42E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98704" y="3603890"/>
            <a:ext cx="1903922" cy="1903922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2468A519-8450-3D80-5D5D-3657B318CD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515578" y="2989528"/>
            <a:ext cx="2684967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3A3505C2-ECBD-BA15-D92F-A9D5C2986C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3713" y="3939737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3397A2E-98FD-0DB3-D78D-E40DEAF22F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12" y="2722563"/>
            <a:ext cx="3089275" cy="10033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DDC8310F-AED2-6D06-E438-23AA7FF56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14846" y="2266950"/>
            <a:ext cx="2684967" cy="587375"/>
          </a:xfrm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</p:spTree>
    <p:extLst>
      <p:ext uri="{BB962C8B-B14F-4D97-AF65-F5344CB8AC3E}">
        <p14:creationId xmlns:p14="http://schemas.microsoft.com/office/powerpoint/2010/main" val="1219440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24E970-CD7C-2893-4293-CAADEBD4D699}"/>
              </a:ext>
            </a:extLst>
          </p:cNvPr>
          <p:cNvSpPr/>
          <p:nvPr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B76CD7-5462-E949-A051-E9D818072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640762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336903-C42D-0B24-3543-E020D15776BE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1458B3-1D91-F3A6-83FD-350154A757C1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06B1D8-6A8F-870D-43B3-DFB9C45F78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58360" y="266700"/>
            <a:ext cx="2463933" cy="131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12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2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4D401DD-DF55-1E7F-F6AE-EBB568D5C81C}"/>
              </a:ext>
            </a:extLst>
          </p:cNvPr>
          <p:cNvSpPr/>
          <p:nvPr userDrawn="1"/>
        </p:nvSpPr>
        <p:spPr>
          <a:xfrm>
            <a:off x="826043" y="1713838"/>
            <a:ext cx="10715276" cy="4242121"/>
          </a:xfrm>
          <a:prstGeom prst="roundRect">
            <a:avLst>
              <a:gd name="adj" fmla="val 50000"/>
            </a:avLst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AA7923-B45E-1240-B00A-80913CDD5CB4}"/>
              </a:ext>
            </a:extLst>
          </p:cNvPr>
          <p:cNvGrpSpPr/>
          <p:nvPr userDrawn="1"/>
        </p:nvGrpSpPr>
        <p:grpSpPr>
          <a:xfrm>
            <a:off x="1986241" y="2104833"/>
            <a:ext cx="2917041" cy="2917041"/>
            <a:chOff x="2814460" y="2627404"/>
            <a:chExt cx="2917041" cy="2917041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330F9DB-1636-DE50-CA9C-D702DB902294}"/>
                </a:ext>
              </a:extLst>
            </p:cNvPr>
            <p:cNvSpPr/>
            <p:nvPr/>
          </p:nvSpPr>
          <p:spPr>
            <a:xfrm>
              <a:off x="2922399" y="2752196"/>
              <a:ext cx="2701163" cy="2667456"/>
            </a:xfrm>
            <a:custGeom>
              <a:avLst/>
              <a:gdLst>
                <a:gd name="connsiteX0" fmla="*/ 1115489 w 2230978"/>
                <a:gd name="connsiteY0" fmla="*/ 2203139 h 2203138"/>
                <a:gd name="connsiteX1" fmla="*/ 2230979 w 2230978"/>
                <a:gd name="connsiteY1" fmla="*/ 1101570 h 2203138"/>
                <a:gd name="connsiteX2" fmla="*/ 1115489 w 2230978"/>
                <a:gd name="connsiteY2" fmla="*/ 0 h 2203138"/>
                <a:gd name="connsiteX3" fmla="*/ 0 w 2230978"/>
                <a:gd name="connsiteY3" fmla="*/ 1101570 h 2203138"/>
                <a:gd name="connsiteX4" fmla="*/ 1115489 w 2230978"/>
                <a:gd name="connsiteY4" fmla="*/ 2203139 h 220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978" h="2203138">
                  <a:moveTo>
                    <a:pt x="1115489" y="2203139"/>
                  </a:moveTo>
                  <a:cubicBezTo>
                    <a:pt x="1731550" y="2203139"/>
                    <a:pt x="2230979" y="1709932"/>
                    <a:pt x="2230979" y="1101570"/>
                  </a:cubicBezTo>
                  <a:cubicBezTo>
                    <a:pt x="2230979" y="493207"/>
                    <a:pt x="1731550" y="0"/>
                    <a:pt x="1115489" y="0"/>
                  </a:cubicBezTo>
                  <a:cubicBezTo>
                    <a:pt x="499429" y="0"/>
                    <a:pt x="0" y="493207"/>
                    <a:pt x="0" y="1101570"/>
                  </a:cubicBezTo>
                  <a:cubicBezTo>
                    <a:pt x="0" y="1709932"/>
                    <a:pt x="499429" y="2203139"/>
                    <a:pt x="1115489" y="2203139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105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6" name="Graphic 106">
              <a:extLst>
                <a:ext uri="{FF2B5EF4-FFF2-40B4-BE49-F238E27FC236}">
                  <a16:creationId xmlns:a16="http://schemas.microsoft.com/office/drawing/2014/main" id="{40D9D90F-0F42-F5C9-A3A5-010CF31FB9E8}"/>
                </a:ext>
              </a:extLst>
            </p:cNvPr>
            <p:cNvGrpSpPr/>
            <p:nvPr/>
          </p:nvGrpSpPr>
          <p:grpSpPr>
            <a:xfrm>
              <a:off x="2814460" y="2627404"/>
              <a:ext cx="2917041" cy="2917041"/>
              <a:chOff x="619234" y="3603226"/>
              <a:chExt cx="2409279" cy="2409279"/>
            </a:xfrm>
            <a:solidFill>
              <a:srgbClr val="0095DA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27F99F41-08B1-14F1-C459-D9FC5155AB37}"/>
                  </a:ext>
                </a:extLst>
              </p:cNvPr>
              <p:cNvSpPr/>
              <p:nvPr/>
            </p:nvSpPr>
            <p:spPr>
              <a:xfrm>
                <a:off x="990714" y="3603226"/>
                <a:ext cx="2037799" cy="2409279"/>
              </a:xfrm>
              <a:custGeom>
                <a:avLst/>
                <a:gdLst>
                  <a:gd name="connsiteX0" fmla="*/ 2037295 w 2037799"/>
                  <a:gd name="connsiteY0" fmla="*/ 1169903 h 2409279"/>
                  <a:gd name="connsiteX1" fmla="*/ 1955674 w 2037799"/>
                  <a:gd name="connsiteY1" fmla="*/ 1641387 h 2409279"/>
                  <a:gd name="connsiteX2" fmla="*/ 1707225 w 2037799"/>
                  <a:gd name="connsiteY2" fmla="*/ 2031566 h 2409279"/>
                  <a:gd name="connsiteX3" fmla="*/ 1329912 w 2037799"/>
                  <a:gd name="connsiteY3" fmla="*/ 2300578 h 2409279"/>
                  <a:gd name="connsiteX4" fmla="*/ 861592 w 2037799"/>
                  <a:gd name="connsiteY4" fmla="*/ 2408774 h 2409279"/>
                  <a:gd name="connsiteX5" fmla="*/ 16802 w 2037799"/>
                  <a:gd name="connsiteY5" fmla="*/ 2098213 h 2409279"/>
                  <a:gd name="connsiteX6" fmla="*/ 15853 w 2037799"/>
                  <a:gd name="connsiteY6" fmla="*/ 2083765 h 2409279"/>
                  <a:gd name="connsiteX7" fmla="*/ 30089 w 2037799"/>
                  <a:gd name="connsiteY7" fmla="*/ 2082816 h 2409279"/>
                  <a:gd name="connsiteX8" fmla="*/ 861065 w 2037799"/>
                  <a:gd name="connsiteY8" fmla="*/ 2388210 h 2409279"/>
                  <a:gd name="connsiteX9" fmla="*/ 1692778 w 2037799"/>
                  <a:gd name="connsiteY9" fmla="*/ 2017224 h 2409279"/>
                  <a:gd name="connsiteX10" fmla="*/ 2017154 w 2037799"/>
                  <a:gd name="connsiteY10" fmla="*/ 1170325 h 2409279"/>
                  <a:gd name="connsiteX11" fmla="*/ 1644586 w 2037799"/>
                  <a:gd name="connsiteY11" fmla="*/ 343463 h 2409279"/>
                  <a:gd name="connsiteX12" fmla="*/ 793047 w 2037799"/>
                  <a:gd name="connsiteY12" fmla="*/ 21091 h 2409279"/>
                  <a:gd name="connsiteX13" fmla="*/ 16907 w 2037799"/>
                  <a:gd name="connsiteY13" fmla="*/ 336292 h 2409279"/>
                  <a:gd name="connsiteX14" fmla="*/ 2671 w 2037799"/>
                  <a:gd name="connsiteY14" fmla="*/ 335765 h 2409279"/>
                  <a:gd name="connsiteX15" fmla="*/ 3199 w 2037799"/>
                  <a:gd name="connsiteY15" fmla="*/ 321212 h 2409279"/>
                  <a:gd name="connsiteX16" fmla="*/ 359632 w 2037799"/>
                  <a:gd name="connsiteY16" fmla="*/ 90901 h 2409279"/>
                  <a:gd name="connsiteX17" fmla="*/ 792414 w 2037799"/>
                  <a:gd name="connsiteY17" fmla="*/ 527 h 2409279"/>
                  <a:gd name="connsiteX18" fmla="*/ 1266112 w 2037799"/>
                  <a:gd name="connsiteY18" fmla="*/ 81621 h 2409279"/>
                  <a:gd name="connsiteX19" fmla="*/ 1658189 w 2037799"/>
                  <a:gd name="connsiteY19" fmla="*/ 328594 h 2409279"/>
                  <a:gd name="connsiteX20" fmla="*/ 1928572 w 2037799"/>
                  <a:gd name="connsiteY20" fmla="*/ 703903 h 2409279"/>
                  <a:gd name="connsiteX21" fmla="*/ 2037190 w 2037799"/>
                  <a:gd name="connsiteY21" fmla="*/ 1170009 h 2409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37799" h="2409279">
                    <a:moveTo>
                      <a:pt x="2037295" y="1169903"/>
                    </a:moveTo>
                    <a:cubicBezTo>
                      <a:pt x="2041935" y="1332513"/>
                      <a:pt x="2014517" y="1491115"/>
                      <a:pt x="1955674" y="1641387"/>
                    </a:cubicBezTo>
                    <a:cubicBezTo>
                      <a:pt x="1898835" y="1786491"/>
                      <a:pt x="1815210" y="1917781"/>
                      <a:pt x="1707225" y="2031566"/>
                    </a:cubicBezTo>
                    <a:cubicBezTo>
                      <a:pt x="1599241" y="2145350"/>
                      <a:pt x="1472274" y="2235830"/>
                      <a:pt x="1329912" y="2300578"/>
                    </a:cubicBezTo>
                    <a:cubicBezTo>
                      <a:pt x="1182593" y="2367647"/>
                      <a:pt x="1024940" y="2404028"/>
                      <a:pt x="861592" y="2408774"/>
                    </a:cubicBezTo>
                    <a:cubicBezTo>
                      <a:pt x="549871" y="2417737"/>
                      <a:pt x="249749" y="2307433"/>
                      <a:pt x="16802" y="2098213"/>
                    </a:cubicBezTo>
                    <a:cubicBezTo>
                      <a:pt x="12584" y="2094416"/>
                      <a:pt x="12268" y="2087984"/>
                      <a:pt x="15853" y="2083765"/>
                    </a:cubicBezTo>
                    <a:cubicBezTo>
                      <a:pt x="19544" y="2079547"/>
                      <a:pt x="25871" y="2079125"/>
                      <a:pt x="30089" y="2082816"/>
                    </a:cubicBezTo>
                    <a:cubicBezTo>
                      <a:pt x="259240" y="2288556"/>
                      <a:pt x="554405" y="2397068"/>
                      <a:pt x="861065" y="2388210"/>
                    </a:cubicBezTo>
                    <a:cubicBezTo>
                      <a:pt x="1179007" y="2379036"/>
                      <a:pt x="1474383" y="2247324"/>
                      <a:pt x="1692778" y="2017224"/>
                    </a:cubicBezTo>
                    <a:cubicBezTo>
                      <a:pt x="1911067" y="1787229"/>
                      <a:pt x="2026328" y="1486475"/>
                      <a:pt x="2017154" y="1170325"/>
                    </a:cubicBezTo>
                    <a:cubicBezTo>
                      <a:pt x="2008085" y="854175"/>
                      <a:pt x="1875740" y="560592"/>
                      <a:pt x="1644586" y="343463"/>
                    </a:cubicBezTo>
                    <a:cubicBezTo>
                      <a:pt x="1413431" y="126544"/>
                      <a:pt x="1110990" y="11916"/>
                      <a:pt x="793047" y="21091"/>
                    </a:cubicBezTo>
                    <a:cubicBezTo>
                      <a:pt x="495351" y="29632"/>
                      <a:pt x="226866" y="138672"/>
                      <a:pt x="16907" y="336292"/>
                    </a:cubicBezTo>
                    <a:cubicBezTo>
                      <a:pt x="12795" y="340194"/>
                      <a:pt x="6468" y="339877"/>
                      <a:pt x="2671" y="335765"/>
                    </a:cubicBezTo>
                    <a:cubicBezTo>
                      <a:pt x="-1125" y="331652"/>
                      <a:pt x="-809" y="325114"/>
                      <a:pt x="3199" y="321212"/>
                    </a:cubicBezTo>
                    <a:cubicBezTo>
                      <a:pt x="107809" y="222718"/>
                      <a:pt x="227815" y="145210"/>
                      <a:pt x="359632" y="90901"/>
                    </a:cubicBezTo>
                    <a:cubicBezTo>
                      <a:pt x="494718" y="35327"/>
                      <a:pt x="640350" y="4956"/>
                      <a:pt x="792414" y="527"/>
                    </a:cubicBezTo>
                    <a:cubicBezTo>
                      <a:pt x="955762" y="-4218"/>
                      <a:pt x="1115103" y="23094"/>
                      <a:pt x="1266112" y="81621"/>
                    </a:cubicBezTo>
                    <a:cubicBezTo>
                      <a:pt x="1411955" y="138144"/>
                      <a:pt x="1543877" y="221242"/>
                      <a:pt x="1658189" y="328594"/>
                    </a:cubicBezTo>
                    <a:cubicBezTo>
                      <a:pt x="1772501" y="435946"/>
                      <a:pt x="1863508" y="562279"/>
                      <a:pt x="1928572" y="703903"/>
                    </a:cubicBezTo>
                    <a:cubicBezTo>
                      <a:pt x="1995957" y="850590"/>
                      <a:pt x="2032550" y="1007399"/>
                      <a:pt x="2037190" y="1170009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E6BA9388-0EF4-B508-B165-F1D27DBE3A78}"/>
                  </a:ext>
                </a:extLst>
              </p:cNvPr>
              <p:cNvSpPr/>
              <p:nvPr/>
            </p:nvSpPr>
            <p:spPr>
              <a:xfrm>
                <a:off x="619234" y="4183209"/>
                <a:ext cx="271545" cy="1354226"/>
              </a:xfrm>
              <a:custGeom>
                <a:avLst/>
                <a:gdLst>
                  <a:gd name="connsiteX0" fmla="*/ 27103 w 271545"/>
                  <a:gd name="connsiteY0" fmla="*/ 745149 h 1354226"/>
                  <a:gd name="connsiteX1" fmla="*/ 18140 w 271545"/>
                  <a:gd name="connsiteY1" fmla="*/ 755588 h 1354226"/>
                  <a:gd name="connsiteX2" fmla="*/ 7067 w 271545"/>
                  <a:gd name="connsiteY2" fmla="*/ 746519 h 1354226"/>
                  <a:gd name="connsiteX3" fmla="*/ 213 w 271545"/>
                  <a:gd name="connsiteY3" fmla="*/ 647920 h 1354226"/>
                  <a:gd name="connsiteX4" fmla="*/ 2 w 271545"/>
                  <a:gd name="connsiteY4" fmla="*/ 636426 h 1354226"/>
                  <a:gd name="connsiteX5" fmla="*/ 9809 w 271545"/>
                  <a:gd name="connsiteY5" fmla="*/ 625986 h 1354226"/>
                  <a:gd name="connsiteX6" fmla="*/ 20038 w 271545"/>
                  <a:gd name="connsiteY6" fmla="*/ 636004 h 1354226"/>
                  <a:gd name="connsiteX7" fmla="*/ 20038 w 271545"/>
                  <a:gd name="connsiteY7" fmla="*/ 636004 h 1354226"/>
                  <a:gd name="connsiteX8" fmla="*/ 20354 w 271545"/>
                  <a:gd name="connsiteY8" fmla="*/ 647393 h 1354226"/>
                  <a:gd name="connsiteX9" fmla="*/ 27103 w 271545"/>
                  <a:gd name="connsiteY9" fmla="*/ 744305 h 1354226"/>
                  <a:gd name="connsiteX10" fmla="*/ 27103 w 271545"/>
                  <a:gd name="connsiteY10" fmla="*/ 745149 h 1354226"/>
                  <a:gd name="connsiteX11" fmla="*/ 35540 w 271545"/>
                  <a:gd name="connsiteY11" fmla="*/ 418031 h 1354226"/>
                  <a:gd name="connsiteX12" fmla="*/ 35434 w 271545"/>
                  <a:gd name="connsiteY12" fmla="*/ 420035 h 1354226"/>
                  <a:gd name="connsiteX13" fmla="*/ 22780 w 271545"/>
                  <a:gd name="connsiteY13" fmla="*/ 527703 h 1354226"/>
                  <a:gd name="connsiteX14" fmla="*/ 12024 w 271545"/>
                  <a:gd name="connsiteY14" fmla="*/ 537194 h 1354226"/>
                  <a:gd name="connsiteX15" fmla="*/ 2744 w 271545"/>
                  <a:gd name="connsiteY15" fmla="*/ 526227 h 1354226"/>
                  <a:gd name="connsiteX16" fmla="*/ 15609 w 271545"/>
                  <a:gd name="connsiteY16" fmla="*/ 416660 h 1354226"/>
                  <a:gd name="connsiteX17" fmla="*/ 27209 w 271545"/>
                  <a:gd name="connsiteY17" fmla="*/ 408224 h 1354226"/>
                  <a:gd name="connsiteX18" fmla="*/ 35645 w 271545"/>
                  <a:gd name="connsiteY18" fmla="*/ 418031 h 1354226"/>
                  <a:gd name="connsiteX19" fmla="*/ 71289 w 271545"/>
                  <a:gd name="connsiteY19" fmla="*/ 959009 h 1354226"/>
                  <a:gd name="connsiteX20" fmla="*/ 64223 w 271545"/>
                  <a:gd name="connsiteY20" fmla="*/ 969027 h 1354226"/>
                  <a:gd name="connsiteX21" fmla="*/ 51674 w 271545"/>
                  <a:gd name="connsiteY21" fmla="*/ 962278 h 1354226"/>
                  <a:gd name="connsiteX22" fmla="*/ 24467 w 271545"/>
                  <a:gd name="connsiteY22" fmla="*/ 855453 h 1354226"/>
                  <a:gd name="connsiteX23" fmla="*/ 32271 w 271545"/>
                  <a:gd name="connsiteY23" fmla="*/ 843326 h 1354226"/>
                  <a:gd name="connsiteX24" fmla="*/ 44187 w 271545"/>
                  <a:gd name="connsiteY24" fmla="*/ 851235 h 1354226"/>
                  <a:gd name="connsiteX25" fmla="*/ 70972 w 271545"/>
                  <a:gd name="connsiteY25" fmla="*/ 956161 h 1354226"/>
                  <a:gd name="connsiteX26" fmla="*/ 71394 w 271545"/>
                  <a:gd name="connsiteY26" fmla="*/ 958903 h 1354226"/>
                  <a:gd name="connsiteX27" fmla="*/ 90797 w 271545"/>
                  <a:gd name="connsiteY27" fmla="*/ 206807 h 1354226"/>
                  <a:gd name="connsiteX28" fmla="*/ 90165 w 271545"/>
                  <a:gd name="connsiteY28" fmla="*/ 210604 h 1354226"/>
                  <a:gd name="connsiteX29" fmla="*/ 58107 w 271545"/>
                  <a:gd name="connsiteY29" fmla="*/ 313948 h 1354226"/>
                  <a:gd name="connsiteX30" fmla="*/ 45769 w 271545"/>
                  <a:gd name="connsiteY30" fmla="*/ 321225 h 1354226"/>
                  <a:gd name="connsiteX31" fmla="*/ 38598 w 271545"/>
                  <a:gd name="connsiteY31" fmla="*/ 308676 h 1354226"/>
                  <a:gd name="connsiteX32" fmla="*/ 71289 w 271545"/>
                  <a:gd name="connsiteY32" fmla="*/ 203538 h 1354226"/>
                  <a:gd name="connsiteX33" fmla="*/ 84259 w 271545"/>
                  <a:gd name="connsiteY33" fmla="*/ 197527 h 1354226"/>
                  <a:gd name="connsiteX34" fmla="*/ 90797 w 271545"/>
                  <a:gd name="connsiteY34" fmla="*/ 206913 h 1354226"/>
                  <a:gd name="connsiteX35" fmla="*/ 153964 w 271545"/>
                  <a:gd name="connsiteY35" fmla="*/ 1160742 h 1354226"/>
                  <a:gd name="connsiteX36" fmla="*/ 148586 w 271545"/>
                  <a:gd name="connsiteY36" fmla="*/ 1170127 h 1354226"/>
                  <a:gd name="connsiteX37" fmla="*/ 134983 w 271545"/>
                  <a:gd name="connsiteY37" fmla="*/ 1165803 h 1354226"/>
                  <a:gd name="connsiteX38" fmla="*/ 88688 w 271545"/>
                  <a:gd name="connsiteY38" fmla="*/ 1066044 h 1354226"/>
                  <a:gd name="connsiteX39" fmla="*/ 94067 w 271545"/>
                  <a:gd name="connsiteY39" fmla="*/ 1052652 h 1354226"/>
                  <a:gd name="connsiteX40" fmla="*/ 107248 w 271545"/>
                  <a:gd name="connsiteY40" fmla="*/ 1058135 h 1354226"/>
                  <a:gd name="connsiteX41" fmla="*/ 152804 w 271545"/>
                  <a:gd name="connsiteY41" fmla="*/ 1156207 h 1354226"/>
                  <a:gd name="connsiteX42" fmla="*/ 153964 w 271545"/>
                  <a:gd name="connsiteY42" fmla="*/ 1160742 h 1354226"/>
                  <a:gd name="connsiteX43" fmla="*/ 183386 w 271545"/>
                  <a:gd name="connsiteY43" fmla="*/ 9925 h 1354226"/>
                  <a:gd name="connsiteX44" fmla="*/ 182015 w 271545"/>
                  <a:gd name="connsiteY44" fmla="*/ 15514 h 1354226"/>
                  <a:gd name="connsiteX45" fmla="*/ 131608 w 271545"/>
                  <a:gd name="connsiteY45" fmla="*/ 110950 h 1354226"/>
                  <a:gd name="connsiteX46" fmla="*/ 118215 w 271545"/>
                  <a:gd name="connsiteY46" fmla="*/ 115801 h 1354226"/>
                  <a:gd name="connsiteX47" fmla="*/ 113470 w 271545"/>
                  <a:gd name="connsiteY47" fmla="*/ 102092 h 1354226"/>
                  <a:gd name="connsiteX48" fmla="*/ 164721 w 271545"/>
                  <a:gd name="connsiteY48" fmla="*/ 4969 h 1354226"/>
                  <a:gd name="connsiteX49" fmla="*/ 178535 w 271545"/>
                  <a:gd name="connsiteY49" fmla="*/ 1489 h 1354226"/>
                  <a:gd name="connsiteX50" fmla="*/ 183386 w 271545"/>
                  <a:gd name="connsiteY50" fmla="*/ 10031 h 1354226"/>
                  <a:gd name="connsiteX51" fmla="*/ 271545 w 271545"/>
                  <a:gd name="connsiteY51" fmla="*/ 1343704 h 1354226"/>
                  <a:gd name="connsiteX52" fmla="*/ 267749 w 271545"/>
                  <a:gd name="connsiteY52" fmla="*/ 1352035 h 1354226"/>
                  <a:gd name="connsiteX53" fmla="*/ 253618 w 271545"/>
                  <a:gd name="connsiteY53" fmla="*/ 1350347 h 1354226"/>
                  <a:gd name="connsiteX54" fmla="*/ 190135 w 271545"/>
                  <a:gd name="connsiteY54" fmla="*/ 1260923 h 1354226"/>
                  <a:gd name="connsiteX55" fmla="*/ 192982 w 271545"/>
                  <a:gd name="connsiteY55" fmla="*/ 1246687 h 1354226"/>
                  <a:gd name="connsiteX56" fmla="*/ 206902 w 271545"/>
                  <a:gd name="connsiteY56" fmla="*/ 1249639 h 1354226"/>
                  <a:gd name="connsiteX57" fmla="*/ 269331 w 271545"/>
                  <a:gd name="connsiteY57" fmla="*/ 1337588 h 1354226"/>
                  <a:gd name="connsiteX58" fmla="*/ 271545 w 271545"/>
                  <a:gd name="connsiteY58" fmla="*/ 1343704 h 135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271545" h="1354226">
                    <a:moveTo>
                      <a:pt x="27103" y="745149"/>
                    </a:moveTo>
                    <a:cubicBezTo>
                      <a:pt x="27209" y="750421"/>
                      <a:pt x="23413" y="755061"/>
                      <a:pt x="18140" y="755588"/>
                    </a:cubicBezTo>
                    <a:cubicBezTo>
                      <a:pt x="12656" y="756221"/>
                      <a:pt x="7595" y="752214"/>
                      <a:pt x="7067" y="746519"/>
                    </a:cubicBezTo>
                    <a:cubicBezTo>
                      <a:pt x="3482" y="713934"/>
                      <a:pt x="1162" y="680716"/>
                      <a:pt x="213" y="647920"/>
                    </a:cubicBezTo>
                    <a:cubicBezTo>
                      <a:pt x="107" y="644124"/>
                      <a:pt x="2" y="640328"/>
                      <a:pt x="2" y="636426"/>
                    </a:cubicBezTo>
                    <a:cubicBezTo>
                      <a:pt x="-104" y="630731"/>
                      <a:pt x="4325" y="626091"/>
                      <a:pt x="9809" y="625986"/>
                    </a:cubicBezTo>
                    <a:cubicBezTo>
                      <a:pt x="15293" y="625880"/>
                      <a:pt x="19933" y="630310"/>
                      <a:pt x="20038" y="636004"/>
                    </a:cubicBezTo>
                    <a:lnTo>
                      <a:pt x="20038" y="636004"/>
                    </a:lnTo>
                    <a:cubicBezTo>
                      <a:pt x="20038" y="639906"/>
                      <a:pt x="20249" y="643597"/>
                      <a:pt x="20354" y="647393"/>
                    </a:cubicBezTo>
                    <a:cubicBezTo>
                      <a:pt x="21303" y="679662"/>
                      <a:pt x="23518" y="712352"/>
                      <a:pt x="27103" y="744305"/>
                    </a:cubicBezTo>
                    <a:cubicBezTo>
                      <a:pt x="27103" y="744621"/>
                      <a:pt x="27103" y="744938"/>
                      <a:pt x="27103" y="745149"/>
                    </a:cubicBezTo>
                    <a:moveTo>
                      <a:pt x="35540" y="418031"/>
                    </a:moveTo>
                    <a:cubicBezTo>
                      <a:pt x="35540" y="418664"/>
                      <a:pt x="35540" y="419402"/>
                      <a:pt x="35434" y="420035"/>
                    </a:cubicBezTo>
                    <a:cubicBezTo>
                      <a:pt x="29634" y="455467"/>
                      <a:pt x="25416" y="491638"/>
                      <a:pt x="22780" y="527703"/>
                    </a:cubicBezTo>
                    <a:cubicBezTo>
                      <a:pt x="22358" y="533398"/>
                      <a:pt x="17507" y="537616"/>
                      <a:pt x="12024" y="537194"/>
                    </a:cubicBezTo>
                    <a:cubicBezTo>
                      <a:pt x="6435" y="536772"/>
                      <a:pt x="2322" y="531816"/>
                      <a:pt x="2744" y="526227"/>
                    </a:cubicBezTo>
                    <a:cubicBezTo>
                      <a:pt x="5380" y="489634"/>
                      <a:pt x="9704" y="452831"/>
                      <a:pt x="15609" y="416660"/>
                    </a:cubicBezTo>
                    <a:cubicBezTo>
                      <a:pt x="16558" y="411071"/>
                      <a:pt x="21725" y="407275"/>
                      <a:pt x="27209" y="408224"/>
                    </a:cubicBezTo>
                    <a:cubicBezTo>
                      <a:pt x="32060" y="409068"/>
                      <a:pt x="35434" y="413286"/>
                      <a:pt x="35645" y="418031"/>
                    </a:cubicBezTo>
                    <a:moveTo>
                      <a:pt x="71289" y="959009"/>
                    </a:moveTo>
                    <a:cubicBezTo>
                      <a:pt x="71394" y="963543"/>
                      <a:pt x="68652" y="967656"/>
                      <a:pt x="64223" y="969027"/>
                    </a:cubicBezTo>
                    <a:cubicBezTo>
                      <a:pt x="58950" y="970714"/>
                      <a:pt x="53256" y="967656"/>
                      <a:pt x="51674" y="962278"/>
                    </a:cubicBezTo>
                    <a:cubicBezTo>
                      <a:pt x="41023" y="927267"/>
                      <a:pt x="31849" y="891307"/>
                      <a:pt x="24467" y="855453"/>
                    </a:cubicBezTo>
                    <a:cubicBezTo>
                      <a:pt x="23307" y="849970"/>
                      <a:pt x="26787" y="844486"/>
                      <a:pt x="32271" y="843326"/>
                    </a:cubicBezTo>
                    <a:cubicBezTo>
                      <a:pt x="37754" y="842166"/>
                      <a:pt x="43027" y="845751"/>
                      <a:pt x="44187" y="851235"/>
                    </a:cubicBezTo>
                    <a:cubicBezTo>
                      <a:pt x="51463" y="886457"/>
                      <a:pt x="60427" y="921783"/>
                      <a:pt x="70972" y="956161"/>
                    </a:cubicBezTo>
                    <a:cubicBezTo>
                      <a:pt x="71289" y="957111"/>
                      <a:pt x="71394" y="958060"/>
                      <a:pt x="71394" y="958903"/>
                    </a:cubicBezTo>
                    <a:moveTo>
                      <a:pt x="90797" y="206807"/>
                    </a:moveTo>
                    <a:cubicBezTo>
                      <a:pt x="90797" y="208073"/>
                      <a:pt x="90587" y="209338"/>
                      <a:pt x="90165" y="210604"/>
                    </a:cubicBezTo>
                    <a:cubicBezTo>
                      <a:pt x="77932" y="244349"/>
                      <a:pt x="67176" y="279149"/>
                      <a:pt x="58107" y="313948"/>
                    </a:cubicBezTo>
                    <a:cubicBezTo>
                      <a:pt x="56736" y="319432"/>
                      <a:pt x="51147" y="322701"/>
                      <a:pt x="45769" y="321225"/>
                    </a:cubicBezTo>
                    <a:cubicBezTo>
                      <a:pt x="40391" y="319748"/>
                      <a:pt x="37227" y="314159"/>
                      <a:pt x="38598" y="308676"/>
                    </a:cubicBezTo>
                    <a:cubicBezTo>
                      <a:pt x="47772" y="273243"/>
                      <a:pt x="58845" y="237916"/>
                      <a:pt x="71289" y="203538"/>
                    </a:cubicBezTo>
                    <a:cubicBezTo>
                      <a:pt x="73187" y="198266"/>
                      <a:pt x="78987" y="195524"/>
                      <a:pt x="84259" y="197527"/>
                    </a:cubicBezTo>
                    <a:cubicBezTo>
                      <a:pt x="88267" y="199004"/>
                      <a:pt x="90692" y="202800"/>
                      <a:pt x="90797" y="206913"/>
                    </a:cubicBezTo>
                    <a:moveTo>
                      <a:pt x="153964" y="1160742"/>
                    </a:moveTo>
                    <a:cubicBezTo>
                      <a:pt x="154070" y="1164538"/>
                      <a:pt x="152066" y="1168229"/>
                      <a:pt x="148586" y="1170127"/>
                    </a:cubicBezTo>
                    <a:cubicBezTo>
                      <a:pt x="143735" y="1172763"/>
                      <a:pt x="137619" y="1170865"/>
                      <a:pt x="134983" y="1165803"/>
                    </a:cubicBezTo>
                    <a:cubicBezTo>
                      <a:pt x="118110" y="1133429"/>
                      <a:pt x="102503" y="1099789"/>
                      <a:pt x="88688" y="1066044"/>
                    </a:cubicBezTo>
                    <a:cubicBezTo>
                      <a:pt x="86579" y="1060772"/>
                      <a:pt x="89005" y="1054761"/>
                      <a:pt x="94067" y="1052652"/>
                    </a:cubicBezTo>
                    <a:cubicBezTo>
                      <a:pt x="99128" y="1050543"/>
                      <a:pt x="105139" y="1052968"/>
                      <a:pt x="107248" y="1058135"/>
                    </a:cubicBezTo>
                    <a:cubicBezTo>
                      <a:pt x="120852" y="1091353"/>
                      <a:pt x="136143" y="1124360"/>
                      <a:pt x="152804" y="1156207"/>
                    </a:cubicBezTo>
                    <a:cubicBezTo>
                      <a:pt x="153542" y="1157684"/>
                      <a:pt x="153964" y="1159160"/>
                      <a:pt x="153964" y="1160742"/>
                    </a:cubicBezTo>
                    <a:moveTo>
                      <a:pt x="183386" y="9925"/>
                    </a:moveTo>
                    <a:cubicBezTo>
                      <a:pt x="183386" y="11823"/>
                      <a:pt x="182964" y="13722"/>
                      <a:pt x="182015" y="15514"/>
                    </a:cubicBezTo>
                    <a:cubicBezTo>
                      <a:pt x="163877" y="46412"/>
                      <a:pt x="146899" y="78576"/>
                      <a:pt x="131608" y="110950"/>
                    </a:cubicBezTo>
                    <a:cubicBezTo>
                      <a:pt x="129183" y="116012"/>
                      <a:pt x="123172" y="118226"/>
                      <a:pt x="118215" y="115801"/>
                    </a:cubicBezTo>
                    <a:cubicBezTo>
                      <a:pt x="113154" y="113375"/>
                      <a:pt x="111045" y="107259"/>
                      <a:pt x="113470" y="102092"/>
                    </a:cubicBezTo>
                    <a:cubicBezTo>
                      <a:pt x="128972" y="69085"/>
                      <a:pt x="146266" y="36394"/>
                      <a:pt x="164721" y="4969"/>
                    </a:cubicBezTo>
                    <a:cubicBezTo>
                      <a:pt x="167568" y="118"/>
                      <a:pt x="173790" y="-1464"/>
                      <a:pt x="178535" y="1489"/>
                    </a:cubicBezTo>
                    <a:cubicBezTo>
                      <a:pt x="181593" y="3387"/>
                      <a:pt x="183280" y="6656"/>
                      <a:pt x="183386" y="10031"/>
                    </a:cubicBezTo>
                    <a:moveTo>
                      <a:pt x="271545" y="1343704"/>
                    </a:moveTo>
                    <a:cubicBezTo>
                      <a:pt x="271545" y="1346868"/>
                      <a:pt x="270280" y="1349926"/>
                      <a:pt x="267749" y="1352035"/>
                    </a:cubicBezTo>
                    <a:cubicBezTo>
                      <a:pt x="263425" y="1355515"/>
                      <a:pt x="257098" y="1354777"/>
                      <a:pt x="253618" y="1350347"/>
                    </a:cubicBezTo>
                    <a:cubicBezTo>
                      <a:pt x="231156" y="1321664"/>
                      <a:pt x="209855" y="1291504"/>
                      <a:pt x="190135" y="1260923"/>
                    </a:cubicBezTo>
                    <a:cubicBezTo>
                      <a:pt x="187077" y="1256177"/>
                      <a:pt x="188342" y="1249850"/>
                      <a:pt x="192982" y="1246687"/>
                    </a:cubicBezTo>
                    <a:cubicBezTo>
                      <a:pt x="197622" y="1243523"/>
                      <a:pt x="203844" y="1244894"/>
                      <a:pt x="206902" y="1249639"/>
                    </a:cubicBezTo>
                    <a:cubicBezTo>
                      <a:pt x="226306" y="1279693"/>
                      <a:pt x="247291" y="1309326"/>
                      <a:pt x="269331" y="1337588"/>
                    </a:cubicBezTo>
                    <a:cubicBezTo>
                      <a:pt x="270702" y="1339380"/>
                      <a:pt x="271440" y="1341489"/>
                      <a:pt x="271545" y="1343704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2AB4A11-B04B-0470-B5EE-9A446DCC9EAD}"/>
              </a:ext>
            </a:extLst>
          </p:cNvPr>
          <p:cNvGrpSpPr/>
          <p:nvPr userDrawn="1"/>
        </p:nvGrpSpPr>
        <p:grpSpPr>
          <a:xfrm>
            <a:off x="4955737" y="2106293"/>
            <a:ext cx="2836808" cy="2919645"/>
            <a:chOff x="5783956" y="2628864"/>
            <a:chExt cx="2836808" cy="291964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4178894-069E-C26D-997A-A4DA989CE02C}"/>
                </a:ext>
              </a:extLst>
            </p:cNvPr>
            <p:cNvSpPr/>
            <p:nvPr/>
          </p:nvSpPr>
          <p:spPr>
            <a:xfrm flipH="1">
              <a:off x="5819625" y="2754958"/>
              <a:ext cx="2701163" cy="2667456"/>
            </a:xfrm>
            <a:custGeom>
              <a:avLst/>
              <a:gdLst>
                <a:gd name="connsiteX0" fmla="*/ 1115489 w 2230978"/>
                <a:gd name="connsiteY0" fmla="*/ 2203139 h 2203138"/>
                <a:gd name="connsiteX1" fmla="*/ 0 w 2230978"/>
                <a:gd name="connsiteY1" fmla="*/ 1101570 h 2203138"/>
                <a:gd name="connsiteX2" fmla="*/ 1115489 w 2230978"/>
                <a:gd name="connsiteY2" fmla="*/ 0 h 2203138"/>
                <a:gd name="connsiteX3" fmla="*/ 2230979 w 2230978"/>
                <a:gd name="connsiteY3" fmla="*/ 1101570 h 2203138"/>
                <a:gd name="connsiteX4" fmla="*/ 1115489 w 2230978"/>
                <a:gd name="connsiteY4" fmla="*/ 2203139 h 220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978" h="2203138">
                  <a:moveTo>
                    <a:pt x="1115489" y="2203139"/>
                  </a:moveTo>
                  <a:cubicBezTo>
                    <a:pt x="499429" y="2203139"/>
                    <a:pt x="0" y="1709932"/>
                    <a:pt x="0" y="1101570"/>
                  </a:cubicBezTo>
                  <a:cubicBezTo>
                    <a:pt x="0" y="493207"/>
                    <a:pt x="499429" y="0"/>
                    <a:pt x="1115489" y="0"/>
                  </a:cubicBezTo>
                  <a:cubicBezTo>
                    <a:pt x="1731550" y="0"/>
                    <a:pt x="2230979" y="493207"/>
                    <a:pt x="2230979" y="1101570"/>
                  </a:cubicBezTo>
                  <a:cubicBezTo>
                    <a:pt x="2230979" y="1709932"/>
                    <a:pt x="1731550" y="2203139"/>
                    <a:pt x="1115489" y="2203139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105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1" name="Graphic 106">
              <a:extLst>
                <a:ext uri="{FF2B5EF4-FFF2-40B4-BE49-F238E27FC236}">
                  <a16:creationId xmlns:a16="http://schemas.microsoft.com/office/drawing/2014/main" id="{F0442A1D-6857-12E1-E802-C47106DE1111}"/>
                </a:ext>
              </a:extLst>
            </p:cNvPr>
            <p:cNvGrpSpPr/>
            <p:nvPr/>
          </p:nvGrpSpPr>
          <p:grpSpPr>
            <a:xfrm>
              <a:off x="5783956" y="2628864"/>
              <a:ext cx="2836808" cy="2919645"/>
              <a:chOff x="3043846" y="3604687"/>
              <a:chExt cx="2343012" cy="2411430"/>
            </a:xfrm>
            <a:solidFill>
              <a:srgbClr val="0095DA"/>
            </a:solidFill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2CEDFDA-4EB0-6A7D-9036-BC765D70C9AF}"/>
                  </a:ext>
                </a:extLst>
              </p:cNvPr>
              <p:cNvSpPr/>
              <p:nvPr/>
            </p:nvSpPr>
            <p:spPr>
              <a:xfrm>
                <a:off x="3043846" y="3604687"/>
                <a:ext cx="2343012" cy="2411430"/>
              </a:xfrm>
              <a:custGeom>
                <a:avLst/>
                <a:gdLst>
                  <a:gd name="connsiteX0" fmla="*/ 2199325 w 2343012"/>
                  <a:gd name="connsiteY0" fmla="*/ 631894 h 2411430"/>
                  <a:gd name="connsiteX1" fmla="*/ 2337891 w 2343012"/>
                  <a:gd name="connsiteY1" fmla="*/ 1089984 h 2411430"/>
                  <a:gd name="connsiteX2" fmla="*/ 2290964 w 2343012"/>
                  <a:gd name="connsiteY2" fmla="*/ 1550185 h 2411430"/>
                  <a:gd name="connsiteX3" fmla="*/ 2074467 w 2343012"/>
                  <a:gd name="connsiteY3" fmla="*/ 1959872 h 2411430"/>
                  <a:gd name="connsiteX4" fmla="*/ 1704536 w 2343012"/>
                  <a:gd name="connsiteY4" fmla="*/ 2266637 h 2411430"/>
                  <a:gd name="connsiteX5" fmla="*/ 810183 w 2343012"/>
                  <a:gd name="connsiteY5" fmla="*/ 2368189 h 2411430"/>
                  <a:gd name="connsiteX6" fmla="*/ 802907 w 2343012"/>
                  <a:gd name="connsiteY6" fmla="*/ 2355640 h 2411430"/>
                  <a:gd name="connsiteX7" fmla="*/ 815244 w 2343012"/>
                  <a:gd name="connsiteY7" fmla="*/ 2348469 h 2411430"/>
                  <a:gd name="connsiteX8" fmla="*/ 1694834 w 2343012"/>
                  <a:gd name="connsiteY8" fmla="*/ 2248604 h 2411430"/>
                  <a:gd name="connsiteX9" fmla="*/ 2271666 w 2343012"/>
                  <a:gd name="connsiteY9" fmla="*/ 1543963 h 2411430"/>
                  <a:gd name="connsiteX10" fmla="*/ 2181608 w 2343012"/>
                  <a:gd name="connsiteY10" fmla="*/ 641490 h 2411430"/>
                  <a:gd name="connsiteX11" fmla="*/ 1477705 w 2343012"/>
                  <a:gd name="connsiteY11" fmla="*/ 69720 h 2411430"/>
                  <a:gd name="connsiteX12" fmla="*/ 571857 w 2343012"/>
                  <a:gd name="connsiteY12" fmla="*/ 163574 h 2411430"/>
                  <a:gd name="connsiteX13" fmla="*/ 19596 w 2343012"/>
                  <a:gd name="connsiteY13" fmla="*/ 793554 h 2411430"/>
                  <a:gd name="connsiteX14" fmla="*/ 6625 w 2343012"/>
                  <a:gd name="connsiteY14" fmla="*/ 799459 h 2411430"/>
                  <a:gd name="connsiteX15" fmla="*/ 615 w 2343012"/>
                  <a:gd name="connsiteY15" fmla="*/ 786278 h 2411430"/>
                  <a:gd name="connsiteX16" fmla="*/ 215846 w 2343012"/>
                  <a:gd name="connsiteY16" fmla="*/ 420564 h 2411430"/>
                  <a:gd name="connsiteX17" fmla="*/ 562050 w 2343012"/>
                  <a:gd name="connsiteY17" fmla="*/ 145646 h 2411430"/>
                  <a:gd name="connsiteX18" fmla="*/ 1021828 w 2343012"/>
                  <a:gd name="connsiteY18" fmla="*/ 5604 h 2411430"/>
                  <a:gd name="connsiteX19" fmla="*/ 1483083 w 2343012"/>
                  <a:gd name="connsiteY19" fmla="*/ 50316 h 2411430"/>
                  <a:gd name="connsiteX20" fmla="*/ 1893087 w 2343012"/>
                  <a:gd name="connsiteY20" fmla="*/ 264387 h 2411430"/>
                  <a:gd name="connsiteX21" fmla="*/ 2199219 w 2343012"/>
                  <a:gd name="connsiteY21" fmla="*/ 632210 h 24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343012" h="2411430">
                    <a:moveTo>
                      <a:pt x="2199325" y="631894"/>
                    </a:moveTo>
                    <a:cubicBezTo>
                      <a:pt x="2276411" y="775100"/>
                      <a:pt x="2323127" y="929168"/>
                      <a:pt x="2337891" y="1089984"/>
                    </a:cubicBezTo>
                    <a:cubicBezTo>
                      <a:pt x="2352232" y="1245212"/>
                      <a:pt x="2336414" y="1400018"/>
                      <a:pt x="2290964" y="1550185"/>
                    </a:cubicBezTo>
                    <a:cubicBezTo>
                      <a:pt x="2245513" y="1700245"/>
                      <a:pt x="2172645" y="1838179"/>
                      <a:pt x="2074467" y="1959872"/>
                    </a:cubicBezTo>
                    <a:cubicBezTo>
                      <a:pt x="1972810" y="2085889"/>
                      <a:pt x="1848375" y="2189129"/>
                      <a:pt x="1704536" y="2266637"/>
                    </a:cubicBezTo>
                    <a:cubicBezTo>
                      <a:pt x="1429934" y="2414483"/>
                      <a:pt x="1112308" y="2450548"/>
                      <a:pt x="810183" y="2368189"/>
                    </a:cubicBezTo>
                    <a:cubicBezTo>
                      <a:pt x="804805" y="2366713"/>
                      <a:pt x="801536" y="2361124"/>
                      <a:pt x="802907" y="2355640"/>
                    </a:cubicBezTo>
                    <a:cubicBezTo>
                      <a:pt x="804278" y="2350156"/>
                      <a:pt x="809761" y="2346993"/>
                      <a:pt x="815244" y="2348469"/>
                    </a:cubicBezTo>
                    <a:cubicBezTo>
                      <a:pt x="1112413" y="2429563"/>
                      <a:pt x="1424767" y="2394025"/>
                      <a:pt x="1694834" y="2248604"/>
                    </a:cubicBezTo>
                    <a:cubicBezTo>
                      <a:pt x="1974919" y="2097806"/>
                      <a:pt x="2179710" y="1847564"/>
                      <a:pt x="2271666" y="1543963"/>
                    </a:cubicBezTo>
                    <a:cubicBezTo>
                      <a:pt x="2363516" y="1240467"/>
                      <a:pt x="2331564" y="919993"/>
                      <a:pt x="2181608" y="641490"/>
                    </a:cubicBezTo>
                    <a:cubicBezTo>
                      <a:pt x="2031653" y="363092"/>
                      <a:pt x="1781622" y="159988"/>
                      <a:pt x="1477705" y="69720"/>
                    </a:cubicBezTo>
                    <a:cubicBezTo>
                      <a:pt x="1173682" y="-20549"/>
                      <a:pt x="851942" y="12669"/>
                      <a:pt x="571857" y="163574"/>
                    </a:cubicBezTo>
                    <a:cubicBezTo>
                      <a:pt x="309594" y="304776"/>
                      <a:pt x="118617" y="522643"/>
                      <a:pt x="19596" y="793554"/>
                    </a:cubicBezTo>
                    <a:cubicBezTo>
                      <a:pt x="17698" y="798827"/>
                      <a:pt x="11898" y="801463"/>
                      <a:pt x="6625" y="799459"/>
                    </a:cubicBezTo>
                    <a:cubicBezTo>
                      <a:pt x="1353" y="797456"/>
                      <a:pt x="-1284" y="791550"/>
                      <a:pt x="615" y="786278"/>
                    </a:cubicBezTo>
                    <a:cubicBezTo>
                      <a:pt x="49967" y="651297"/>
                      <a:pt x="122308" y="528233"/>
                      <a:pt x="215846" y="420564"/>
                    </a:cubicBezTo>
                    <a:cubicBezTo>
                      <a:pt x="311598" y="310260"/>
                      <a:pt x="428124" y="217777"/>
                      <a:pt x="562050" y="145646"/>
                    </a:cubicBezTo>
                    <a:cubicBezTo>
                      <a:pt x="705889" y="68138"/>
                      <a:pt x="860590" y="21000"/>
                      <a:pt x="1021828" y="5604"/>
                    </a:cubicBezTo>
                    <a:cubicBezTo>
                      <a:pt x="1177478" y="-9371"/>
                      <a:pt x="1332706" y="5709"/>
                      <a:pt x="1483083" y="50316"/>
                    </a:cubicBezTo>
                    <a:cubicBezTo>
                      <a:pt x="1633460" y="95029"/>
                      <a:pt x="1771393" y="167054"/>
                      <a:pt x="1893087" y="264387"/>
                    </a:cubicBezTo>
                    <a:cubicBezTo>
                      <a:pt x="2019104" y="365201"/>
                      <a:pt x="2122133" y="489004"/>
                      <a:pt x="2199219" y="632210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3" name="Graphic 106">
                <a:extLst>
                  <a:ext uri="{FF2B5EF4-FFF2-40B4-BE49-F238E27FC236}">
                    <a16:creationId xmlns:a16="http://schemas.microsoft.com/office/drawing/2014/main" id="{22E5CC3B-BEB7-B528-CD1A-1849FC75A475}"/>
                  </a:ext>
                </a:extLst>
              </p:cNvPr>
              <p:cNvGrpSpPr/>
              <p:nvPr/>
            </p:nvGrpSpPr>
            <p:grpSpPr>
              <a:xfrm>
                <a:off x="3110000" y="5344097"/>
                <a:ext cx="562406" cy="540023"/>
                <a:chOff x="3110000" y="5344097"/>
                <a:chExt cx="562406" cy="540023"/>
              </a:xfrm>
              <a:solidFill>
                <a:srgbClr val="0095DA"/>
              </a:solidFill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31006FD8-7CAD-0619-8B03-9B6E98AD6F2F}"/>
                    </a:ext>
                  </a:extLst>
                </p:cNvPr>
                <p:cNvSpPr/>
                <p:nvPr/>
              </p:nvSpPr>
              <p:spPr>
                <a:xfrm>
                  <a:off x="3110000" y="5344097"/>
                  <a:ext cx="75553" cy="114740"/>
                </a:xfrm>
                <a:custGeom>
                  <a:avLst/>
                  <a:gdLst>
                    <a:gd name="connsiteX0" fmla="*/ 74292 w 75553"/>
                    <a:gd name="connsiteY0" fmla="*/ 99718 h 114740"/>
                    <a:gd name="connsiteX1" fmla="*/ 71023 w 75553"/>
                    <a:gd name="connsiteY1" fmla="*/ 113111 h 114740"/>
                    <a:gd name="connsiteX2" fmla="*/ 56998 w 75553"/>
                    <a:gd name="connsiteY2" fmla="*/ 110053 h 114740"/>
                    <a:gd name="connsiteX3" fmla="*/ 6591 w 75553"/>
                    <a:gd name="connsiteY3" fmla="*/ 24952 h 114740"/>
                    <a:gd name="connsiteX4" fmla="*/ 1213 w 75553"/>
                    <a:gd name="connsiteY4" fmla="*/ 14828 h 114740"/>
                    <a:gd name="connsiteX5" fmla="*/ 5325 w 75553"/>
                    <a:gd name="connsiteY5" fmla="*/ 1119 h 114740"/>
                    <a:gd name="connsiteX6" fmla="*/ 18929 w 75553"/>
                    <a:gd name="connsiteY6" fmla="*/ 5443 h 114740"/>
                    <a:gd name="connsiteX7" fmla="*/ 18929 w 75553"/>
                    <a:gd name="connsiteY7" fmla="*/ 5443 h 114740"/>
                    <a:gd name="connsiteX8" fmla="*/ 24201 w 75553"/>
                    <a:gd name="connsiteY8" fmla="*/ 15461 h 114740"/>
                    <a:gd name="connsiteX9" fmla="*/ 73765 w 75553"/>
                    <a:gd name="connsiteY9" fmla="*/ 99086 h 114740"/>
                    <a:gd name="connsiteX10" fmla="*/ 74187 w 75553"/>
                    <a:gd name="connsiteY10" fmla="*/ 99824 h 114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5553" h="114740">
                      <a:moveTo>
                        <a:pt x="74292" y="99718"/>
                      </a:moveTo>
                      <a:cubicBezTo>
                        <a:pt x="76823" y="104358"/>
                        <a:pt x="75452" y="110158"/>
                        <a:pt x="71023" y="113111"/>
                      </a:cubicBezTo>
                      <a:cubicBezTo>
                        <a:pt x="66383" y="116169"/>
                        <a:pt x="60161" y="114798"/>
                        <a:pt x="56998" y="110053"/>
                      </a:cubicBezTo>
                      <a:cubicBezTo>
                        <a:pt x="39176" y="82529"/>
                        <a:pt x="22198" y="53951"/>
                        <a:pt x="6591" y="24952"/>
                      </a:cubicBezTo>
                      <a:cubicBezTo>
                        <a:pt x="4798" y="21577"/>
                        <a:pt x="3005" y="18203"/>
                        <a:pt x="1213" y="14828"/>
                      </a:cubicBezTo>
                      <a:cubicBezTo>
                        <a:pt x="-1424" y="9872"/>
                        <a:pt x="369" y="3650"/>
                        <a:pt x="5325" y="1119"/>
                      </a:cubicBezTo>
                      <a:cubicBezTo>
                        <a:pt x="10176" y="-1412"/>
                        <a:pt x="16292" y="486"/>
                        <a:pt x="18929" y="5443"/>
                      </a:cubicBezTo>
                      <a:lnTo>
                        <a:pt x="18929" y="5443"/>
                      </a:lnTo>
                      <a:cubicBezTo>
                        <a:pt x="20721" y="8817"/>
                        <a:pt x="22409" y="12192"/>
                        <a:pt x="24201" y="15461"/>
                      </a:cubicBezTo>
                      <a:cubicBezTo>
                        <a:pt x="39492" y="43933"/>
                        <a:pt x="56154" y="72089"/>
                        <a:pt x="73765" y="99086"/>
                      </a:cubicBezTo>
                      <a:cubicBezTo>
                        <a:pt x="73870" y="99296"/>
                        <a:pt x="74081" y="99613"/>
                        <a:pt x="74187" y="99824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BEAFD469-9687-6226-37B4-2E0C5F122FB2}"/>
                    </a:ext>
                  </a:extLst>
                </p:cNvPr>
                <p:cNvSpPr/>
                <p:nvPr/>
              </p:nvSpPr>
              <p:spPr>
                <a:xfrm>
                  <a:off x="3229188" y="5527049"/>
                  <a:ext cx="91834" cy="103054"/>
                </a:xfrm>
                <a:custGeom>
                  <a:avLst/>
                  <a:gdLst>
                    <a:gd name="connsiteX0" fmla="*/ 90612 w 91834"/>
                    <a:gd name="connsiteY0" fmla="*/ 88129 h 103054"/>
                    <a:gd name="connsiteX1" fmla="*/ 88819 w 91834"/>
                    <a:gd name="connsiteY1" fmla="*/ 100256 h 103054"/>
                    <a:gd name="connsiteX2" fmla="*/ 74583 w 91834"/>
                    <a:gd name="connsiteY2" fmla="*/ 99834 h 103054"/>
                    <a:gd name="connsiteX3" fmla="*/ 2241 w 91834"/>
                    <a:gd name="connsiteY3" fmla="*/ 16526 h 103054"/>
                    <a:gd name="connsiteX4" fmla="*/ 3718 w 91834"/>
                    <a:gd name="connsiteY4" fmla="*/ 2184 h 103054"/>
                    <a:gd name="connsiteX5" fmla="*/ 17954 w 91834"/>
                    <a:gd name="connsiteY5" fmla="*/ 3977 h 103054"/>
                    <a:gd name="connsiteX6" fmla="*/ 88924 w 91834"/>
                    <a:gd name="connsiteY6" fmla="*/ 85809 h 103054"/>
                    <a:gd name="connsiteX7" fmla="*/ 90612 w 91834"/>
                    <a:gd name="connsiteY7" fmla="*/ 88023 h 103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834" h="103054">
                      <a:moveTo>
                        <a:pt x="90612" y="88129"/>
                      </a:moveTo>
                      <a:cubicBezTo>
                        <a:pt x="92721" y="92030"/>
                        <a:pt x="92088" y="97092"/>
                        <a:pt x="88819" y="100256"/>
                      </a:cubicBezTo>
                      <a:cubicBezTo>
                        <a:pt x="84812" y="104158"/>
                        <a:pt x="78379" y="103947"/>
                        <a:pt x="74583" y="99834"/>
                      </a:cubicBezTo>
                      <a:cubicBezTo>
                        <a:pt x="49274" y="73365"/>
                        <a:pt x="25020" y="45314"/>
                        <a:pt x="2241" y="16526"/>
                      </a:cubicBezTo>
                      <a:cubicBezTo>
                        <a:pt x="-1238" y="12096"/>
                        <a:pt x="-606" y="5664"/>
                        <a:pt x="3718" y="2184"/>
                      </a:cubicBezTo>
                      <a:cubicBezTo>
                        <a:pt x="8041" y="-1296"/>
                        <a:pt x="14474" y="-558"/>
                        <a:pt x="17954" y="3977"/>
                      </a:cubicBezTo>
                      <a:cubicBezTo>
                        <a:pt x="40310" y="32238"/>
                        <a:pt x="64143" y="59761"/>
                        <a:pt x="88924" y="85809"/>
                      </a:cubicBezTo>
                      <a:cubicBezTo>
                        <a:pt x="89557" y="86547"/>
                        <a:pt x="90190" y="87285"/>
                        <a:pt x="90612" y="88023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1DC8AAF9-572B-E474-7023-ED153BDBB5CE}"/>
                    </a:ext>
                  </a:extLst>
                </p:cNvPr>
                <p:cNvSpPr/>
                <p:nvPr/>
              </p:nvSpPr>
              <p:spPr>
                <a:xfrm>
                  <a:off x="3379665" y="5685216"/>
                  <a:ext cx="105680" cy="88251"/>
                </a:xfrm>
                <a:custGeom>
                  <a:avLst/>
                  <a:gdLst>
                    <a:gd name="connsiteX0" fmla="*/ 104432 w 105680"/>
                    <a:gd name="connsiteY0" fmla="*/ 73273 h 88251"/>
                    <a:gd name="connsiteX1" fmla="*/ 103905 w 105680"/>
                    <a:gd name="connsiteY1" fmla="*/ 84029 h 88251"/>
                    <a:gd name="connsiteX2" fmla="*/ 89774 w 105680"/>
                    <a:gd name="connsiteY2" fmla="*/ 86349 h 88251"/>
                    <a:gd name="connsiteX3" fmla="*/ 3619 w 105680"/>
                    <a:gd name="connsiteY3" fmla="*/ 17910 h 88251"/>
                    <a:gd name="connsiteX4" fmla="*/ 2459 w 105680"/>
                    <a:gd name="connsiteY4" fmla="*/ 3463 h 88251"/>
                    <a:gd name="connsiteX5" fmla="*/ 16695 w 105680"/>
                    <a:gd name="connsiteY5" fmla="*/ 2514 h 88251"/>
                    <a:gd name="connsiteX6" fmla="*/ 101374 w 105680"/>
                    <a:gd name="connsiteY6" fmla="*/ 69688 h 88251"/>
                    <a:gd name="connsiteX7" fmla="*/ 104432 w 105680"/>
                    <a:gd name="connsiteY7" fmla="*/ 73168 h 88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5680" h="88251">
                      <a:moveTo>
                        <a:pt x="104432" y="73273"/>
                      </a:moveTo>
                      <a:cubicBezTo>
                        <a:pt x="106225" y="76648"/>
                        <a:pt x="106120" y="80760"/>
                        <a:pt x="103905" y="84029"/>
                      </a:cubicBezTo>
                      <a:cubicBezTo>
                        <a:pt x="100741" y="88564"/>
                        <a:pt x="94414" y="89618"/>
                        <a:pt x="89774" y="86349"/>
                      </a:cubicBezTo>
                      <a:cubicBezTo>
                        <a:pt x="60142" y="64942"/>
                        <a:pt x="31142" y="41953"/>
                        <a:pt x="3619" y="17910"/>
                      </a:cubicBezTo>
                      <a:cubicBezTo>
                        <a:pt x="-705" y="14219"/>
                        <a:pt x="-1232" y="7681"/>
                        <a:pt x="2459" y="3463"/>
                      </a:cubicBezTo>
                      <a:cubicBezTo>
                        <a:pt x="6149" y="-755"/>
                        <a:pt x="12477" y="-1177"/>
                        <a:pt x="16695" y="2514"/>
                      </a:cubicBezTo>
                      <a:cubicBezTo>
                        <a:pt x="43691" y="26135"/>
                        <a:pt x="72269" y="48702"/>
                        <a:pt x="101374" y="69688"/>
                      </a:cubicBezTo>
                      <a:cubicBezTo>
                        <a:pt x="102640" y="70637"/>
                        <a:pt x="103694" y="71797"/>
                        <a:pt x="104432" y="73168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A2695CBE-C1D9-EC22-0794-EB92CBBA104C}"/>
                    </a:ext>
                  </a:extLst>
                </p:cNvPr>
                <p:cNvSpPr/>
                <p:nvPr/>
              </p:nvSpPr>
              <p:spPr>
                <a:xfrm>
                  <a:off x="3556180" y="5812649"/>
                  <a:ext cx="116227" cy="71471"/>
                </a:xfrm>
                <a:custGeom>
                  <a:avLst/>
                  <a:gdLst>
                    <a:gd name="connsiteX0" fmla="*/ 114992 w 116227"/>
                    <a:gd name="connsiteY0" fmla="*/ 56461 h 71471"/>
                    <a:gd name="connsiteX1" fmla="*/ 115309 w 116227"/>
                    <a:gd name="connsiteY1" fmla="*/ 65635 h 71471"/>
                    <a:gd name="connsiteX2" fmla="*/ 101916 w 116227"/>
                    <a:gd name="connsiteY2" fmla="*/ 70486 h 71471"/>
                    <a:gd name="connsiteX3" fmla="*/ 5109 w 116227"/>
                    <a:gd name="connsiteY3" fmla="*/ 19025 h 71471"/>
                    <a:gd name="connsiteX4" fmla="*/ 1313 w 116227"/>
                    <a:gd name="connsiteY4" fmla="*/ 4999 h 71471"/>
                    <a:gd name="connsiteX5" fmla="*/ 15128 w 116227"/>
                    <a:gd name="connsiteY5" fmla="*/ 1414 h 71471"/>
                    <a:gd name="connsiteX6" fmla="*/ 110352 w 116227"/>
                    <a:gd name="connsiteY6" fmla="*/ 52032 h 71471"/>
                    <a:gd name="connsiteX7" fmla="*/ 114992 w 116227"/>
                    <a:gd name="connsiteY7" fmla="*/ 56461 h 7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6227" h="71471">
                      <a:moveTo>
                        <a:pt x="114992" y="56461"/>
                      </a:moveTo>
                      <a:cubicBezTo>
                        <a:pt x="116469" y="59203"/>
                        <a:pt x="116679" y="62577"/>
                        <a:pt x="115309" y="65635"/>
                      </a:cubicBezTo>
                      <a:cubicBezTo>
                        <a:pt x="112989" y="70697"/>
                        <a:pt x="106978" y="72912"/>
                        <a:pt x="101916" y="70486"/>
                      </a:cubicBezTo>
                      <a:cubicBezTo>
                        <a:pt x="69014" y="54879"/>
                        <a:pt x="36429" y="37585"/>
                        <a:pt x="5109" y="19025"/>
                      </a:cubicBezTo>
                      <a:cubicBezTo>
                        <a:pt x="259" y="16177"/>
                        <a:pt x="-1429" y="9850"/>
                        <a:pt x="1313" y="4999"/>
                      </a:cubicBezTo>
                      <a:cubicBezTo>
                        <a:pt x="4055" y="149"/>
                        <a:pt x="10277" y="-1433"/>
                        <a:pt x="15128" y="1414"/>
                      </a:cubicBezTo>
                      <a:cubicBezTo>
                        <a:pt x="45920" y="19657"/>
                        <a:pt x="77978" y="36635"/>
                        <a:pt x="110352" y="52032"/>
                      </a:cubicBezTo>
                      <a:cubicBezTo>
                        <a:pt x="112461" y="52981"/>
                        <a:pt x="114043" y="54563"/>
                        <a:pt x="114992" y="56461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70" name="Picture Placeholder 69">
            <a:extLst>
              <a:ext uri="{FF2B5EF4-FFF2-40B4-BE49-F238E27FC236}">
                <a16:creationId xmlns:a16="http://schemas.microsoft.com/office/drawing/2014/main" id="{AA1D1D18-2247-6B80-5E52-F738FA4E50D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07623" y="3870894"/>
            <a:ext cx="1903922" cy="1903922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E5BFF489-3F8E-5A34-04FE-4F4565C354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4180" y="2534099"/>
            <a:ext cx="2684967" cy="664506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Name 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157CF4DF-C8F8-A895-4692-67D5B72F88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93478" y="3256532"/>
            <a:ext cx="2684967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Picture Placeholder 69">
            <a:extLst>
              <a:ext uri="{FF2B5EF4-FFF2-40B4-BE49-F238E27FC236}">
                <a16:creationId xmlns:a16="http://schemas.microsoft.com/office/drawing/2014/main" id="{956C6D9E-60FF-ADAA-B8ED-C49537E42E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90026" y="3870894"/>
            <a:ext cx="1903922" cy="1903922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2468A519-8450-3D80-5D5D-3657B318CD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06900" y="3256532"/>
            <a:ext cx="2684967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3397A2E-98FD-0DB3-D78D-E40DEAF22F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862187"/>
            <a:ext cx="12191999" cy="580357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Text Placeholder 72">
            <a:extLst>
              <a:ext uri="{FF2B5EF4-FFF2-40B4-BE49-F238E27FC236}">
                <a16:creationId xmlns:a16="http://schemas.microsoft.com/office/drawing/2014/main" id="{DDC8310F-AED2-6D06-E438-23AA7FF56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6168" y="2533954"/>
            <a:ext cx="2684967" cy="587375"/>
          </a:xfrm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FB2B6ED-94D9-F3C2-9A9B-5B012B9108E3}"/>
              </a:ext>
            </a:extLst>
          </p:cNvPr>
          <p:cNvGrpSpPr/>
          <p:nvPr userDrawn="1"/>
        </p:nvGrpSpPr>
        <p:grpSpPr>
          <a:xfrm>
            <a:off x="7797539" y="2106293"/>
            <a:ext cx="2836808" cy="2919645"/>
            <a:chOff x="5783956" y="2628864"/>
            <a:chExt cx="2836808" cy="2919645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538AABE-4D1A-6AB6-6BE9-EA3F806438EF}"/>
                </a:ext>
              </a:extLst>
            </p:cNvPr>
            <p:cNvSpPr/>
            <p:nvPr/>
          </p:nvSpPr>
          <p:spPr>
            <a:xfrm flipH="1">
              <a:off x="5819625" y="2754958"/>
              <a:ext cx="2701163" cy="2667456"/>
            </a:xfrm>
            <a:custGeom>
              <a:avLst/>
              <a:gdLst>
                <a:gd name="connsiteX0" fmla="*/ 1115489 w 2230978"/>
                <a:gd name="connsiteY0" fmla="*/ 2203139 h 2203138"/>
                <a:gd name="connsiteX1" fmla="*/ 0 w 2230978"/>
                <a:gd name="connsiteY1" fmla="*/ 1101570 h 2203138"/>
                <a:gd name="connsiteX2" fmla="*/ 1115489 w 2230978"/>
                <a:gd name="connsiteY2" fmla="*/ 0 h 2203138"/>
                <a:gd name="connsiteX3" fmla="*/ 2230979 w 2230978"/>
                <a:gd name="connsiteY3" fmla="*/ 1101570 h 2203138"/>
                <a:gd name="connsiteX4" fmla="*/ 1115489 w 2230978"/>
                <a:gd name="connsiteY4" fmla="*/ 2203139 h 2203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0978" h="2203138">
                  <a:moveTo>
                    <a:pt x="1115489" y="2203139"/>
                  </a:moveTo>
                  <a:cubicBezTo>
                    <a:pt x="499429" y="2203139"/>
                    <a:pt x="0" y="1709932"/>
                    <a:pt x="0" y="1101570"/>
                  </a:cubicBezTo>
                  <a:cubicBezTo>
                    <a:pt x="0" y="493207"/>
                    <a:pt x="499429" y="0"/>
                    <a:pt x="1115489" y="0"/>
                  </a:cubicBezTo>
                  <a:cubicBezTo>
                    <a:pt x="1731550" y="0"/>
                    <a:pt x="2230979" y="493207"/>
                    <a:pt x="2230979" y="1101570"/>
                  </a:cubicBezTo>
                  <a:cubicBezTo>
                    <a:pt x="2230979" y="1709932"/>
                    <a:pt x="1731550" y="2203139"/>
                    <a:pt x="1115489" y="2203139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105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4" name="Graphic 106">
              <a:extLst>
                <a:ext uri="{FF2B5EF4-FFF2-40B4-BE49-F238E27FC236}">
                  <a16:creationId xmlns:a16="http://schemas.microsoft.com/office/drawing/2014/main" id="{F673F7C0-3C88-CFE4-E5D4-1EC9225B142F}"/>
                </a:ext>
              </a:extLst>
            </p:cNvPr>
            <p:cNvGrpSpPr/>
            <p:nvPr/>
          </p:nvGrpSpPr>
          <p:grpSpPr>
            <a:xfrm>
              <a:off x="5783956" y="2628864"/>
              <a:ext cx="2836808" cy="2919645"/>
              <a:chOff x="3043846" y="3604687"/>
              <a:chExt cx="2343012" cy="2411430"/>
            </a:xfrm>
            <a:solidFill>
              <a:srgbClr val="0095DA"/>
            </a:solidFill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64C588F-EE5D-AB04-F174-3F941CDD22B1}"/>
                  </a:ext>
                </a:extLst>
              </p:cNvPr>
              <p:cNvSpPr/>
              <p:nvPr/>
            </p:nvSpPr>
            <p:spPr>
              <a:xfrm>
                <a:off x="3043846" y="3604687"/>
                <a:ext cx="2343012" cy="2411430"/>
              </a:xfrm>
              <a:custGeom>
                <a:avLst/>
                <a:gdLst>
                  <a:gd name="connsiteX0" fmla="*/ 2199325 w 2343012"/>
                  <a:gd name="connsiteY0" fmla="*/ 631894 h 2411430"/>
                  <a:gd name="connsiteX1" fmla="*/ 2337891 w 2343012"/>
                  <a:gd name="connsiteY1" fmla="*/ 1089984 h 2411430"/>
                  <a:gd name="connsiteX2" fmla="*/ 2290964 w 2343012"/>
                  <a:gd name="connsiteY2" fmla="*/ 1550185 h 2411430"/>
                  <a:gd name="connsiteX3" fmla="*/ 2074467 w 2343012"/>
                  <a:gd name="connsiteY3" fmla="*/ 1959872 h 2411430"/>
                  <a:gd name="connsiteX4" fmla="*/ 1704536 w 2343012"/>
                  <a:gd name="connsiteY4" fmla="*/ 2266637 h 2411430"/>
                  <a:gd name="connsiteX5" fmla="*/ 810183 w 2343012"/>
                  <a:gd name="connsiteY5" fmla="*/ 2368189 h 2411430"/>
                  <a:gd name="connsiteX6" fmla="*/ 802907 w 2343012"/>
                  <a:gd name="connsiteY6" fmla="*/ 2355640 h 2411430"/>
                  <a:gd name="connsiteX7" fmla="*/ 815244 w 2343012"/>
                  <a:gd name="connsiteY7" fmla="*/ 2348469 h 2411430"/>
                  <a:gd name="connsiteX8" fmla="*/ 1694834 w 2343012"/>
                  <a:gd name="connsiteY8" fmla="*/ 2248604 h 2411430"/>
                  <a:gd name="connsiteX9" fmla="*/ 2271666 w 2343012"/>
                  <a:gd name="connsiteY9" fmla="*/ 1543963 h 2411430"/>
                  <a:gd name="connsiteX10" fmla="*/ 2181608 w 2343012"/>
                  <a:gd name="connsiteY10" fmla="*/ 641490 h 2411430"/>
                  <a:gd name="connsiteX11" fmla="*/ 1477705 w 2343012"/>
                  <a:gd name="connsiteY11" fmla="*/ 69720 h 2411430"/>
                  <a:gd name="connsiteX12" fmla="*/ 571857 w 2343012"/>
                  <a:gd name="connsiteY12" fmla="*/ 163574 h 2411430"/>
                  <a:gd name="connsiteX13" fmla="*/ 19596 w 2343012"/>
                  <a:gd name="connsiteY13" fmla="*/ 793554 h 2411430"/>
                  <a:gd name="connsiteX14" fmla="*/ 6625 w 2343012"/>
                  <a:gd name="connsiteY14" fmla="*/ 799459 h 2411430"/>
                  <a:gd name="connsiteX15" fmla="*/ 615 w 2343012"/>
                  <a:gd name="connsiteY15" fmla="*/ 786278 h 2411430"/>
                  <a:gd name="connsiteX16" fmla="*/ 215846 w 2343012"/>
                  <a:gd name="connsiteY16" fmla="*/ 420564 h 2411430"/>
                  <a:gd name="connsiteX17" fmla="*/ 562050 w 2343012"/>
                  <a:gd name="connsiteY17" fmla="*/ 145646 h 2411430"/>
                  <a:gd name="connsiteX18" fmla="*/ 1021828 w 2343012"/>
                  <a:gd name="connsiteY18" fmla="*/ 5604 h 2411430"/>
                  <a:gd name="connsiteX19" fmla="*/ 1483083 w 2343012"/>
                  <a:gd name="connsiteY19" fmla="*/ 50316 h 2411430"/>
                  <a:gd name="connsiteX20" fmla="*/ 1893087 w 2343012"/>
                  <a:gd name="connsiteY20" fmla="*/ 264387 h 2411430"/>
                  <a:gd name="connsiteX21" fmla="*/ 2199219 w 2343012"/>
                  <a:gd name="connsiteY21" fmla="*/ 632210 h 24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343012" h="2411430">
                    <a:moveTo>
                      <a:pt x="2199325" y="631894"/>
                    </a:moveTo>
                    <a:cubicBezTo>
                      <a:pt x="2276411" y="775100"/>
                      <a:pt x="2323127" y="929168"/>
                      <a:pt x="2337891" y="1089984"/>
                    </a:cubicBezTo>
                    <a:cubicBezTo>
                      <a:pt x="2352232" y="1245212"/>
                      <a:pt x="2336414" y="1400018"/>
                      <a:pt x="2290964" y="1550185"/>
                    </a:cubicBezTo>
                    <a:cubicBezTo>
                      <a:pt x="2245513" y="1700245"/>
                      <a:pt x="2172645" y="1838179"/>
                      <a:pt x="2074467" y="1959872"/>
                    </a:cubicBezTo>
                    <a:cubicBezTo>
                      <a:pt x="1972810" y="2085889"/>
                      <a:pt x="1848375" y="2189129"/>
                      <a:pt x="1704536" y="2266637"/>
                    </a:cubicBezTo>
                    <a:cubicBezTo>
                      <a:pt x="1429934" y="2414483"/>
                      <a:pt x="1112308" y="2450548"/>
                      <a:pt x="810183" y="2368189"/>
                    </a:cubicBezTo>
                    <a:cubicBezTo>
                      <a:pt x="804805" y="2366713"/>
                      <a:pt x="801536" y="2361124"/>
                      <a:pt x="802907" y="2355640"/>
                    </a:cubicBezTo>
                    <a:cubicBezTo>
                      <a:pt x="804278" y="2350156"/>
                      <a:pt x="809761" y="2346993"/>
                      <a:pt x="815244" y="2348469"/>
                    </a:cubicBezTo>
                    <a:cubicBezTo>
                      <a:pt x="1112413" y="2429563"/>
                      <a:pt x="1424767" y="2394025"/>
                      <a:pt x="1694834" y="2248604"/>
                    </a:cubicBezTo>
                    <a:cubicBezTo>
                      <a:pt x="1974919" y="2097806"/>
                      <a:pt x="2179710" y="1847564"/>
                      <a:pt x="2271666" y="1543963"/>
                    </a:cubicBezTo>
                    <a:cubicBezTo>
                      <a:pt x="2363516" y="1240467"/>
                      <a:pt x="2331564" y="919993"/>
                      <a:pt x="2181608" y="641490"/>
                    </a:cubicBezTo>
                    <a:cubicBezTo>
                      <a:pt x="2031653" y="363092"/>
                      <a:pt x="1781622" y="159988"/>
                      <a:pt x="1477705" y="69720"/>
                    </a:cubicBezTo>
                    <a:cubicBezTo>
                      <a:pt x="1173682" y="-20549"/>
                      <a:pt x="851942" y="12669"/>
                      <a:pt x="571857" y="163574"/>
                    </a:cubicBezTo>
                    <a:cubicBezTo>
                      <a:pt x="309594" y="304776"/>
                      <a:pt x="118617" y="522643"/>
                      <a:pt x="19596" y="793554"/>
                    </a:cubicBezTo>
                    <a:cubicBezTo>
                      <a:pt x="17698" y="798827"/>
                      <a:pt x="11898" y="801463"/>
                      <a:pt x="6625" y="799459"/>
                    </a:cubicBezTo>
                    <a:cubicBezTo>
                      <a:pt x="1353" y="797456"/>
                      <a:pt x="-1284" y="791550"/>
                      <a:pt x="615" y="786278"/>
                    </a:cubicBezTo>
                    <a:cubicBezTo>
                      <a:pt x="49967" y="651297"/>
                      <a:pt x="122308" y="528233"/>
                      <a:pt x="215846" y="420564"/>
                    </a:cubicBezTo>
                    <a:cubicBezTo>
                      <a:pt x="311598" y="310260"/>
                      <a:pt x="428124" y="217777"/>
                      <a:pt x="562050" y="145646"/>
                    </a:cubicBezTo>
                    <a:cubicBezTo>
                      <a:pt x="705889" y="68138"/>
                      <a:pt x="860590" y="21000"/>
                      <a:pt x="1021828" y="5604"/>
                    </a:cubicBezTo>
                    <a:cubicBezTo>
                      <a:pt x="1177478" y="-9371"/>
                      <a:pt x="1332706" y="5709"/>
                      <a:pt x="1483083" y="50316"/>
                    </a:cubicBezTo>
                    <a:cubicBezTo>
                      <a:pt x="1633460" y="95029"/>
                      <a:pt x="1771393" y="167054"/>
                      <a:pt x="1893087" y="264387"/>
                    </a:cubicBezTo>
                    <a:cubicBezTo>
                      <a:pt x="2019104" y="365201"/>
                      <a:pt x="2122133" y="489004"/>
                      <a:pt x="2199219" y="632210"/>
                    </a:cubicBezTo>
                  </a:path>
                </a:pathLst>
              </a:custGeom>
              <a:solidFill>
                <a:srgbClr val="0095DA"/>
              </a:solidFill>
              <a:ln w="105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49" name="Graphic 106">
                <a:extLst>
                  <a:ext uri="{FF2B5EF4-FFF2-40B4-BE49-F238E27FC236}">
                    <a16:creationId xmlns:a16="http://schemas.microsoft.com/office/drawing/2014/main" id="{EE3A28D2-516E-13CD-38D8-1ECAE61055F7}"/>
                  </a:ext>
                </a:extLst>
              </p:cNvPr>
              <p:cNvGrpSpPr/>
              <p:nvPr/>
            </p:nvGrpSpPr>
            <p:grpSpPr>
              <a:xfrm>
                <a:off x="3110000" y="5344097"/>
                <a:ext cx="562406" cy="540023"/>
                <a:chOff x="3110000" y="5344097"/>
                <a:chExt cx="562406" cy="540023"/>
              </a:xfrm>
              <a:solidFill>
                <a:srgbClr val="0095DA"/>
              </a:solidFill>
            </p:grpSpPr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493584C7-AABF-BF31-7A75-BE0BC819A712}"/>
                    </a:ext>
                  </a:extLst>
                </p:cNvPr>
                <p:cNvSpPr/>
                <p:nvPr/>
              </p:nvSpPr>
              <p:spPr>
                <a:xfrm>
                  <a:off x="3110000" y="5344097"/>
                  <a:ext cx="75553" cy="114740"/>
                </a:xfrm>
                <a:custGeom>
                  <a:avLst/>
                  <a:gdLst>
                    <a:gd name="connsiteX0" fmla="*/ 74292 w 75553"/>
                    <a:gd name="connsiteY0" fmla="*/ 99718 h 114740"/>
                    <a:gd name="connsiteX1" fmla="*/ 71023 w 75553"/>
                    <a:gd name="connsiteY1" fmla="*/ 113111 h 114740"/>
                    <a:gd name="connsiteX2" fmla="*/ 56998 w 75553"/>
                    <a:gd name="connsiteY2" fmla="*/ 110053 h 114740"/>
                    <a:gd name="connsiteX3" fmla="*/ 6591 w 75553"/>
                    <a:gd name="connsiteY3" fmla="*/ 24952 h 114740"/>
                    <a:gd name="connsiteX4" fmla="*/ 1213 w 75553"/>
                    <a:gd name="connsiteY4" fmla="*/ 14828 h 114740"/>
                    <a:gd name="connsiteX5" fmla="*/ 5325 w 75553"/>
                    <a:gd name="connsiteY5" fmla="*/ 1119 h 114740"/>
                    <a:gd name="connsiteX6" fmla="*/ 18929 w 75553"/>
                    <a:gd name="connsiteY6" fmla="*/ 5443 h 114740"/>
                    <a:gd name="connsiteX7" fmla="*/ 18929 w 75553"/>
                    <a:gd name="connsiteY7" fmla="*/ 5443 h 114740"/>
                    <a:gd name="connsiteX8" fmla="*/ 24201 w 75553"/>
                    <a:gd name="connsiteY8" fmla="*/ 15461 h 114740"/>
                    <a:gd name="connsiteX9" fmla="*/ 73765 w 75553"/>
                    <a:gd name="connsiteY9" fmla="*/ 99086 h 114740"/>
                    <a:gd name="connsiteX10" fmla="*/ 74187 w 75553"/>
                    <a:gd name="connsiteY10" fmla="*/ 99824 h 114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5553" h="114740">
                      <a:moveTo>
                        <a:pt x="74292" y="99718"/>
                      </a:moveTo>
                      <a:cubicBezTo>
                        <a:pt x="76823" y="104358"/>
                        <a:pt x="75452" y="110158"/>
                        <a:pt x="71023" y="113111"/>
                      </a:cubicBezTo>
                      <a:cubicBezTo>
                        <a:pt x="66383" y="116169"/>
                        <a:pt x="60161" y="114798"/>
                        <a:pt x="56998" y="110053"/>
                      </a:cubicBezTo>
                      <a:cubicBezTo>
                        <a:pt x="39176" y="82529"/>
                        <a:pt x="22198" y="53951"/>
                        <a:pt x="6591" y="24952"/>
                      </a:cubicBezTo>
                      <a:cubicBezTo>
                        <a:pt x="4798" y="21577"/>
                        <a:pt x="3005" y="18203"/>
                        <a:pt x="1213" y="14828"/>
                      </a:cubicBezTo>
                      <a:cubicBezTo>
                        <a:pt x="-1424" y="9872"/>
                        <a:pt x="369" y="3650"/>
                        <a:pt x="5325" y="1119"/>
                      </a:cubicBezTo>
                      <a:cubicBezTo>
                        <a:pt x="10176" y="-1412"/>
                        <a:pt x="16292" y="486"/>
                        <a:pt x="18929" y="5443"/>
                      </a:cubicBezTo>
                      <a:lnTo>
                        <a:pt x="18929" y="5443"/>
                      </a:lnTo>
                      <a:cubicBezTo>
                        <a:pt x="20721" y="8817"/>
                        <a:pt x="22409" y="12192"/>
                        <a:pt x="24201" y="15461"/>
                      </a:cubicBezTo>
                      <a:cubicBezTo>
                        <a:pt x="39492" y="43933"/>
                        <a:pt x="56154" y="72089"/>
                        <a:pt x="73765" y="99086"/>
                      </a:cubicBezTo>
                      <a:cubicBezTo>
                        <a:pt x="73870" y="99296"/>
                        <a:pt x="74081" y="99613"/>
                        <a:pt x="74187" y="99824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BBC2D014-94DD-6125-079A-DC70772B07F4}"/>
                    </a:ext>
                  </a:extLst>
                </p:cNvPr>
                <p:cNvSpPr/>
                <p:nvPr/>
              </p:nvSpPr>
              <p:spPr>
                <a:xfrm>
                  <a:off x="3229188" y="5527049"/>
                  <a:ext cx="91834" cy="103054"/>
                </a:xfrm>
                <a:custGeom>
                  <a:avLst/>
                  <a:gdLst>
                    <a:gd name="connsiteX0" fmla="*/ 90612 w 91834"/>
                    <a:gd name="connsiteY0" fmla="*/ 88129 h 103054"/>
                    <a:gd name="connsiteX1" fmla="*/ 88819 w 91834"/>
                    <a:gd name="connsiteY1" fmla="*/ 100256 h 103054"/>
                    <a:gd name="connsiteX2" fmla="*/ 74583 w 91834"/>
                    <a:gd name="connsiteY2" fmla="*/ 99834 h 103054"/>
                    <a:gd name="connsiteX3" fmla="*/ 2241 w 91834"/>
                    <a:gd name="connsiteY3" fmla="*/ 16526 h 103054"/>
                    <a:gd name="connsiteX4" fmla="*/ 3718 w 91834"/>
                    <a:gd name="connsiteY4" fmla="*/ 2184 h 103054"/>
                    <a:gd name="connsiteX5" fmla="*/ 17954 w 91834"/>
                    <a:gd name="connsiteY5" fmla="*/ 3977 h 103054"/>
                    <a:gd name="connsiteX6" fmla="*/ 88924 w 91834"/>
                    <a:gd name="connsiteY6" fmla="*/ 85809 h 103054"/>
                    <a:gd name="connsiteX7" fmla="*/ 90612 w 91834"/>
                    <a:gd name="connsiteY7" fmla="*/ 88023 h 103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834" h="103054">
                      <a:moveTo>
                        <a:pt x="90612" y="88129"/>
                      </a:moveTo>
                      <a:cubicBezTo>
                        <a:pt x="92721" y="92030"/>
                        <a:pt x="92088" y="97092"/>
                        <a:pt x="88819" y="100256"/>
                      </a:cubicBezTo>
                      <a:cubicBezTo>
                        <a:pt x="84812" y="104158"/>
                        <a:pt x="78379" y="103947"/>
                        <a:pt x="74583" y="99834"/>
                      </a:cubicBezTo>
                      <a:cubicBezTo>
                        <a:pt x="49274" y="73365"/>
                        <a:pt x="25020" y="45314"/>
                        <a:pt x="2241" y="16526"/>
                      </a:cubicBezTo>
                      <a:cubicBezTo>
                        <a:pt x="-1238" y="12096"/>
                        <a:pt x="-606" y="5664"/>
                        <a:pt x="3718" y="2184"/>
                      </a:cubicBezTo>
                      <a:cubicBezTo>
                        <a:pt x="8041" y="-1296"/>
                        <a:pt x="14474" y="-558"/>
                        <a:pt x="17954" y="3977"/>
                      </a:cubicBezTo>
                      <a:cubicBezTo>
                        <a:pt x="40310" y="32238"/>
                        <a:pt x="64143" y="59761"/>
                        <a:pt x="88924" y="85809"/>
                      </a:cubicBezTo>
                      <a:cubicBezTo>
                        <a:pt x="89557" y="86547"/>
                        <a:pt x="90190" y="87285"/>
                        <a:pt x="90612" y="88023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" name="Freeform: Shape 52">
                  <a:extLst>
                    <a:ext uri="{FF2B5EF4-FFF2-40B4-BE49-F238E27FC236}">
                      <a16:creationId xmlns:a16="http://schemas.microsoft.com/office/drawing/2014/main" id="{547DD055-05E7-C1BB-E248-F0B3967E509C}"/>
                    </a:ext>
                  </a:extLst>
                </p:cNvPr>
                <p:cNvSpPr/>
                <p:nvPr/>
              </p:nvSpPr>
              <p:spPr>
                <a:xfrm>
                  <a:off x="3379665" y="5685216"/>
                  <a:ext cx="105680" cy="88251"/>
                </a:xfrm>
                <a:custGeom>
                  <a:avLst/>
                  <a:gdLst>
                    <a:gd name="connsiteX0" fmla="*/ 104432 w 105680"/>
                    <a:gd name="connsiteY0" fmla="*/ 73273 h 88251"/>
                    <a:gd name="connsiteX1" fmla="*/ 103905 w 105680"/>
                    <a:gd name="connsiteY1" fmla="*/ 84029 h 88251"/>
                    <a:gd name="connsiteX2" fmla="*/ 89774 w 105680"/>
                    <a:gd name="connsiteY2" fmla="*/ 86349 h 88251"/>
                    <a:gd name="connsiteX3" fmla="*/ 3619 w 105680"/>
                    <a:gd name="connsiteY3" fmla="*/ 17910 h 88251"/>
                    <a:gd name="connsiteX4" fmla="*/ 2459 w 105680"/>
                    <a:gd name="connsiteY4" fmla="*/ 3463 h 88251"/>
                    <a:gd name="connsiteX5" fmla="*/ 16695 w 105680"/>
                    <a:gd name="connsiteY5" fmla="*/ 2514 h 88251"/>
                    <a:gd name="connsiteX6" fmla="*/ 101374 w 105680"/>
                    <a:gd name="connsiteY6" fmla="*/ 69688 h 88251"/>
                    <a:gd name="connsiteX7" fmla="*/ 104432 w 105680"/>
                    <a:gd name="connsiteY7" fmla="*/ 73168 h 88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5680" h="88251">
                      <a:moveTo>
                        <a:pt x="104432" y="73273"/>
                      </a:moveTo>
                      <a:cubicBezTo>
                        <a:pt x="106225" y="76648"/>
                        <a:pt x="106120" y="80760"/>
                        <a:pt x="103905" y="84029"/>
                      </a:cubicBezTo>
                      <a:cubicBezTo>
                        <a:pt x="100741" y="88564"/>
                        <a:pt x="94414" y="89618"/>
                        <a:pt x="89774" y="86349"/>
                      </a:cubicBezTo>
                      <a:cubicBezTo>
                        <a:pt x="60142" y="64942"/>
                        <a:pt x="31142" y="41953"/>
                        <a:pt x="3619" y="17910"/>
                      </a:cubicBezTo>
                      <a:cubicBezTo>
                        <a:pt x="-705" y="14219"/>
                        <a:pt x="-1232" y="7681"/>
                        <a:pt x="2459" y="3463"/>
                      </a:cubicBezTo>
                      <a:cubicBezTo>
                        <a:pt x="6149" y="-755"/>
                        <a:pt x="12477" y="-1177"/>
                        <a:pt x="16695" y="2514"/>
                      </a:cubicBezTo>
                      <a:cubicBezTo>
                        <a:pt x="43691" y="26135"/>
                        <a:pt x="72269" y="48702"/>
                        <a:pt x="101374" y="69688"/>
                      </a:cubicBezTo>
                      <a:cubicBezTo>
                        <a:pt x="102640" y="70637"/>
                        <a:pt x="103694" y="71797"/>
                        <a:pt x="104432" y="73168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4" name="Freeform: Shape 53">
                  <a:extLst>
                    <a:ext uri="{FF2B5EF4-FFF2-40B4-BE49-F238E27FC236}">
                      <a16:creationId xmlns:a16="http://schemas.microsoft.com/office/drawing/2014/main" id="{BA6F2C28-DC45-B4FB-6B25-25BF515B5D0B}"/>
                    </a:ext>
                  </a:extLst>
                </p:cNvPr>
                <p:cNvSpPr/>
                <p:nvPr/>
              </p:nvSpPr>
              <p:spPr>
                <a:xfrm>
                  <a:off x="3556180" y="5812649"/>
                  <a:ext cx="116227" cy="71471"/>
                </a:xfrm>
                <a:custGeom>
                  <a:avLst/>
                  <a:gdLst>
                    <a:gd name="connsiteX0" fmla="*/ 114992 w 116227"/>
                    <a:gd name="connsiteY0" fmla="*/ 56461 h 71471"/>
                    <a:gd name="connsiteX1" fmla="*/ 115309 w 116227"/>
                    <a:gd name="connsiteY1" fmla="*/ 65635 h 71471"/>
                    <a:gd name="connsiteX2" fmla="*/ 101916 w 116227"/>
                    <a:gd name="connsiteY2" fmla="*/ 70486 h 71471"/>
                    <a:gd name="connsiteX3" fmla="*/ 5109 w 116227"/>
                    <a:gd name="connsiteY3" fmla="*/ 19025 h 71471"/>
                    <a:gd name="connsiteX4" fmla="*/ 1313 w 116227"/>
                    <a:gd name="connsiteY4" fmla="*/ 4999 h 71471"/>
                    <a:gd name="connsiteX5" fmla="*/ 15128 w 116227"/>
                    <a:gd name="connsiteY5" fmla="*/ 1414 h 71471"/>
                    <a:gd name="connsiteX6" fmla="*/ 110352 w 116227"/>
                    <a:gd name="connsiteY6" fmla="*/ 52032 h 71471"/>
                    <a:gd name="connsiteX7" fmla="*/ 114992 w 116227"/>
                    <a:gd name="connsiteY7" fmla="*/ 56461 h 7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6227" h="71471">
                      <a:moveTo>
                        <a:pt x="114992" y="56461"/>
                      </a:moveTo>
                      <a:cubicBezTo>
                        <a:pt x="116469" y="59203"/>
                        <a:pt x="116679" y="62577"/>
                        <a:pt x="115309" y="65635"/>
                      </a:cubicBezTo>
                      <a:cubicBezTo>
                        <a:pt x="112989" y="70697"/>
                        <a:pt x="106978" y="72912"/>
                        <a:pt x="101916" y="70486"/>
                      </a:cubicBezTo>
                      <a:cubicBezTo>
                        <a:pt x="69014" y="54879"/>
                        <a:pt x="36429" y="37585"/>
                        <a:pt x="5109" y="19025"/>
                      </a:cubicBezTo>
                      <a:cubicBezTo>
                        <a:pt x="259" y="16177"/>
                        <a:pt x="-1429" y="9850"/>
                        <a:pt x="1313" y="4999"/>
                      </a:cubicBezTo>
                      <a:cubicBezTo>
                        <a:pt x="4055" y="149"/>
                        <a:pt x="10277" y="-1433"/>
                        <a:pt x="15128" y="1414"/>
                      </a:cubicBezTo>
                      <a:cubicBezTo>
                        <a:pt x="45920" y="19657"/>
                        <a:pt x="77978" y="36635"/>
                        <a:pt x="110352" y="52032"/>
                      </a:cubicBezTo>
                      <a:cubicBezTo>
                        <a:pt x="112461" y="52981"/>
                        <a:pt x="114043" y="54563"/>
                        <a:pt x="114992" y="56461"/>
                      </a:cubicBezTo>
                    </a:path>
                  </a:pathLst>
                </a:custGeom>
                <a:solidFill>
                  <a:srgbClr val="0095DA"/>
                </a:solidFill>
                <a:ln w="1054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55" name="Picture Placeholder 69">
            <a:extLst>
              <a:ext uri="{FF2B5EF4-FFF2-40B4-BE49-F238E27FC236}">
                <a16:creationId xmlns:a16="http://schemas.microsoft.com/office/drawing/2014/main" id="{66B5D582-8C91-ACBE-B78B-185FF6D21CC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31828" y="3870894"/>
            <a:ext cx="1903922" cy="1903922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84E0CE63-097F-BA4A-4FCF-BAE196C6609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8702" y="3256532"/>
            <a:ext cx="2684967" cy="47151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Text Placeholder 72">
            <a:extLst>
              <a:ext uri="{FF2B5EF4-FFF2-40B4-BE49-F238E27FC236}">
                <a16:creationId xmlns:a16="http://schemas.microsoft.com/office/drawing/2014/main" id="{5760AA3A-FB10-473B-14D1-A4FC62CE8D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47970" y="2533954"/>
            <a:ext cx="2684967" cy="587375"/>
          </a:xfrm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Surname</a:t>
            </a:r>
          </a:p>
        </p:txBody>
      </p:sp>
    </p:spTree>
    <p:extLst>
      <p:ext uri="{BB962C8B-B14F-4D97-AF65-F5344CB8AC3E}">
        <p14:creationId xmlns:p14="http://schemas.microsoft.com/office/powerpoint/2010/main" val="24238655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61F2931A-636F-F628-27E4-EA5B59D6D818}"/>
              </a:ext>
            </a:extLst>
          </p:cNvPr>
          <p:cNvSpPr/>
          <p:nvPr userDrawn="1"/>
        </p:nvSpPr>
        <p:spPr>
          <a:xfrm>
            <a:off x="0" y="2397642"/>
            <a:ext cx="12192000" cy="446795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3397A2E-98FD-0DB3-D78D-E40DEAF22F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862187"/>
            <a:ext cx="12191999" cy="580357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9B4E413F-AA70-3CED-3846-907471673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576442"/>
            <a:ext cx="12189292" cy="51340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CB77969A-EC28-7060-B62B-7FC32441B9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6593" y="2840822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410652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61F2931A-636F-F628-27E4-EA5B59D6D818}"/>
              </a:ext>
            </a:extLst>
          </p:cNvPr>
          <p:cNvSpPr/>
          <p:nvPr userDrawn="1"/>
        </p:nvSpPr>
        <p:spPr>
          <a:xfrm>
            <a:off x="0" y="2397642"/>
            <a:ext cx="12192000" cy="4467952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3397A2E-98FD-0DB3-D78D-E40DEAF22F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862187"/>
            <a:ext cx="12191999" cy="580357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0978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F5A4FEF4-B29E-DECB-A9F4-CBDDB95C7432}"/>
              </a:ext>
            </a:extLst>
          </p:cNvPr>
          <p:cNvGrpSpPr/>
          <p:nvPr/>
        </p:nvGrpSpPr>
        <p:grpSpPr>
          <a:xfrm>
            <a:off x="-1685124" y="1631151"/>
            <a:ext cx="4928087" cy="3595699"/>
            <a:chOff x="996318" y="2386212"/>
            <a:chExt cx="3208030" cy="234068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A3B046-424D-0F3A-E586-61D6A1EA9F32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8CC6EC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7ADA73-F4BE-83FF-A51D-F7840A2BB46D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283583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C5C27C-3EDA-77E0-32A4-1EC6B5B8A47D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chemeClr val="accent1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06" y="2560577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304" y="3694999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2765A0D-C658-3154-CE94-98E9766CC3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73644" y="2371904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517104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Media Placeholder 50">
            <a:extLst>
              <a:ext uri="{FF2B5EF4-FFF2-40B4-BE49-F238E27FC236}">
                <a16:creationId xmlns:a16="http://schemas.microsoft.com/office/drawing/2014/main" id="{E355B0C1-BB5B-092B-0557-1044CCA1514E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2241234" y="-7938"/>
            <a:ext cx="9950765" cy="5603784"/>
          </a:xfrm>
          <a:pattFill prst="pct5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C43AE08-AF52-CC70-D3F3-65FE62260859}"/>
              </a:ext>
            </a:extLst>
          </p:cNvPr>
          <p:cNvGrpSpPr/>
          <p:nvPr userDrawn="1"/>
        </p:nvGrpSpPr>
        <p:grpSpPr>
          <a:xfrm>
            <a:off x="541070" y="3229015"/>
            <a:ext cx="2879249" cy="2843373"/>
            <a:chOff x="17954497" y="192132"/>
            <a:chExt cx="2964441" cy="2927504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EB25B3F-FEFE-8CEA-A36B-28B55FFCAE73}"/>
                </a:ext>
              </a:extLst>
            </p:cNvPr>
            <p:cNvSpPr/>
            <p:nvPr/>
          </p:nvSpPr>
          <p:spPr>
            <a:xfrm>
              <a:off x="17954497" y="192132"/>
              <a:ext cx="2964441" cy="2927504"/>
            </a:xfrm>
            <a:custGeom>
              <a:avLst/>
              <a:gdLst>
                <a:gd name="connsiteX0" fmla="*/ 1482220 w 2964441"/>
                <a:gd name="connsiteY0" fmla="*/ 2927505 h 2927504"/>
                <a:gd name="connsiteX1" fmla="*/ 2964442 w 2964441"/>
                <a:gd name="connsiteY1" fmla="*/ 1463786 h 2927504"/>
                <a:gd name="connsiteX2" fmla="*/ 1482220 w 2964441"/>
                <a:gd name="connsiteY2" fmla="*/ 0 h 2927504"/>
                <a:gd name="connsiteX3" fmla="*/ 0 w 2964441"/>
                <a:gd name="connsiteY3" fmla="*/ 1463718 h 2927504"/>
                <a:gd name="connsiteX4" fmla="*/ 1482220 w 2964441"/>
                <a:gd name="connsiteY4" fmla="*/ 2927437 h 2927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4441" h="2927504">
                  <a:moveTo>
                    <a:pt x="1482220" y="2927505"/>
                  </a:moveTo>
                  <a:cubicBezTo>
                    <a:pt x="2300865" y="2927505"/>
                    <a:pt x="2964442" y="2272196"/>
                    <a:pt x="2964442" y="1463786"/>
                  </a:cubicBezTo>
                  <a:cubicBezTo>
                    <a:pt x="2964442" y="655376"/>
                    <a:pt x="2300797" y="0"/>
                    <a:pt x="1482220" y="0"/>
                  </a:cubicBezTo>
                  <a:cubicBezTo>
                    <a:pt x="663644" y="0"/>
                    <a:pt x="0" y="655308"/>
                    <a:pt x="0" y="1463718"/>
                  </a:cubicBezTo>
                  <a:cubicBezTo>
                    <a:pt x="0" y="2272129"/>
                    <a:pt x="663644" y="2927437"/>
                    <a:pt x="1482220" y="2927437"/>
                  </a:cubicBezTo>
                </a:path>
              </a:pathLst>
            </a:custGeom>
            <a:gradFill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chemeClr val="accent4"/>
                </a:gs>
              </a:gsLst>
              <a:lin ang="2700000" scaled="0"/>
            </a:gra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8" name="Graphic 4">
              <a:extLst>
                <a:ext uri="{FF2B5EF4-FFF2-40B4-BE49-F238E27FC236}">
                  <a16:creationId xmlns:a16="http://schemas.microsoft.com/office/drawing/2014/main" id="{84521A18-4C52-5E1C-2862-7ADAE78D339B}"/>
                </a:ext>
              </a:extLst>
            </p:cNvPr>
            <p:cNvGrpSpPr/>
            <p:nvPr/>
          </p:nvGrpSpPr>
          <p:grpSpPr>
            <a:xfrm>
              <a:off x="18107666" y="326799"/>
              <a:ext cx="2658102" cy="2658102"/>
              <a:chOff x="7150769" y="649379"/>
              <a:chExt cx="2658102" cy="2658102"/>
            </a:xfrm>
            <a:solidFill>
              <a:srgbClr val="FFFFFF">
                <a:alpha val="40000"/>
              </a:srgbClr>
            </a:solidFill>
          </p:grpSpPr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E7CF289-6CF0-17CE-103B-9AC737A1D23B}"/>
                  </a:ext>
                </a:extLst>
              </p:cNvPr>
              <p:cNvSpPr/>
              <p:nvPr/>
            </p:nvSpPr>
            <p:spPr>
              <a:xfrm>
                <a:off x="7150769" y="1046325"/>
                <a:ext cx="2658102" cy="2261156"/>
              </a:xfrm>
              <a:custGeom>
                <a:avLst/>
                <a:gdLst>
                  <a:gd name="connsiteX0" fmla="*/ 1329051 w 2658102"/>
                  <a:gd name="connsiteY0" fmla="*/ 2261156 h 2261156"/>
                  <a:gd name="connsiteX1" fmla="*/ 811596 w 2658102"/>
                  <a:gd name="connsiteY1" fmla="*/ 2156174 h 2261156"/>
                  <a:gd name="connsiteX2" fmla="*/ 389159 w 2658102"/>
                  <a:gd name="connsiteY2" fmla="*/ 1869828 h 2261156"/>
                  <a:gd name="connsiteX3" fmla="*/ 104440 w 2658102"/>
                  <a:gd name="connsiteY3" fmla="*/ 1445223 h 2261156"/>
                  <a:gd name="connsiteX4" fmla="*/ 0 w 2658102"/>
                  <a:gd name="connsiteY4" fmla="*/ 925395 h 2261156"/>
                  <a:gd name="connsiteX5" fmla="*/ 369301 w 2658102"/>
                  <a:gd name="connsiteY5" fmla="*/ 3531 h 2261156"/>
                  <a:gd name="connsiteX6" fmla="*/ 385296 w 2658102"/>
                  <a:gd name="connsiteY6" fmla="*/ 2989 h 2261156"/>
                  <a:gd name="connsiteX7" fmla="*/ 385838 w 2658102"/>
                  <a:gd name="connsiteY7" fmla="*/ 18713 h 2261156"/>
                  <a:gd name="connsiteX8" fmla="*/ 22636 w 2658102"/>
                  <a:gd name="connsiteY8" fmla="*/ 925395 h 2261156"/>
                  <a:gd name="connsiteX9" fmla="*/ 405357 w 2658102"/>
                  <a:gd name="connsiteY9" fmla="*/ 1854308 h 2261156"/>
                  <a:gd name="connsiteX10" fmla="*/ 1329051 w 2658102"/>
                  <a:gd name="connsiteY10" fmla="*/ 2238926 h 2261156"/>
                  <a:gd name="connsiteX11" fmla="*/ 2252745 w 2658102"/>
                  <a:gd name="connsiteY11" fmla="*/ 1854308 h 2261156"/>
                  <a:gd name="connsiteX12" fmla="*/ 2635466 w 2658102"/>
                  <a:gd name="connsiteY12" fmla="*/ 925395 h 2261156"/>
                  <a:gd name="connsiteX13" fmla="*/ 2312454 w 2658102"/>
                  <a:gd name="connsiteY13" fmla="*/ 59445 h 2261156"/>
                  <a:gd name="connsiteX14" fmla="*/ 2313539 w 2658102"/>
                  <a:gd name="connsiteY14" fmla="*/ 43789 h 2261156"/>
                  <a:gd name="connsiteX15" fmla="*/ 2329533 w 2658102"/>
                  <a:gd name="connsiteY15" fmla="*/ 44874 h 2261156"/>
                  <a:gd name="connsiteX16" fmla="*/ 2572165 w 2658102"/>
                  <a:gd name="connsiteY16" fmla="*/ 445216 h 2261156"/>
                  <a:gd name="connsiteX17" fmla="*/ 2658102 w 2658102"/>
                  <a:gd name="connsiteY17" fmla="*/ 925395 h 2261156"/>
                  <a:gd name="connsiteX18" fmla="*/ 2553663 w 2658102"/>
                  <a:gd name="connsiteY18" fmla="*/ 1445223 h 2261156"/>
                  <a:gd name="connsiteX19" fmla="*/ 2268943 w 2658102"/>
                  <a:gd name="connsiteY19" fmla="*/ 1869828 h 2261156"/>
                  <a:gd name="connsiteX20" fmla="*/ 1846507 w 2658102"/>
                  <a:gd name="connsiteY20" fmla="*/ 2156174 h 2261156"/>
                  <a:gd name="connsiteX21" fmla="*/ 1329051 w 2658102"/>
                  <a:gd name="connsiteY21" fmla="*/ 2261156 h 2261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658102" h="2261156">
                    <a:moveTo>
                      <a:pt x="1329051" y="2261156"/>
                    </a:moveTo>
                    <a:cubicBezTo>
                      <a:pt x="1149585" y="2261156"/>
                      <a:pt x="975541" y="2225846"/>
                      <a:pt x="811596" y="2156174"/>
                    </a:cubicBezTo>
                    <a:cubicBezTo>
                      <a:pt x="653343" y="2088874"/>
                      <a:pt x="511220" y="1992567"/>
                      <a:pt x="389159" y="1869828"/>
                    </a:cubicBezTo>
                    <a:cubicBezTo>
                      <a:pt x="267166" y="1747157"/>
                      <a:pt x="171333" y="1604289"/>
                      <a:pt x="104440" y="1445223"/>
                    </a:cubicBezTo>
                    <a:cubicBezTo>
                      <a:pt x="35175" y="1280600"/>
                      <a:pt x="0" y="1105675"/>
                      <a:pt x="0" y="925395"/>
                    </a:cubicBezTo>
                    <a:cubicBezTo>
                      <a:pt x="0" y="581306"/>
                      <a:pt x="131143" y="253889"/>
                      <a:pt x="369301" y="3531"/>
                    </a:cubicBezTo>
                    <a:cubicBezTo>
                      <a:pt x="373571" y="-942"/>
                      <a:pt x="380687" y="-1213"/>
                      <a:pt x="385296" y="2989"/>
                    </a:cubicBezTo>
                    <a:cubicBezTo>
                      <a:pt x="389837" y="7191"/>
                      <a:pt x="390108" y="14240"/>
                      <a:pt x="385838" y="18713"/>
                    </a:cubicBezTo>
                    <a:cubicBezTo>
                      <a:pt x="151611" y="264936"/>
                      <a:pt x="22636" y="586931"/>
                      <a:pt x="22636" y="925395"/>
                    </a:cubicBezTo>
                    <a:cubicBezTo>
                      <a:pt x="22636" y="1263860"/>
                      <a:pt x="158592" y="1606187"/>
                      <a:pt x="405357" y="1854308"/>
                    </a:cubicBezTo>
                    <a:cubicBezTo>
                      <a:pt x="652123" y="2102294"/>
                      <a:pt x="980150" y="2238926"/>
                      <a:pt x="1329051" y="2238926"/>
                    </a:cubicBezTo>
                    <a:cubicBezTo>
                      <a:pt x="1677952" y="2238926"/>
                      <a:pt x="2005979" y="2102294"/>
                      <a:pt x="2252745" y="1854308"/>
                    </a:cubicBezTo>
                    <a:cubicBezTo>
                      <a:pt x="2499511" y="1606187"/>
                      <a:pt x="2635466" y="1276262"/>
                      <a:pt x="2635466" y="925395"/>
                    </a:cubicBezTo>
                    <a:cubicBezTo>
                      <a:pt x="2635466" y="596759"/>
                      <a:pt x="2523774" y="297332"/>
                      <a:pt x="2312454" y="59445"/>
                    </a:cubicBezTo>
                    <a:cubicBezTo>
                      <a:pt x="2308320" y="54836"/>
                      <a:pt x="2308795" y="47788"/>
                      <a:pt x="2313539" y="43789"/>
                    </a:cubicBezTo>
                    <a:cubicBezTo>
                      <a:pt x="2318215" y="39723"/>
                      <a:pt x="2325399" y="40265"/>
                      <a:pt x="2329533" y="44874"/>
                    </a:cubicBezTo>
                    <a:cubicBezTo>
                      <a:pt x="2434854" y="163411"/>
                      <a:pt x="2516522" y="298078"/>
                      <a:pt x="2572165" y="445216"/>
                    </a:cubicBezTo>
                    <a:cubicBezTo>
                      <a:pt x="2629230" y="595945"/>
                      <a:pt x="2658102" y="757451"/>
                      <a:pt x="2658102" y="925395"/>
                    </a:cubicBezTo>
                    <a:cubicBezTo>
                      <a:pt x="2658102" y="1105675"/>
                      <a:pt x="2622996" y="1280600"/>
                      <a:pt x="2553663" y="1445223"/>
                    </a:cubicBezTo>
                    <a:cubicBezTo>
                      <a:pt x="2486770" y="1604289"/>
                      <a:pt x="2390937" y="1747157"/>
                      <a:pt x="2268943" y="1869828"/>
                    </a:cubicBezTo>
                    <a:cubicBezTo>
                      <a:pt x="2146882" y="1992499"/>
                      <a:pt x="2004760" y="2088807"/>
                      <a:pt x="1846507" y="2156174"/>
                    </a:cubicBezTo>
                    <a:cubicBezTo>
                      <a:pt x="1682629" y="2225846"/>
                      <a:pt x="1508517" y="2261156"/>
                      <a:pt x="1329051" y="2261156"/>
                    </a:cubicBezTo>
                  </a:path>
                </a:pathLst>
              </a:custGeom>
              <a:grpFill/>
              <a:ln w="6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C269667-BD20-E2F4-4C70-1E75F7299DF5}"/>
                  </a:ext>
                </a:extLst>
              </p:cNvPr>
              <p:cNvSpPr/>
              <p:nvPr/>
            </p:nvSpPr>
            <p:spPr>
              <a:xfrm>
                <a:off x="7705019" y="649379"/>
                <a:ext cx="1496258" cy="277128"/>
              </a:xfrm>
              <a:custGeom>
                <a:avLst/>
                <a:gdLst>
                  <a:gd name="connsiteX0" fmla="*/ 679172 w 1496258"/>
                  <a:gd name="connsiteY0" fmla="*/ 26635 h 277128"/>
                  <a:gd name="connsiteX1" fmla="*/ 667922 w 1496258"/>
                  <a:gd name="connsiteY1" fmla="*/ 16469 h 277128"/>
                  <a:gd name="connsiteX2" fmla="*/ 678223 w 1496258"/>
                  <a:gd name="connsiteY2" fmla="*/ 4473 h 277128"/>
                  <a:gd name="connsiteX3" fmla="*/ 787205 w 1496258"/>
                  <a:gd name="connsiteY3" fmla="*/ 0 h 277128"/>
                  <a:gd name="connsiteX4" fmla="*/ 799878 w 1496258"/>
                  <a:gd name="connsiteY4" fmla="*/ 68 h 277128"/>
                  <a:gd name="connsiteX5" fmla="*/ 811060 w 1496258"/>
                  <a:gd name="connsiteY5" fmla="*/ 11251 h 277128"/>
                  <a:gd name="connsiteX6" fmla="*/ 799743 w 1496258"/>
                  <a:gd name="connsiteY6" fmla="*/ 22230 h 277128"/>
                  <a:gd name="connsiteX7" fmla="*/ 799675 w 1496258"/>
                  <a:gd name="connsiteY7" fmla="*/ 22230 h 277128"/>
                  <a:gd name="connsiteX8" fmla="*/ 787205 w 1496258"/>
                  <a:gd name="connsiteY8" fmla="*/ 22230 h 277128"/>
                  <a:gd name="connsiteX9" fmla="*/ 680121 w 1496258"/>
                  <a:gd name="connsiteY9" fmla="*/ 26635 h 277128"/>
                  <a:gd name="connsiteX10" fmla="*/ 679172 w 1496258"/>
                  <a:gd name="connsiteY10" fmla="*/ 26635 h 277128"/>
                  <a:gd name="connsiteX11" fmla="*/ 1039596 w 1496258"/>
                  <a:gd name="connsiteY11" fmla="*/ 46358 h 277128"/>
                  <a:gd name="connsiteX12" fmla="*/ 1037358 w 1496258"/>
                  <a:gd name="connsiteY12" fmla="*/ 46154 h 277128"/>
                  <a:gd name="connsiteX13" fmla="*/ 919093 w 1496258"/>
                  <a:gd name="connsiteY13" fmla="*/ 28804 h 277128"/>
                  <a:gd name="connsiteX14" fmla="*/ 908995 w 1496258"/>
                  <a:gd name="connsiteY14" fmla="*/ 16605 h 277128"/>
                  <a:gd name="connsiteX15" fmla="*/ 921397 w 1496258"/>
                  <a:gd name="connsiteY15" fmla="*/ 6710 h 277128"/>
                  <a:gd name="connsiteX16" fmla="*/ 1041764 w 1496258"/>
                  <a:gd name="connsiteY16" fmla="*/ 24331 h 277128"/>
                  <a:gd name="connsiteX17" fmla="*/ 1050710 w 1496258"/>
                  <a:gd name="connsiteY17" fmla="*/ 37411 h 277128"/>
                  <a:gd name="connsiteX18" fmla="*/ 1039596 w 1496258"/>
                  <a:gd name="connsiteY18" fmla="*/ 46358 h 277128"/>
                  <a:gd name="connsiteX19" fmla="*/ 441827 w 1496258"/>
                  <a:gd name="connsiteY19" fmla="*/ 68520 h 277128"/>
                  <a:gd name="connsiteX20" fmla="*/ 430915 w 1496258"/>
                  <a:gd name="connsiteY20" fmla="*/ 60387 h 277128"/>
                  <a:gd name="connsiteX21" fmla="*/ 438778 w 1496258"/>
                  <a:gd name="connsiteY21" fmla="*/ 46696 h 277128"/>
                  <a:gd name="connsiteX22" fmla="*/ 557450 w 1496258"/>
                  <a:gd name="connsiteY22" fmla="*/ 20061 h 277128"/>
                  <a:gd name="connsiteX23" fmla="*/ 570598 w 1496258"/>
                  <a:gd name="connsiteY23" fmla="*/ 29007 h 277128"/>
                  <a:gd name="connsiteX24" fmla="*/ 561449 w 1496258"/>
                  <a:gd name="connsiteY24" fmla="*/ 41884 h 277128"/>
                  <a:gd name="connsiteX25" fmla="*/ 444877 w 1496258"/>
                  <a:gd name="connsiteY25" fmla="*/ 68045 h 277128"/>
                  <a:gd name="connsiteX26" fmla="*/ 441827 w 1496258"/>
                  <a:gd name="connsiteY26" fmla="*/ 68452 h 277128"/>
                  <a:gd name="connsiteX27" fmla="*/ 1270637 w 1496258"/>
                  <a:gd name="connsiteY27" fmla="*/ 113657 h 277128"/>
                  <a:gd name="connsiteX28" fmla="*/ 1266435 w 1496258"/>
                  <a:gd name="connsiteY28" fmla="*/ 112844 h 277128"/>
                  <a:gd name="connsiteX29" fmla="*/ 1153456 w 1496258"/>
                  <a:gd name="connsiteY29" fmla="*/ 74213 h 277128"/>
                  <a:gd name="connsiteX30" fmla="*/ 1145865 w 1496258"/>
                  <a:gd name="connsiteY30" fmla="*/ 60387 h 277128"/>
                  <a:gd name="connsiteX31" fmla="*/ 1159895 w 1496258"/>
                  <a:gd name="connsiteY31" fmla="*/ 52932 h 277128"/>
                  <a:gd name="connsiteX32" fmla="*/ 1274839 w 1496258"/>
                  <a:gd name="connsiteY32" fmla="*/ 92308 h 277128"/>
                  <a:gd name="connsiteX33" fmla="*/ 1281142 w 1496258"/>
                  <a:gd name="connsiteY33" fmla="*/ 106744 h 277128"/>
                  <a:gd name="connsiteX34" fmla="*/ 1270637 w 1496258"/>
                  <a:gd name="connsiteY34" fmla="*/ 113725 h 277128"/>
                  <a:gd name="connsiteX35" fmla="*/ 216749 w 1496258"/>
                  <a:gd name="connsiteY35" fmla="*/ 153170 h 277128"/>
                  <a:gd name="connsiteX36" fmla="*/ 206583 w 1496258"/>
                  <a:gd name="connsiteY36" fmla="*/ 147002 h 277128"/>
                  <a:gd name="connsiteX37" fmla="*/ 211734 w 1496258"/>
                  <a:gd name="connsiteY37" fmla="*/ 132160 h 277128"/>
                  <a:gd name="connsiteX38" fmla="*/ 323222 w 1496258"/>
                  <a:gd name="connsiteY38" fmla="*/ 84243 h 277128"/>
                  <a:gd name="connsiteX39" fmla="*/ 337862 w 1496258"/>
                  <a:gd name="connsiteY39" fmla="*/ 90614 h 277128"/>
                  <a:gd name="connsiteX40" fmla="*/ 331355 w 1496258"/>
                  <a:gd name="connsiteY40" fmla="*/ 104914 h 277128"/>
                  <a:gd name="connsiteX41" fmla="*/ 221765 w 1496258"/>
                  <a:gd name="connsiteY41" fmla="*/ 152017 h 277128"/>
                  <a:gd name="connsiteX42" fmla="*/ 216749 w 1496258"/>
                  <a:gd name="connsiteY42" fmla="*/ 153170 h 277128"/>
                  <a:gd name="connsiteX43" fmla="*/ 1484939 w 1496258"/>
                  <a:gd name="connsiteY43" fmla="*/ 222096 h 277128"/>
                  <a:gd name="connsiteX44" fmla="*/ 1478839 w 1496258"/>
                  <a:gd name="connsiteY44" fmla="*/ 220334 h 277128"/>
                  <a:gd name="connsiteX45" fmla="*/ 1375146 w 1496258"/>
                  <a:gd name="connsiteY45" fmla="*/ 161777 h 277128"/>
                  <a:gd name="connsiteX46" fmla="*/ 1370265 w 1496258"/>
                  <a:gd name="connsiteY46" fmla="*/ 146799 h 277128"/>
                  <a:gd name="connsiteX47" fmla="*/ 1385514 w 1496258"/>
                  <a:gd name="connsiteY47" fmla="*/ 142055 h 277128"/>
                  <a:gd name="connsiteX48" fmla="*/ 1491039 w 1496258"/>
                  <a:gd name="connsiteY48" fmla="*/ 201628 h 277128"/>
                  <a:gd name="connsiteX49" fmla="*/ 1494496 w 1496258"/>
                  <a:gd name="connsiteY49" fmla="*/ 216945 h 277128"/>
                  <a:gd name="connsiteX50" fmla="*/ 1484939 w 1496258"/>
                  <a:gd name="connsiteY50" fmla="*/ 222096 h 277128"/>
                  <a:gd name="connsiteX51" fmla="*/ 11326 w 1496258"/>
                  <a:gd name="connsiteY51" fmla="*/ 277061 h 277128"/>
                  <a:gd name="connsiteX52" fmla="*/ 2244 w 1496258"/>
                  <a:gd name="connsiteY52" fmla="*/ 272588 h 277128"/>
                  <a:gd name="connsiteX53" fmla="*/ 4548 w 1496258"/>
                  <a:gd name="connsiteY53" fmla="*/ 257067 h 277128"/>
                  <a:gd name="connsiteX54" fmla="*/ 105193 w 1496258"/>
                  <a:gd name="connsiteY54" fmla="*/ 189903 h 277128"/>
                  <a:gd name="connsiteX55" fmla="*/ 120781 w 1496258"/>
                  <a:gd name="connsiteY55" fmla="*/ 193563 h 277128"/>
                  <a:gd name="connsiteX56" fmla="*/ 117053 w 1496258"/>
                  <a:gd name="connsiteY56" fmla="*/ 208880 h 277128"/>
                  <a:gd name="connsiteX57" fmla="*/ 18103 w 1496258"/>
                  <a:gd name="connsiteY57" fmla="*/ 274892 h 277128"/>
                  <a:gd name="connsiteX58" fmla="*/ 11326 w 1496258"/>
                  <a:gd name="connsiteY58" fmla="*/ 277129 h 277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496258" h="277128">
                    <a:moveTo>
                      <a:pt x="679172" y="26635"/>
                    </a:moveTo>
                    <a:cubicBezTo>
                      <a:pt x="673344" y="26635"/>
                      <a:pt x="668396" y="22230"/>
                      <a:pt x="667922" y="16469"/>
                    </a:cubicBezTo>
                    <a:cubicBezTo>
                      <a:pt x="667380" y="10369"/>
                      <a:pt x="671988" y="5015"/>
                      <a:pt x="678223" y="4473"/>
                    </a:cubicBezTo>
                    <a:cubicBezTo>
                      <a:pt x="714279" y="1491"/>
                      <a:pt x="750945" y="0"/>
                      <a:pt x="787205" y="0"/>
                    </a:cubicBezTo>
                    <a:cubicBezTo>
                      <a:pt x="791407" y="0"/>
                      <a:pt x="795609" y="0"/>
                      <a:pt x="799878" y="68"/>
                    </a:cubicBezTo>
                    <a:cubicBezTo>
                      <a:pt x="806113" y="68"/>
                      <a:pt x="811128" y="5151"/>
                      <a:pt x="811060" y="11251"/>
                    </a:cubicBezTo>
                    <a:cubicBezTo>
                      <a:pt x="811060" y="17350"/>
                      <a:pt x="805910" y="22230"/>
                      <a:pt x="799743" y="22230"/>
                    </a:cubicBezTo>
                    <a:lnTo>
                      <a:pt x="799675" y="22230"/>
                    </a:lnTo>
                    <a:cubicBezTo>
                      <a:pt x="795541" y="22230"/>
                      <a:pt x="791339" y="22230"/>
                      <a:pt x="787205" y="22230"/>
                    </a:cubicBezTo>
                    <a:cubicBezTo>
                      <a:pt x="751555" y="22230"/>
                      <a:pt x="715499" y="23721"/>
                      <a:pt x="680121" y="26635"/>
                    </a:cubicBezTo>
                    <a:cubicBezTo>
                      <a:pt x="679782" y="26635"/>
                      <a:pt x="679443" y="26635"/>
                      <a:pt x="679172" y="26635"/>
                    </a:cubicBezTo>
                    <a:moveTo>
                      <a:pt x="1039596" y="46358"/>
                    </a:moveTo>
                    <a:cubicBezTo>
                      <a:pt x="1038849" y="46358"/>
                      <a:pt x="1038104" y="46290"/>
                      <a:pt x="1037358" y="46154"/>
                    </a:cubicBezTo>
                    <a:cubicBezTo>
                      <a:pt x="998456" y="38631"/>
                      <a:pt x="958673" y="32803"/>
                      <a:pt x="919093" y="28804"/>
                    </a:cubicBezTo>
                    <a:cubicBezTo>
                      <a:pt x="912857" y="28194"/>
                      <a:pt x="908317" y="22704"/>
                      <a:pt x="908995" y="16605"/>
                    </a:cubicBezTo>
                    <a:cubicBezTo>
                      <a:pt x="909604" y="10505"/>
                      <a:pt x="915161" y="6100"/>
                      <a:pt x="921397" y="6710"/>
                    </a:cubicBezTo>
                    <a:cubicBezTo>
                      <a:pt x="961655" y="10776"/>
                      <a:pt x="1002184" y="16672"/>
                      <a:pt x="1041764" y="24331"/>
                    </a:cubicBezTo>
                    <a:cubicBezTo>
                      <a:pt x="1047864" y="25551"/>
                      <a:pt x="1051862" y="31379"/>
                      <a:pt x="1050710" y="37411"/>
                    </a:cubicBezTo>
                    <a:cubicBezTo>
                      <a:pt x="1049626" y="42698"/>
                      <a:pt x="1044881" y="46358"/>
                      <a:pt x="1039596" y="46358"/>
                    </a:cubicBezTo>
                    <a:moveTo>
                      <a:pt x="441827" y="68520"/>
                    </a:moveTo>
                    <a:cubicBezTo>
                      <a:pt x="436880" y="68520"/>
                      <a:pt x="432339" y="65334"/>
                      <a:pt x="430915" y="60387"/>
                    </a:cubicBezTo>
                    <a:cubicBezTo>
                      <a:pt x="429221" y="54490"/>
                      <a:pt x="432746" y="48391"/>
                      <a:pt x="438778" y="46696"/>
                    </a:cubicBezTo>
                    <a:cubicBezTo>
                      <a:pt x="477748" y="35988"/>
                      <a:pt x="517666" y="27042"/>
                      <a:pt x="557450" y="20061"/>
                    </a:cubicBezTo>
                    <a:cubicBezTo>
                      <a:pt x="563550" y="18977"/>
                      <a:pt x="569446" y="22975"/>
                      <a:pt x="570598" y="29007"/>
                    </a:cubicBezTo>
                    <a:cubicBezTo>
                      <a:pt x="571683" y="35039"/>
                      <a:pt x="567616" y="40800"/>
                      <a:pt x="561449" y="41884"/>
                    </a:cubicBezTo>
                    <a:cubicBezTo>
                      <a:pt x="522343" y="48797"/>
                      <a:pt x="483102" y="57608"/>
                      <a:pt x="444877" y="68045"/>
                    </a:cubicBezTo>
                    <a:cubicBezTo>
                      <a:pt x="443861" y="68316"/>
                      <a:pt x="442844" y="68452"/>
                      <a:pt x="441827" y="68452"/>
                    </a:cubicBezTo>
                    <a:moveTo>
                      <a:pt x="1270637" y="113657"/>
                    </a:moveTo>
                    <a:cubicBezTo>
                      <a:pt x="1269214" y="113657"/>
                      <a:pt x="1267791" y="113386"/>
                      <a:pt x="1266435" y="112844"/>
                    </a:cubicBezTo>
                    <a:cubicBezTo>
                      <a:pt x="1229566" y="98273"/>
                      <a:pt x="1191545" y="85260"/>
                      <a:pt x="1153456" y="74213"/>
                    </a:cubicBezTo>
                    <a:cubicBezTo>
                      <a:pt x="1147492" y="72451"/>
                      <a:pt x="1144035" y="66283"/>
                      <a:pt x="1145865" y="60387"/>
                    </a:cubicBezTo>
                    <a:cubicBezTo>
                      <a:pt x="1147627" y="54490"/>
                      <a:pt x="1153931" y="51169"/>
                      <a:pt x="1159895" y="52932"/>
                    </a:cubicBezTo>
                    <a:cubicBezTo>
                      <a:pt x="1198661" y="64250"/>
                      <a:pt x="1237292" y="77466"/>
                      <a:pt x="1274839" y="92308"/>
                    </a:cubicBezTo>
                    <a:cubicBezTo>
                      <a:pt x="1280600" y="94613"/>
                      <a:pt x="1283447" y="101051"/>
                      <a:pt x="1281142" y="106744"/>
                    </a:cubicBezTo>
                    <a:cubicBezTo>
                      <a:pt x="1279381" y="111082"/>
                      <a:pt x="1275111" y="113725"/>
                      <a:pt x="1270637" y="113725"/>
                    </a:cubicBezTo>
                    <a:moveTo>
                      <a:pt x="216749" y="153170"/>
                    </a:moveTo>
                    <a:cubicBezTo>
                      <a:pt x="212615" y="153170"/>
                      <a:pt x="208548" y="150865"/>
                      <a:pt x="206583" y="147002"/>
                    </a:cubicBezTo>
                    <a:cubicBezTo>
                      <a:pt x="203804" y="141512"/>
                      <a:pt x="206109" y="134871"/>
                      <a:pt x="211734" y="132160"/>
                    </a:cubicBezTo>
                    <a:cubicBezTo>
                      <a:pt x="247993" y="114538"/>
                      <a:pt x="285540" y="98408"/>
                      <a:pt x="323222" y="84243"/>
                    </a:cubicBezTo>
                    <a:cubicBezTo>
                      <a:pt x="329051" y="82007"/>
                      <a:pt x="335625" y="84921"/>
                      <a:pt x="337862" y="90614"/>
                    </a:cubicBezTo>
                    <a:cubicBezTo>
                      <a:pt x="340098" y="96307"/>
                      <a:pt x="337184" y="102746"/>
                      <a:pt x="331355" y="104914"/>
                    </a:cubicBezTo>
                    <a:cubicBezTo>
                      <a:pt x="294283" y="118876"/>
                      <a:pt x="257414" y="134667"/>
                      <a:pt x="221765" y="152017"/>
                    </a:cubicBezTo>
                    <a:cubicBezTo>
                      <a:pt x="220138" y="152763"/>
                      <a:pt x="218444" y="153170"/>
                      <a:pt x="216749" y="153170"/>
                    </a:cubicBezTo>
                    <a:moveTo>
                      <a:pt x="1484939" y="222096"/>
                    </a:moveTo>
                    <a:cubicBezTo>
                      <a:pt x="1482838" y="222096"/>
                      <a:pt x="1480737" y="221554"/>
                      <a:pt x="1478839" y="220334"/>
                    </a:cubicBezTo>
                    <a:cubicBezTo>
                      <a:pt x="1445292" y="199324"/>
                      <a:pt x="1410456" y="179601"/>
                      <a:pt x="1375146" y="161777"/>
                    </a:cubicBezTo>
                    <a:cubicBezTo>
                      <a:pt x="1369588" y="158998"/>
                      <a:pt x="1367419" y="152289"/>
                      <a:pt x="1370265" y="146799"/>
                    </a:cubicBezTo>
                    <a:cubicBezTo>
                      <a:pt x="1373112" y="141309"/>
                      <a:pt x="1379957" y="139208"/>
                      <a:pt x="1385514" y="142055"/>
                    </a:cubicBezTo>
                    <a:cubicBezTo>
                      <a:pt x="1421435" y="160218"/>
                      <a:pt x="1456881" y="180279"/>
                      <a:pt x="1491039" y="201628"/>
                    </a:cubicBezTo>
                    <a:cubicBezTo>
                      <a:pt x="1496325" y="204949"/>
                      <a:pt x="1497817" y="211794"/>
                      <a:pt x="1494496" y="216945"/>
                    </a:cubicBezTo>
                    <a:cubicBezTo>
                      <a:pt x="1492326" y="220266"/>
                      <a:pt x="1488667" y="222096"/>
                      <a:pt x="1484939" y="222096"/>
                    </a:cubicBezTo>
                    <a:moveTo>
                      <a:pt x="11326" y="277061"/>
                    </a:moveTo>
                    <a:cubicBezTo>
                      <a:pt x="7869" y="277061"/>
                      <a:pt x="4481" y="275502"/>
                      <a:pt x="2244" y="272588"/>
                    </a:cubicBezTo>
                    <a:cubicBezTo>
                      <a:pt x="-1484" y="267708"/>
                      <a:pt x="-467" y="260727"/>
                      <a:pt x="4548" y="257067"/>
                    </a:cubicBezTo>
                    <a:cubicBezTo>
                      <a:pt x="36944" y="233279"/>
                      <a:pt x="70831" y="210642"/>
                      <a:pt x="105193" y="189903"/>
                    </a:cubicBezTo>
                    <a:cubicBezTo>
                      <a:pt x="110479" y="186718"/>
                      <a:pt x="117460" y="188344"/>
                      <a:pt x="120781" y="193563"/>
                    </a:cubicBezTo>
                    <a:cubicBezTo>
                      <a:pt x="124034" y="198782"/>
                      <a:pt x="122407" y="205627"/>
                      <a:pt x="117053" y="208880"/>
                    </a:cubicBezTo>
                    <a:cubicBezTo>
                      <a:pt x="83234" y="229280"/>
                      <a:pt x="49957" y="251510"/>
                      <a:pt x="18103" y="274892"/>
                    </a:cubicBezTo>
                    <a:cubicBezTo>
                      <a:pt x="16070" y="276383"/>
                      <a:pt x="13698" y="277129"/>
                      <a:pt x="11326" y="277129"/>
                    </a:cubicBezTo>
                  </a:path>
                </a:pathLst>
              </a:custGeom>
              <a:grpFill/>
              <a:ln w="67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58DE60D-1986-F1B9-C20C-4D7B4F5628FD}"/>
              </a:ext>
            </a:extLst>
          </p:cNvPr>
          <p:cNvGrpSpPr/>
          <p:nvPr userDrawn="1"/>
        </p:nvGrpSpPr>
        <p:grpSpPr>
          <a:xfrm>
            <a:off x="697924" y="2455766"/>
            <a:ext cx="1209555" cy="1209555"/>
            <a:chOff x="697924" y="2455766"/>
            <a:chExt cx="1209555" cy="1209555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F5282F8-5505-515D-0790-248EAC8BD477}"/>
                </a:ext>
              </a:extLst>
            </p:cNvPr>
            <p:cNvSpPr/>
            <p:nvPr/>
          </p:nvSpPr>
          <p:spPr>
            <a:xfrm>
              <a:off x="697924" y="2455766"/>
              <a:ext cx="1209555" cy="120955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68EA7A3-EBBF-DC00-C47B-2890BF3DDCFA}"/>
                </a:ext>
              </a:extLst>
            </p:cNvPr>
            <p:cNvGrpSpPr/>
            <p:nvPr/>
          </p:nvGrpSpPr>
          <p:grpSpPr>
            <a:xfrm>
              <a:off x="925895" y="2752124"/>
              <a:ext cx="753612" cy="628189"/>
              <a:chOff x="5915048" y="3276600"/>
              <a:chExt cx="363712" cy="30318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C7CA4FB7-6F9C-9978-8978-9BBAEE96B719}"/>
                  </a:ext>
                </a:extLst>
              </p:cNvPr>
              <p:cNvSpPr/>
              <p:nvPr/>
            </p:nvSpPr>
            <p:spPr>
              <a:xfrm>
                <a:off x="5915048" y="3276600"/>
                <a:ext cx="363712" cy="303180"/>
              </a:xfrm>
              <a:custGeom>
                <a:avLst/>
                <a:gdLst>
                  <a:gd name="connsiteX0" fmla="*/ 13216 w 363712"/>
                  <a:gd name="connsiteY0" fmla="*/ 151638 h 303180"/>
                  <a:gd name="connsiteX1" fmla="*/ 117705 w 363712"/>
                  <a:gd name="connsiteY1" fmla="*/ 71057 h 303180"/>
                  <a:gd name="connsiteX2" fmla="*/ 79129 w 363712"/>
                  <a:gd name="connsiteY2" fmla="*/ 145542 h 303180"/>
                  <a:gd name="connsiteX3" fmla="*/ 30266 w 363712"/>
                  <a:gd name="connsiteY3" fmla="*/ 145542 h 303180"/>
                  <a:gd name="connsiteX4" fmla="*/ 30266 w 363712"/>
                  <a:gd name="connsiteY4" fmla="*/ 157639 h 303180"/>
                  <a:gd name="connsiteX5" fmla="*/ 79129 w 363712"/>
                  <a:gd name="connsiteY5" fmla="*/ 157639 h 303180"/>
                  <a:gd name="connsiteX6" fmla="*/ 117705 w 363712"/>
                  <a:gd name="connsiteY6" fmla="*/ 232124 h 303180"/>
                  <a:gd name="connsiteX7" fmla="*/ 13216 w 363712"/>
                  <a:gd name="connsiteY7" fmla="*/ 151543 h 303180"/>
                  <a:gd name="connsiteX8" fmla="*/ 246007 w 363712"/>
                  <a:gd name="connsiteY8" fmla="*/ 71057 h 303180"/>
                  <a:gd name="connsiteX9" fmla="*/ 350496 w 363712"/>
                  <a:gd name="connsiteY9" fmla="*/ 151638 h 303180"/>
                  <a:gd name="connsiteX10" fmla="*/ 246007 w 363712"/>
                  <a:gd name="connsiteY10" fmla="*/ 232219 h 303180"/>
                  <a:gd name="connsiteX11" fmla="*/ 284583 w 363712"/>
                  <a:gd name="connsiteY11" fmla="*/ 157734 h 303180"/>
                  <a:gd name="connsiteX12" fmla="*/ 333351 w 363712"/>
                  <a:gd name="connsiteY12" fmla="*/ 157734 h 303180"/>
                  <a:gd name="connsiteX13" fmla="*/ 333351 w 363712"/>
                  <a:gd name="connsiteY13" fmla="*/ 145637 h 303180"/>
                  <a:gd name="connsiteX14" fmla="*/ 284583 w 363712"/>
                  <a:gd name="connsiteY14" fmla="*/ 145637 h 303180"/>
                  <a:gd name="connsiteX15" fmla="*/ 246007 w 363712"/>
                  <a:gd name="connsiteY15" fmla="*/ 71152 h 303180"/>
                  <a:gd name="connsiteX16" fmla="*/ 187904 w 363712"/>
                  <a:gd name="connsiteY16" fmla="*/ 97155 h 303180"/>
                  <a:gd name="connsiteX17" fmla="*/ 187904 w 363712"/>
                  <a:gd name="connsiteY17" fmla="*/ 61055 h 303180"/>
                  <a:gd name="connsiteX18" fmla="*/ 272486 w 363712"/>
                  <a:gd name="connsiteY18" fmla="*/ 145637 h 303180"/>
                  <a:gd name="connsiteX19" fmla="*/ 236387 w 363712"/>
                  <a:gd name="connsiteY19" fmla="*/ 145637 h 303180"/>
                  <a:gd name="connsiteX20" fmla="*/ 236387 w 363712"/>
                  <a:gd name="connsiteY20" fmla="*/ 157734 h 303180"/>
                  <a:gd name="connsiteX21" fmla="*/ 272486 w 363712"/>
                  <a:gd name="connsiteY21" fmla="*/ 157734 h 303180"/>
                  <a:gd name="connsiteX22" fmla="*/ 187904 w 363712"/>
                  <a:gd name="connsiteY22" fmla="*/ 242316 h 303180"/>
                  <a:gd name="connsiteX23" fmla="*/ 187904 w 363712"/>
                  <a:gd name="connsiteY23" fmla="*/ 206216 h 303180"/>
                  <a:gd name="connsiteX24" fmla="*/ 175808 w 363712"/>
                  <a:gd name="connsiteY24" fmla="*/ 206216 h 303180"/>
                  <a:gd name="connsiteX25" fmla="*/ 175808 w 363712"/>
                  <a:gd name="connsiteY25" fmla="*/ 242316 h 303180"/>
                  <a:gd name="connsiteX26" fmla="*/ 91226 w 363712"/>
                  <a:gd name="connsiteY26" fmla="*/ 157734 h 303180"/>
                  <a:gd name="connsiteX27" fmla="*/ 127325 w 363712"/>
                  <a:gd name="connsiteY27" fmla="*/ 157734 h 303180"/>
                  <a:gd name="connsiteX28" fmla="*/ 127325 w 363712"/>
                  <a:gd name="connsiteY28" fmla="*/ 145637 h 303180"/>
                  <a:gd name="connsiteX29" fmla="*/ 91226 w 363712"/>
                  <a:gd name="connsiteY29" fmla="*/ 145637 h 303180"/>
                  <a:gd name="connsiteX30" fmla="*/ 175808 w 363712"/>
                  <a:gd name="connsiteY30" fmla="*/ 61055 h 303180"/>
                  <a:gd name="connsiteX31" fmla="*/ 175808 w 363712"/>
                  <a:gd name="connsiteY31" fmla="*/ 97155 h 303180"/>
                  <a:gd name="connsiteX32" fmla="*/ 187904 w 363712"/>
                  <a:gd name="connsiteY32" fmla="*/ 97155 h 303180"/>
                  <a:gd name="connsiteX33" fmla="*/ 175808 w 363712"/>
                  <a:gd name="connsiteY33" fmla="*/ 95 h 303180"/>
                  <a:gd name="connsiteX34" fmla="*/ 175808 w 363712"/>
                  <a:gd name="connsiteY34" fmla="*/ 48768 h 303180"/>
                  <a:gd name="connsiteX35" fmla="*/ 929 w 363712"/>
                  <a:gd name="connsiteY35" fmla="*/ 148400 h 303180"/>
                  <a:gd name="connsiteX36" fmla="*/ 929 w 363712"/>
                  <a:gd name="connsiteY36" fmla="*/ 154877 h 303180"/>
                  <a:gd name="connsiteX37" fmla="*/ 175808 w 363712"/>
                  <a:gd name="connsiteY37" fmla="*/ 254508 h 303180"/>
                  <a:gd name="connsiteX38" fmla="*/ 175808 w 363712"/>
                  <a:gd name="connsiteY38" fmla="*/ 303181 h 303180"/>
                  <a:gd name="connsiteX39" fmla="*/ 187904 w 363712"/>
                  <a:gd name="connsiteY39" fmla="*/ 303181 h 303180"/>
                  <a:gd name="connsiteX40" fmla="*/ 187904 w 363712"/>
                  <a:gd name="connsiteY40" fmla="*/ 254508 h 303180"/>
                  <a:gd name="connsiteX41" fmla="*/ 362783 w 363712"/>
                  <a:gd name="connsiteY41" fmla="*/ 154877 h 303180"/>
                  <a:gd name="connsiteX42" fmla="*/ 362783 w 363712"/>
                  <a:gd name="connsiteY42" fmla="*/ 148400 h 303180"/>
                  <a:gd name="connsiteX43" fmla="*/ 187904 w 363712"/>
                  <a:gd name="connsiteY43" fmla="*/ 48768 h 303180"/>
                  <a:gd name="connsiteX44" fmla="*/ 187904 w 363712"/>
                  <a:gd name="connsiteY44" fmla="*/ 0 h 303180"/>
                  <a:gd name="connsiteX45" fmla="*/ 175808 w 363712"/>
                  <a:gd name="connsiteY45" fmla="*/ 0 h 303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63712" h="303180">
                    <a:moveTo>
                      <a:pt x="13216" y="151638"/>
                    </a:moveTo>
                    <a:cubicBezTo>
                      <a:pt x="37981" y="113824"/>
                      <a:pt x="74747" y="85439"/>
                      <a:pt x="117705" y="71057"/>
                    </a:cubicBezTo>
                    <a:cubicBezTo>
                      <a:pt x="94845" y="89249"/>
                      <a:pt x="80748" y="116396"/>
                      <a:pt x="79129" y="145542"/>
                    </a:cubicBezTo>
                    <a:lnTo>
                      <a:pt x="30266" y="145542"/>
                    </a:lnTo>
                    <a:lnTo>
                      <a:pt x="30266" y="157639"/>
                    </a:lnTo>
                    <a:lnTo>
                      <a:pt x="79129" y="157639"/>
                    </a:lnTo>
                    <a:cubicBezTo>
                      <a:pt x="80843" y="186785"/>
                      <a:pt x="94845" y="213931"/>
                      <a:pt x="117705" y="232124"/>
                    </a:cubicBezTo>
                    <a:cubicBezTo>
                      <a:pt x="74843" y="217837"/>
                      <a:pt x="37981" y="189452"/>
                      <a:pt x="13216" y="151543"/>
                    </a:cubicBezTo>
                    <a:moveTo>
                      <a:pt x="246007" y="71057"/>
                    </a:moveTo>
                    <a:cubicBezTo>
                      <a:pt x="288965" y="85344"/>
                      <a:pt x="325731" y="113728"/>
                      <a:pt x="350496" y="151638"/>
                    </a:cubicBezTo>
                    <a:cubicBezTo>
                      <a:pt x="325731" y="189548"/>
                      <a:pt x="288869" y="217837"/>
                      <a:pt x="246007" y="232219"/>
                    </a:cubicBezTo>
                    <a:cubicBezTo>
                      <a:pt x="268867" y="214027"/>
                      <a:pt x="282964" y="186881"/>
                      <a:pt x="284583" y="157734"/>
                    </a:cubicBezTo>
                    <a:lnTo>
                      <a:pt x="333351" y="157734"/>
                    </a:lnTo>
                    <a:lnTo>
                      <a:pt x="333351" y="145637"/>
                    </a:lnTo>
                    <a:lnTo>
                      <a:pt x="284583" y="145637"/>
                    </a:lnTo>
                    <a:cubicBezTo>
                      <a:pt x="282869" y="116491"/>
                      <a:pt x="268867" y="89345"/>
                      <a:pt x="246007" y="71152"/>
                    </a:cubicBezTo>
                    <a:moveTo>
                      <a:pt x="187904" y="97155"/>
                    </a:moveTo>
                    <a:lnTo>
                      <a:pt x="187904" y="61055"/>
                    </a:lnTo>
                    <a:cubicBezTo>
                      <a:pt x="233243" y="64103"/>
                      <a:pt x="269438" y="100298"/>
                      <a:pt x="272486" y="145637"/>
                    </a:cubicBezTo>
                    <a:lnTo>
                      <a:pt x="236387" y="145637"/>
                    </a:lnTo>
                    <a:lnTo>
                      <a:pt x="236387" y="157734"/>
                    </a:lnTo>
                    <a:lnTo>
                      <a:pt x="272486" y="157734"/>
                    </a:lnTo>
                    <a:cubicBezTo>
                      <a:pt x="269438" y="203073"/>
                      <a:pt x="233339" y="239268"/>
                      <a:pt x="187904" y="242316"/>
                    </a:cubicBezTo>
                    <a:lnTo>
                      <a:pt x="187904" y="206216"/>
                    </a:lnTo>
                    <a:lnTo>
                      <a:pt x="175808" y="206216"/>
                    </a:lnTo>
                    <a:lnTo>
                      <a:pt x="175808" y="242316"/>
                    </a:lnTo>
                    <a:cubicBezTo>
                      <a:pt x="130469" y="239268"/>
                      <a:pt x="94274" y="203073"/>
                      <a:pt x="91226" y="157734"/>
                    </a:cubicBezTo>
                    <a:lnTo>
                      <a:pt x="127325" y="157734"/>
                    </a:lnTo>
                    <a:lnTo>
                      <a:pt x="127325" y="145637"/>
                    </a:lnTo>
                    <a:lnTo>
                      <a:pt x="91226" y="145637"/>
                    </a:lnTo>
                    <a:cubicBezTo>
                      <a:pt x="94274" y="100298"/>
                      <a:pt x="130469" y="64103"/>
                      <a:pt x="175808" y="61055"/>
                    </a:cubicBezTo>
                    <a:lnTo>
                      <a:pt x="175808" y="97155"/>
                    </a:lnTo>
                    <a:lnTo>
                      <a:pt x="187904" y="97155"/>
                    </a:lnTo>
                    <a:close/>
                    <a:moveTo>
                      <a:pt x="175808" y="95"/>
                    </a:moveTo>
                    <a:lnTo>
                      <a:pt x="175808" y="48768"/>
                    </a:lnTo>
                    <a:cubicBezTo>
                      <a:pt x="104465" y="50483"/>
                      <a:pt x="38838" y="87916"/>
                      <a:pt x="929" y="148400"/>
                    </a:cubicBezTo>
                    <a:cubicBezTo>
                      <a:pt x="-310" y="150400"/>
                      <a:pt x="-310" y="152876"/>
                      <a:pt x="929" y="154877"/>
                    </a:cubicBezTo>
                    <a:cubicBezTo>
                      <a:pt x="38838" y="215360"/>
                      <a:pt x="104465" y="252794"/>
                      <a:pt x="175808" y="254508"/>
                    </a:cubicBezTo>
                    <a:lnTo>
                      <a:pt x="175808" y="303181"/>
                    </a:lnTo>
                    <a:lnTo>
                      <a:pt x="187904" y="303181"/>
                    </a:lnTo>
                    <a:lnTo>
                      <a:pt x="187904" y="254508"/>
                    </a:lnTo>
                    <a:cubicBezTo>
                      <a:pt x="259247" y="252698"/>
                      <a:pt x="324969" y="215265"/>
                      <a:pt x="362783" y="154877"/>
                    </a:cubicBezTo>
                    <a:cubicBezTo>
                      <a:pt x="364022" y="152876"/>
                      <a:pt x="364022" y="150400"/>
                      <a:pt x="362783" y="148400"/>
                    </a:cubicBezTo>
                    <a:cubicBezTo>
                      <a:pt x="324874" y="87916"/>
                      <a:pt x="259151" y="50483"/>
                      <a:pt x="187904" y="48768"/>
                    </a:cubicBezTo>
                    <a:lnTo>
                      <a:pt x="187904" y="0"/>
                    </a:lnTo>
                    <a:lnTo>
                      <a:pt x="17580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1723D961-C267-899A-9E3F-99F1BC361D94}"/>
                  </a:ext>
                </a:extLst>
              </p:cNvPr>
              <p:cNvSpPr/>
              <p:nvPr/>
            </p:nvSpPr>
            <p:spPr>
              <a:xfrm>
                <a:off x="6054566" y="3385756"/>
                <a:ext cx="84963" cy="84962"/>
              </a:xfrm>
              <a:custGeom>
                <a:avLst/>
                <a:gdLst>
                  <a:gd name="connsiteX0" fmla="*/ 12097 w 84963"/>
                  <a:gd name="connsiteY0" fmla="*/ 42482 h 84962"/>
                  <a:gd name="connsiteX1" fmla="*/ 42386 w 84963"/>
                  <a:gd name="connsiteY1" fmla="*/ 12192 h 84962"/>
                  <a:gd name="connsiteX2" fmla="*/ 72676 w 84963"/>
                  <a:gd name="connsiteY2" fmla="*/ 42482 h 84962"/>
                  <a:gd name="connsiteX3" fmla="*/ 42386 w 84963"/>
                  <a:gd name="connsiteY3" fmla="*/ 72771 h 84962"/>
                  <a:gd name="connsiteX4" fmla="*/ 12097 w 84963"/>
                  <a:gd name="connsiteY4" fmla="*/ 42482 h 84962"/>
                  <a:gd name="connsiteX5" fmla="*/ 0 w 84963"/>
                  <a:gd name="connsiteY5" fmla="*/ 42482 h 84962"/>
                  <a:gd name="connsiteX6" fmla="*/ 42482 w 84963"/>
                  <a:gd name="connsiteY6" fmla="*/ 84963 h 84962"/>
                  <a:gd name="connsiteX7" fmla="*/ 84963 w 84963"/>
                  <a:gd name="connsiteY7" fmla="*/ 42482 h 84962"/>
                  <a:gd name="connsiteX8" fmla="*/ 42482 w 84963"/>
                  <a:gd name="connsiteY8" fmla="*/ 0 h 84962"/>
                  <a:gd name="connsiteX9" fmla="*/ 0 w 84963"/>
                  <a:gd name="connsiteY9" fmla="*/ 42482 h 8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963" h="84962">
                    <a:moveTo>
                      <a:pt x="12097" y="42482"/>
                    </a:moveTo>
                    <a:cubicBezTo>
                      <a:pt x="12097" y="25717"/>
                      <a:pt x="25718" y="12192"/>
                      <a:pt x="42386" y="12192"/>
                    </a:cubicBezTo>
                    <a:cubicBezTo>
                      <a:pt x="59150" y="12192"/>
                      <a:pt x="72676" y="25813"/>
                      <a:pt x="72676" y="42482"/>
                    </a:cubicBezTo>
                    <a:cubicBezTo>
                      <a:pt x="72676" y="59150"/>
                      <a:pt x="59150" y="72771"/>
                      <a:pt x="42386" y="72771"/>
                    </a:cubicBezTo>
                    <a:cubicBezTo>
                      <a:pt x="25622" y="72771"/>
                      <a:pt x="12097" y="59150"/>
                      <a:pt x="12097" y="42482"/>
                    </a:cubicBezTo>
                    <a:moveTo>
                      <a:pt x="0" y="42482"/>
                    </a:moveTo>
                    <a:cubicBezTo>
                      <a:pt x="0" y="65913"/>
                      <a:pt x="19050" y="84868"/>
                      <a:pt x="42482" y="84963"/>
                    </a:cubicBezTo>
                    <a:cubicBezTo>
                      <a:pt x="65913" y="84963"/>
                      <a:pt x="84963" y="66008"/>
                      <a:pt x="84963" y="42482"/>
                    </a:cubicBezTo>
                    <a:cubicBezTo>
                      <a:pt x="84963" y="18955"/>
                      <a:pt x="65913" y="0"/>
                      <a:pt x="42482" y="0"/>
                    </a:cubicBezTo>
                    <a:cubicBezTo>
                      <a:pt x="19050" y="0"/>
                      <a:pt x="0" y="18955"/>
                      <a:pt x="0" y="4248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DB7681B4-126F-5551-EE5B-CD3F35B977B1}"/>
                  </a:ext>
                </a:extLst>
              </p:cNvPr>
              <p:cNvSpPr/>
              <p:nvPr/>
            </p:nvSpPr>
            <p:spPr>
              <a:xfrm>
                <a:off x="5945314" y="3276600"/>
                <a:ext cx="54578" cy="54578"/>
              </a:xfrm>
              <a:custGeom>
                <a:avLst/>
                <a:gdLst>
                  <a:gd name="connsiteX0" fmla="*/ 6096 w 54578"/>
                  <a:gd name="connsiteY0" fmla="*/ 0 h 54578"/>
                  <a:gd name="connsiteX1" fmla="*/ 0 w 54578"/>
                  <a:gd name="connsiteY1" fmla="*/ 6096 h 54578"/>
                  <a:gd name="connsiteX2" fmla="*/ 0 w 54578"/>
                  <a:gd name="connsiteY2" fmla="*/ 54578 h 54578"/>
                  <a:gd name="connsiteX3" fmla="*/ 12097 w 54578"/>
                  <a:gd name="connsiteY3" fmla="*/ 54578 h 54578"/>
                  <a:gd name="connsiteX4" fmla="*/ 12097 w 54578"/>
                  <a:gd name="connsiteY4" fmla="*/ 12097 h 54578"/>
                  <a:gd name="connsiteX5" fmla="*/ 54578 w 54578"/>
                  <a:gd name="connsiteY5" fmla="*/ 12097 h 54578"/>
                  <a:gd name="connsiteX6" fmla="*/ 54578 w 54578"/>
                  <a:gd name="connsiteY6" fmla="*/ 0 h 54578"/>
                  <a:gd name="connsiteX7" fmla="*/ 6096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6096" y="0"/>
                    </a:moveTo>
                    <a:cubicBezTo>
                      <a:pt x="2762" y="0"/>
                      <a:pt x="0" y="2667"/>
                      <a:pt x="0" y="6096"/>
                    </a:cubicBezTo>
                    <a:lnTo>
                      <a:pt x="0" y="54578"/>
                    </a:lnTo>
                    <a:lnTo>
                      <a:pt x="12097" y="54578"/>
                    </a:lnTo>
                    <a:lnTo>
                      <a:pt x="12097" y="12097"/>
                    </a:lnTo>
                    <a:lnTo>
                      <a:pt x="54578" y="12097"/>
                    </a:lnTo>
                    <a:lnTo>
                      <a:pt x="54578" y="0"/>
                    </a:lnTo>
                    <a:lnTo>
                      <a:pt x="609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9551C9F7-F409-E8F3-506A-667CA6D82ECD}"/>
                  </a:ext>
                </a:extLst>
              </p:cNvPr>
              <p:cNvSpPr/>
              <p:nvPr/>
            </p:nvSpPr>
            <p:spPr>
              <a:xfrm>
                <a:off x="6193917" y="3276600"/>
                <a:ext cx="54578" cy="54578"/>
              </a:xfrm>
              <a:custGeom>
                <a:avLst/>
                <a:gdLst>
                  <a:gd name="connsiteX0" fmla="*/ 0 w 54578"/>
                  <a:gd name="connsiteY0" fmla="*/ 0 h 54578"/>
                  <a:gd name="connsiteX1" fmla="*/ 0 w 54578"/>
                  <a:gd name="connsiteY1" fmla="*/ 12097 h 54578"/>
                  <a:gd name="connsiteX2" fmla="*/ 42482 w 54578"/>
                  <a:gd name="connsiteY2" fmla="*/ 12097 h 54578"/>
                  <a:gd name="connsiteX3" fmla="*/ 42482 w 54578"/>
                  <a:gd name="connsiteY3" fmla="*/ 54578 h 54578"/>
                  <a:gd name="connsiteX4" fmla="*/ 54578 w 54578"/>
                  <a:gd name="connsiteY4" fmla="*/ 54578 h 54578"/>
                  <a:gd name="connsiteX5" fmla="*/ 54578 w 54578"/>
                  <a:gd name="connsiteY5" fmla="*/ 6096 h 54578"/>
                  <a:gd name="connsiteX6" fmla="*/ 48482 w 54578"/>
                  <a:gd name="connsiteY6" fmla="*/ 0 h 54578"/>
                  <a:gd name="connsiteX7" fmla="*/ 0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0" y="0"/>
                    </a:moveTo>
                    <a:lnTo>
                      <a:pt x="0" y="12097"/>
                    </a:lnTo>
                    <a:lnTo>
                      <a:pt x="42482" y="12097"/>
                    </a:lnTo>
                    <a:lnTo>
                      <a:pt x="42482" y="54578"/>
                    </a:lnTo>
                    <a:lnTo>
                      <a:pt x="54578" y="54578"/>
                    </a:lnTo>
                    <a:lnTo>
                      <a:pt x="54578" y="6096"/>
                    </a:lnTo>
                    <a:cubicBezTo>
                      <a:pt x="54578" y="2762"/>
                      <a:pt x="51911" y="0"/>
                      <a:pt x="4848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7A6163EB-7EB9-B151-1DB4-F74BB5F7D27A}"/>
                  </a:ext>
                </a:extLst>
              </p:cNvPr>
              <p:cNvSpPr/>
              <p:nvPr/>
            </p:nvSpPr>
            <p:spPr>
              <a:xfrm>
                <a:off x="6193917" y="3525202"/>
                <a:ext cx="54578" cy="54578"/>
              </a:xfrm>
              <a:custGeom>
                <a:avLst/>
                <a:gdLst>
                  <a:gd name="connsiteX0" fmla="*/ 42482 w 54578"/>
                  <a:gd name="connsiteY0" fmla="*/ 0 h 54578"/>
                  <a:gd name="connsiteX1" fmla="*/ 42482 w 54578"/>
                  <a:gd name="connsiteY1" fmla="*/ 42481 h 54578"/>
                  <a:gd name="connsiteX2" fmla="*/ 0 w 54578"/>
                  <a:gd name="connsiteY2" fmla="*/ 42481 h 54578"/>
                  <a:gd name="connsiteX3" fmla="*/ 0 w 54578"/>
                  <a:gd name="connsiteY3" fmla="*/ 54578 h 54578"/>
                  <a:gd name="connsiteX4" fmla="*/ 48482 w 54578"/>
                  <a:gd name="connsiteY4" fmla="*/ 54578 h 54578"/>
                  <a:gd name="connsiteX5" fmla="*/ 54578 w 54578"/>
                  <a:gd name="connsiteY5" fmla="*/ 48482 h 54578"/>
                  <a:gd name="connsiteX6" fmla="*/ 54578 w 54578"/>
                  <a:gd name="connsiteY6" fmla="*/ 0 h 54578"/>
                  <a:gd name="connsiteX7" fmla="*/ 42482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42482" y="0"/>
                    </a:moveTo>
                    <a:lnTo>
                      <a:pt x="42482" y="42481"/>
                    </a:lnTo>
                    <a:lnTo>
                      <a:pt x="0" y="42481"/>
                    </a:lnTo>
                    <a:lnTo>
                      <a:pt x="0" y="54578"/>
                    </a:lnTo>
                    <a:lnTo>
                      <a:pt x="48482" y="54578"/>
                    </a:lnTo>
                    <a:cubicBezTo>
                      <a:pt x="51816" y="54578"/>
                      <a:pt x="54578" y="51911"/>
                      <a:pt x="54578" y="48482"/>
                    </a:cubicBezTo>
                    <a:lnTo>
                      <a:pt x="54578" y="0"/>
                    </a:lnTo>
                    <a:lnTo>
                      <a:pt x="42482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70797C9B-66B3-149F-46A1-6F6A984AD382}"/>
                  </a:ext>
                </a:extLst>
              </p:cNvPr>
              <p:cNvSpPr/>
              <p:nvPr/>
            </p:nvSpPr>
            <p:spPr>
              <a:xfrm>
                <a:off x="5945314" y="3525202"/>
                <a:ext cx="54578" cy="54578"/>
              </a:xfrm>
              <a:custGeom>
                <a:avLst/>
                <a:gdLst>
                  <a:gd name="connsiteX0" fmla="*/ 0 w 54578"/>
                  <a:gd name="connsiteY0" fmla="*/ 0 h 54578"/>
                  <a:gd name="connsiteX1" fmla="*/ 0 w 54578"/>
                  <a:gd name="connsiteY1" fmla="*/ 48482 h 54578"/>
                  <a:gd name="connsiteX2" fmla="*/ 6096 w 54578"/>
                  <a:gd name="connsiteY2" fmla="*/ 54578 h 54578"/>
                  <a:gd name="connsiteX3" fmla="*/ 54578 w 54578"/>
                  <a:gd name="connsiteY3" fmla="*/ 54578 h 54578"/>
                  <a:gd name="connsiteX4" fmla="*/ 54578 w 54578"/>
                  <a:gd name="connsiteY4" fmla="*/ 42481 h 54578"/>
                  <a:gd name="connsiteX5" fmla="*/ 12097 w 54578"/>
                  <a:gd name="connsiteY5" fmla="*/ 42481 h 54578"/>
                  <a:gd name="connsiteX6" fmla="*/ 12097 w 54578"/>
                  <a:gd name="connsiteY6" fmla="*/ 0 h 54578"/>
                  <a:gd name="connsiteX7" fmla="*/ 0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0" y="0"/>
                    </a:moveTo>
                    <a:lnTo>
                      <a:pt x="0" y="48482"/>
                    </a:lnTo>
                    <a:cubicBezTo>
                      <a:pt x="0" y="51816"/>
                      <a:pt x="2667" y="54578"/>
                      <a:pt x="6096" y="54578"/>
                    </a:cubicBezTo>
                    <a:lnTo>
                      <a:pt x="54578" y="54578"/>
                    </a:lnTo>
                    <a:lnTo>
                      <a:pt x="54578" y="42481"/>
                    </a:lnTo>
                    <a:lnTo>
                      <a:pt x="12097" y="42481"/>
                    </a:lnTo>
                    <a:lnTo>
                      <a:pt x="1209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626" y="3880882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7924" y="5015304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5776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C601D98-2913-2A3F-BB81-BDD38A3F07F5}"/>
              </a:ext>
            </a:extLst>
          </p:cNvPr>
          <p:cNvSpPr/>
          <p:nvPr userDrawn="1"/>
        </p:nvSpPr>
        <p:spPr>
          <a:xfrm>
            <a:off x="2229925" y="-7594"/>
            <a:ext cx="9962075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A4FEF4-B29E-DECB-A9F4-CBDDB95C7432}"/>
              </a:ext>
            </a:extLst>
          </p:cNvPr>
          <p:cNvGrpSpPr/>
          <p:nvPr/>
        </p:nvGrpSpPr>
        <p:grpSpPr>
          <a:xfrm>
            <a:off x="-1685124" y="1631151"/>
            <a:ext cx="4928087" cy="3595699"/>
            <a:chOff x="996318" y="2386212"/>
            <a:chExt cx="3208030" cy="234068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A3B046-424D-0F3A-E586-61D6A1EA9F32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8CC6EC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7ADA73-F4BE-83FF-A51D-F7840A2BB46D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283583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C5C27C-3EDA-77E0-32A4-1EC6B5B8A47D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chemeClr val="accent1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06" y="2560577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304" y="3694999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3C170D-5761-104F-7B0D-B24326553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5831" y="2389266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56777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C601D98-2913-2A3F-BB81-BDD38A3F07F5}"/>
              </a:ext>
            </a:extLst>
          </p:cNvPr>
          <p:cNvSpPr/>
          <p:nvPr userDrawn="1"/>
        </p:nvSpPr>
        <p:spPr>
          <a:xfrm>
            <a:off x="2229925" y="-7594"/>
            <a:ext cx="9962075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0551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C601D98-2913-2A3F-BB81-BDD38A3F07F5}"/>
              </a:ext>
            </a:extLst>
          </p:cNvPr>
          <p:cNvSpPr/>
          <p:nvPr userDrawn="1"/>
        </p:nvSpPr>
        <p:spPr>
          <a:xfrm>
            <a:off x="2229925" y="-7594"/>
            <a:ext cx="9962075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FC8AEC7A-6434-FC39-5F9F-C569E74C160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229925" y="0"/>
            <a:ext cx="9962075" cy="3518704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5A4FEF4-B29E-DECB-A9F4-CBDDB95C7432}"/>
              </a:ext>
            </a:extLst>
          </p:cNvPr>
          <p:cNvGrpSpPr/>
          <p:nvPr/>
        </p:nvGrpSpPr>
        <p:grpSpPr>
          <a:xfrm>
            <a:off x="-1685124" y="1631151"/>
            <a:ext cx="4928087" cy="3595699"/>
            <a:chOff x="996318" y="2386212"/>
            <a:chExt cx="3208030" cy="234068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A3B046-424D-0F3A-E586-61D6A1EA9F32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8CC6EC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7ADA73-F4BE-83FF-A51D-F7840A2BB46D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283583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C5C27C-3EDA-77E0-32A4-1EC6B5B8A47D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chemeClr val="accent1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06" y="2560577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304" y="3694999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B2930AFB-ED20-DB79-F1B8-CE4DFDADFC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5721" y="3955869"/>
            <a:ext cx="5229265" cy="2084349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777157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5F42E744-0EEA-BFE9-451F-C67673185224}"/>
              </a:ext>
            </a:extLst>
          </p:cNvPr>
          <p:cNvSpPr/>
          <p:nvPr userDrawn="1"/>
        </p:nvSpPr>
        <p:spPr>
          <a:xfrm>
            <a:off x="3709686" y="-7594"/>
            <a:ext cx="8482314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C44214F-1D52-34A1-7CEB-76A8021B077C}"/>
              </a:ext>
            </a:extLst>
          </p:cNvPr>
          <p:cNvGrpSpPr/>
          <p:nvPr userDrawn="1"/>
        </p:nvGrpSpPr>
        <p:grpSpPr>
          <a:xfrm>
            <a:off x="1641068" y="2301974"/>
            <a:ext cx="3208030" cy="2340687"/>
            <a:chOff x="996318" y="2386212"/>
            <a:chExt cx="3208030" cy="234068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34B724E-5311-3AF9-E126-5D2F4990FEAD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FDC444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907008E-C17D-06A4-DE6A-956FB87FB8F3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2601A3-20DE-D66B-21C9-560273FC2B98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2854" y="2831761"/>
            <a:ext cx="1724789" cy="684449"/>
          </a:xfrm>
        </p:spPr>
        <p:txBody>
          <a:bodyPr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22854" y="3429000"/>
            <a:ext cx="1677956" cy="6844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9B47CBAD-EA18-0E5E-565B-E2FF814F5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6426" y="2413752"/>
            <a:ext cx="6440276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86791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BFA6D9B-7687-2919-EFDF-F9496426853B}"/>
              </a:ext>
            </a:extLst>
          </p:cNvPr>
          <p:cNvSpPr/>
          <p:nvPr userDrawn="1"/>
        </p:nvSpPr>
        <p:spPr>
          <a:xfrm>
            <a:off x="2233914" y="1417899"/>
            <a:ext cx="10943863" cy="4242121"/>
          </a:xfrm>
          <a:prstGeom prst="round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C44214F-1D52-34A1-7CEB-76A8021B077C}"/>
              </a:ext>
            </a:extLst>
          </p:cNvPr>
          <p:cNvGrpSpPr/>
          <p:nvPr userDrawn="1"/>
        </p:nvGrpSpPr>
        <p:grpSpPr>
          <a:xfrm>
            <a:off x="697924" y="2301974"/>
            <a:ext cx="3208030" cy="2340687"/>
            <a:chOff x="996318" y="2386212"/>
            <a:chExt cx="3208030" cy="234068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34B724E-5311-3AF9-E126-5D2F4990FEAD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FDC444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907008E-C17D-06A4-DE6A-956FB87FB8F3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2601A3-20DE-D66B-21C9-560273FC2B98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79710" y="2831761"/>
            <a:ext cx="1724789" cy="684449"/>
          </a:xfrm>
        </p:spPr>
        <p:txBody>
          <a:bodyPr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79710" y="3429000"/>
            <a:ext cx="1677956" cy="6844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9B47CBAD-EA18-0E5E-565B-E2FF814F5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6610" y="2413753"/>
            <a:ext cx="6440276" cy="41738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00" b="1">
                <a:solidFill>
                  <a:schemeClr val="accent6"/>
                </a:solidFill>
              </a:defRPr>
            </a:lvl1pPr>
            <a:lvl2pPr marL="457200" indent="0">
              <a:buFontTx/>
              <a:buNone/>
              <a:defRPr sz="1800">
                <a:solidFill>
                  <a:srgbClr val="283583"/>
                </a:solidFill>
              </a:defRPr>
            </a:lvl2pPr>
            <a:lvl3pPr marL="914400" indent="0">
              <a:buFontTx/>
              <a:buNone/>
              <a:defRPr sz="1600">
                <a:solidFill>
                  <a:srgbClr val="283583"/>
                </a:solidFill>
              </a:defRPr>
            </a:lvl3pPr>
            <a:lvl4pPr marL="1371600" indent="0">
              <a:buFontTx/>
              <a:buNone/>
              <a:defRPr sz="1400">
                <a:solidFill>
                  <a:srgbClr val="283583"/>
                </a:solidFill>
              </a:defRPr>
            </a:lvl4pPr>
            <a:lvl5pPr marL="1828800" indent="0">
              <a:buFontTx/>
              <a:buNone/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F6BF8971-FD31-3CF3-71C1-43A8F7339BA2}"/>
              </a:ext>
            </a:extLst>
          </p:cNvPr>
          <p:cNvSpPr txBox="1">
            <a:spLocks/>
          </p:cNvSpPr>
          <p:nvPr userDrawn="1"/>
        </p:nvSpPr>
        <p:spPr>
          <a:xfrm>
            <a:off x="2233914" y="453907"/>
            <a:ext cx="9958085" cy="9517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Click to edit Master title style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3621FDC3-987D-03E3-8AFB-F8EE61FE58D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406610" y="3007822"/>
            <a:ext cx="6440276" cy="222339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00" b="1">
                <a:solidFill>
                  <a:schemeClr val="accent3"/>
                </a:solidFill>
              </a:defRPr>
            </a:lvl1pPr>
            <a:lvl2pPr marL="457200" indent="0">
              <a:buFontTx/>
              <a:buNone/>
              <a:defRPr sz="1800">
                <a:solidFill>
                  <a:srgbClr val="283583"/>
                </a:solidFill>
              </a:defRPr>
            </a:lvl2pPr>
            <a:lvl3pPr marL="914400" indent="0">
              <a:buFontTx/>
              <a:buNone/>
              <a:defRPr sz="1600">
                <a:solidFill>
                  <a:srgbClr val="283583"/>
                </a:solidFill>
              </a:defRPr>
            </a:lvl3pPr>
            <a:lvl4pPr marL="1371600" indent="0">
              <a:buFontTx/>
              <a:buNone/>
              <a:defRPr sz="1400">
                <a:solidFill>
                  <a:srgbClr val="283583"/>
                </a:solidFill>
              </a:defRPr>
            </a:lvl4pPr>
            <a:lvl5pPr marL="1828800" indent="0">
              <a:buFontTx/>
              <a:buNone/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787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3976421-9C43-4A44-829D-511FFE024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CB34A3-C584-1046-8C17-AB1BCE2694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1A06C6-814D-4A47-8F9A-552C373FA66E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7A1E89-D11F-7D84-9492-E321845559FA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86112A-495D-43C0-3AC7-06A4322B48AC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649B11-021B-9D5D-46F1-8BB777F17BE7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9130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014F99-72CA-64EB-C98B-A532FA389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5C4DDB-D352-6C4F-C495-AC30D1583259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88978CE-BAE9-FFFC-8D2E-8FDB8A7CE819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90A93AC-8FB2-EB18-12F7-2B8B25098178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292564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88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2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6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3" y="126146"/>
            <a:ext cx="1857805" cy="78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0063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50353-FD7F-3B2B-713C-7F0A749FA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348" y="357213"/>
            <a:ext cx="9397409" cy="3651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02703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ferris wheel lit up at night&#10;&#10;Description automatically generated with medium confidence">
            <a:extLst>
              <a:ext uri="{FF2B5EF4-FFF2-40B4-BE49-F238E27FC236}">
                <a16:creationId xmlns:a16="http://schemas.microsoft.com/office/drawing/2014/main" id="{F7EA4C31-D4D8-70A6-BBD7-8A92893587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"/>
            <a:ext cx="12189292" cy="6859524"/>
          </a:xfrm>
          <a:prstGeom prst="rect">
            <a:avLst/>
          </a:prstGeom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3B077FE-2C8B-C8C5-6DFC-317E7C8C27E6}"/>
              </a:ext>
            </a:extLst>
          </p:cNvPr>
          <p:cNvSpPr/>
          <p:nvPr userDrawn="1"/>
        </p:nvSpPr>
        <p:spPr>
          <a:xfrm>
            <a:off x="0" y="5886123"/>
            <a:ext cx="4415525" cy="508544"/>
          </a:xfrm>
          <a:custGeom>
            <a:avLst/>
            <a:gdLst>
              <a:gd name="connsiteX0" fmla="*/ 0 w 4415525"/>
              <a:gd name="connsiteY0" fmla="*/ 0 h 508544"/>
              <a:gd name="connsiteX1" fmla="*/ 4161253 w 4415525"/>
              <a:gd name="connsiteY1" fmla="*/ 0 h 508544"/>
              <a:gd name="connsiteX2" fmla="*/ 4415525 w 4415525"/>
              <a:gd name="connsiteY2" fmla="*/ 254272 h 508544"/>
              <a:gd name="connsiteX3" fmla="*/ 4161253 w 4415525"/>
              <a:gd name="connsiteY3" fmla="*/ 508544 h 508544"/>
              <a:gd name="connsiteX4" fmla="*/ 0 w 4415525"/>
              <a:gd name="connsiteY4" fmla="*/ 508544 h 508544"/>
              <a:gd name="connsiteX5" fmla="*/ 0 w 4415525"/>
              <a:gd name="connsiteY5" fmla="*/ 0 h 50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15525" h="508544">
                <a:moveTo>
                  <a:pt x="0" y="0"/>
                </a:moveTo>
                <a:lnTo>
                  <a:pt x="4161253" y="0"/>
                </a:lnTo>
                <a:cubicBezTo>
                  <a:pt x="4301684" y="0"/>
                  <a:pt x="4415525" y="113841"/>
                  <a:pt x="4415525" y="254272"/>
                </a:cubicBezTo>
                <a:cubicBezTo>
                  <a:pt x="4415525" y="394703"/>
                  <a:pt x="4301684" y="508544"/>
                  <a:pt x="4161253" y="508544"/>
                </a:cubicBezTo>
                <a:lnTo>
                  <a:pt x="0" y="5085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36A9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F72A30-694A-FECA-8A80-0507B9F61C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1484" y="3370521"/>
            <a:ext cx="5461590" cy="1457880"/>
          </a:xfrm>
        </p:spPr>
        <p:txBody>
          <a:bodyPr anchor="b">
            <a:normAutofit/>
          </a:bodyPr>
          <a:lstStyle>
            <a:lvl1pPr algn="l">
              <a:defRPr sz="5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9D7953-3C8E-51F3-C855-14B7B9775E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1484" y="4920476"/>
            <a:ext cx="5461590" cy="65993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C268E5-5E93-1BC6-80D2-95E94B0DA1C3}"/>
              </a:ext>
            </a:extLst>
          </p:cNvPr>
          <p:cNvGrpSpPr/>
          <p:nvPr userDrawn="1"/>
        </p:nvGrpSpPr>
        <p:grpSpPr>
          <a:xfrm>
            <a:off x="649593" y="611446"/>
            <a:ext cx="3021218" cy="1580760"/>
            <a:chOff x="442593" y="368967"/>
            <a:chExt cx="3021218" cy="158076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6C66A43-9053-CD57-96DF-5AF640568E6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A9DFE4-0248-553D-6A73-25B92E7D8027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ADF9B15-B220-08AF-1602-C7901174F6EF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86D7A0B-0B1E-CC2A-4A97-2EFF680AC43D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2F86C9-0944-920B-9A96-D9DF03D3759A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80F7F-60F9-EE1E-3F73-015407199C7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E40DED8-98C8-3CC4-FC45-A8224AC0B93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C7DD25-D563-BBBE-3B49-D889209CDFE3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62AD4D-5450-3C51-80EA-FFEBA2584291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D1AA603-428F-4FC8-8C2C-D036ABC764A0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1E88753-F0C3-3E4E-93AC-041F4B309E1F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71AE00-72A2-FDD9-DD4B-4A27F3151503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4E92E4E-2ACA-C80C-E2BD-DD687DDD5E57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61368B-D23A-9BFB-EADC-C66417E2E69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F773492-5FF2-550C-2699-C53A612F90D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49AB0C-05F9-559A-B62C-6574965078DC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00C94E8-A04D-917B-FB46-D124974EB249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0A600F7-50E2-BD77-430A-570B0587A54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7E4290A-748C-2584-070C-C49109E40C9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D7C7A4-796C-3B49-ADA2-A797A5412E2E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9FCF071-13A7-F53B-6132-3D0199124392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7F55736-1FFD-44C3-3151-E423AD3B03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8D69865E-F784-6F36-0E6D-25908B58FEC9}"/>
              </a:ext>
            </a:extLst>
          </p:cNvPr>
          <p:cNvSpPr txBox="1"/>
          <p:nvPr userDrawn="1"/>
        </p:nvSpPr>
        <p:spPr>
          <a:xfrm>
            <a:off x="478162" y="6017450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400" b="1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  <a:endParaRPr lang="en-US" sz="14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9131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5" y="2933276"/>
            <a:ext cx="9372599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310E72-30C0-0499-3844-B9FF9A9F0700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rgbClr val="283583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8128486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980A9B3-BB68-3BEB-E548-7A4AC9507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4B54D00-9AA9-71F8-2DD7-30E838943740}"/>
              </a:ext>
            </a:extLst>
          </p:cNvPr>
          <p:cNvSpPr/>
          <p:nvPr userDrawn="1"/>
        </p:nvSpPr>
        <p:spPr>
          <a:xfrm>
            <a:off x="4130046" y="-7594"/>
            <a:ext cx="8061953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BDF429B-5C79-D42B-46D3-0E5F2BB2DF67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0078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229252"/>
            <a:ext cx="3088757" cy="183716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6258C7-6E31-CC80-2C6E-9E50077E061C}"/>
              </a:ext>
            </a:extLst>
          </p:cNvPr>
          <p:cNvSpPr txBox="1"/>
          <p:nvPr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6C568B-4638-B367-F7E0-FB86BA3D198D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8C2AEC2-441A-C8DB-F7A6-E9E4A4036B83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803E3F9-9315-7890-3994-B05F8F0D3C0E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4B342FF-4A9C-CDF7-FA76-9BE9F89C22B1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5FDABE3-340F-EA57-09E5-3508CE6BFAAE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558F697-4D79-B556-2838-B66228D9615F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B1CEABE-8A7C-9AFD-2CAF-182815090015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0783057-F6B7-6331-4876-8E440D6D143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AAD4CE1-C153-CFBD-97C8-0AE438210C20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33DB213-3B80-AE64-6878-629C377CBE5D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C619343-9AB3-FE21-6D74-36FE275F8287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F3A5B9C-E49C-DA40-82B4-C82DCAA3EAA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18517F0-EBC2-D6C6-9295-29BD82BDF8DA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144D742-80A9-B6CF-E654-4EC27CE44B7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78A54D2-5279-7624-6756-115FF0F1FA08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B25B330-07CD-C265-C775-3F6970D0DB75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BCB49A-7009-716E-E1D2-E0F9DF9A2550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EB5BBC5-0B1F-839E-4E3A-473E221C5DC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CA7A63E-FC3E-EB51-9131-C204159196B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F3EDF14-5D09-13EF-B557-0AC226375645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1CCEFA7-882E-A2A5-77A0-490E0B70E31A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F1D8294-FC74-B190-FB6D-764C7443AF2D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8904742-5F91-38B1-AED2-A0A4851729D6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62BA68E-D137-4509-1C8A-8D55FFDA9A20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66938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jellyfish in the water&#10;&#10;Description automatically generated with low confidence">
            <a:extLst>
              <a:ext uri="{FF2B5EF4-FFF2-40B4-BE49-F238E27FC236}">
                <a16:creationId xmlns:a16="http://schemas.microsoft.com/office/drawing/2014/main" id="{210B9F1E-5488-24C8-90FA-830FD8962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7594"/>
            <a:ext cx="12191999" cy="68655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453FCF8-309F-3505-8107-707F5D46B225}"/>
              </a:ext>
            </a:extLst>
          </p:cNvPr>
          <p:cNvSpPr/>
          <p:nvPr userDrawn="1"/>
        </p:nvSpPr>
        <p:spPr>
          <a:xfrm>
            <a:off x="0" y="4460358"/>
            <a:ext cx="12192000" cy="239764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0078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229252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8725C4-9B37-D711-AC66-2CD8B6FFF846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rgbClr val="283583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09A531B-E50B-F9EA-2291-A121A23B4205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DBDCA6D-E8E6-F3B6-BE47-F498E4623F04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8F5D2D01-AC0D-CEB9-D8C6-EF220AF2F2FC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53C396A-4B55-1A7A-438A-DE0C0408CCB1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D4B44FF-C874-D175-C8B1-DDFFDF38FB9C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C1EC4B0-CF85-EB57-072A-F8F680C8CAE9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3B8E472-AC31-82CE-7436-CD7DF356CA2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E8913B0-0E33-E1B9-0524-8348307E95F9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C984527-DB6A-58DA-22BA-FDF3E15DC8A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EEDCF02-4CD4-B12A-8E56-EF875EDE7F65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612DEDA-8616-E1C8-F6B3-1975746F583E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360EF57-35D1-793A-F2E2-F577E1EE8AF1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B035DAD-5CED-7C44-2ED9-D96B7669D06B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BAD2FA7-54E3-3A31-B21E-142A1A5D6AC5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020CA1B6-651A-87A8-503E-6B318ED59E3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0A684AC-B122-6A5C-E965-3A2C08EF473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6550B74-2C75-3350-D1D1-733AE714E37E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36EB06A-1E32-5AFB-1E5B-7D232340C5FE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63CEB34-72AA-68AF-FBE3-D61B48BF7BDC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598C5B6-8D06-D584-3454-64E1236DD1E9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8AF9115A-2EE8-739B-4269-6037DC256BAD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8428263-DFE0-A726-0D2E-E6A62424708A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6537BCA-44FC-8205-61E0-FF9E1A2F2253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F3C33E3E-5784-8932-B838-E1E4CE9440D4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A6A8992-6B7D-5C27-7801-1FC70406D9AC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70804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jellyfish in the water&#10;&#10;Description automatically generated with low confidence">
            <a:extLst>
              <a:ext uri="{FF2B5EF4-FFF2-40B4-BE49-F238E27FC236}">
                <a16:creationId xmlns:a16="http://schemas.microsoft.com/office/drawing/2014/main" id="{1599A84A-701C-C5B7-DDD5-8389FA479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DBA84DA-10ED-9AB6-9E44-920116362AA2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6B647C-B7E5-DCB9-E1BF-EBC2700E2482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CE2F9A7-A7F6-ABBA-EE34-4CFEBA5786C1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BE017ED-F643-7B28-8584-07569B500269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5242BF7-CB87-EE0F-332D-DAB95F0AECE0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79705E0-33CE-416B-D7CC-CD700B1A9A15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B8AE306-C245-DDD8-0BE6-4EAD963F69A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D3F1373-9FDB-3E02-E405-05929AE59F4B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4BAE5BD-76F9-D5AC-8EF6-261BAE08ED4F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61C64DE-EF60-D2FA-843A-F980B237D27F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3742200-39CE-0482-4E3E-D5F9E83A62FF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CA25E71-5059-7ECD-A4E3-F6ECB7CBBAF2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68F84A8-1DDE-4FA8-9085-548CCF5B28DB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12DF374-401C-380F-4E0B-5423BCA23F4F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D799A69-0042-912C-B6F4-0DFE7199358D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47FD632-1F4C-8A32-2A8F-7604CA0D8FD6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8CA443-58F6-811E-26FC-D9F5918B2138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542E559-B193-BDC4-FA80-FD1B77029E83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2288E83-1D72-5969-FB3C-E9FF62E3D2B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1A1B9D7-0A72-4F6C-752D-5901921EA51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24713C4-F171-EE01-1CED-12EE3B14186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B77580D-D24F-32A6-8999-EF470CEBDB5C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98B2687-A01B-0A09-A146-7D06FE83B56C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A4FEF4-B29E-DECB-A9F4-CBDDB95C7432}"/>
              </a:ext>
            </a:extLst>
          </p:cNvPr>
          <p:cNvGrpSpPr/>
          <p:nvPr/>
        </p:nvGrpSpPr>
        <p:grpSpPr>
          <a:xfrm>
            <a:off x="-1685124" y="1631151"/>
            <a:ext cx="4928087" cy="3595699"/>
            <a:chOff x="996318" y="2386212"/>
            <a:chExt cx="3208030" cy="234068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A3B046-424D-0F3A-E586-61D6A1EA9F32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8CC6EC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7ADA73-F4BE-83FF-A51D-F7840A2BB46D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283583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C5C27C-3EDA-77E0-32A4-1EC6B5B8A47D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chemeClr val="accent1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06" y="2560577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304" y="3694999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A5019B-26C2-40E3-E6F2-BAB9C17205E8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05D5EA0-4B3E-8069-9184-AAD6EFD91D07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D396BDE-8603-D392-6643-68A315729E80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19726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 descr="A jellyfish in the water&#10;&#10;Description automatically generated with low confidence">
            <a:extLst>
              <a:ext uri="{FF2B5EF4-FFF2-40B4-BE49-F238E27FC236}">
                <a16:creationId xmlns:a16="http://schemas.microsoft.com/office/drawing/2014/main" id="{16D76F23-1AE2-9B3E-CB82-96E9345DAD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E32E3AA-9DB8-0027-A63B-574F41F6B93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58B9EEF-BA82-BD91-C911-528C66CBBB5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EED8FEE-E24C-D7DD-0773-72A7A8F2FE53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F597E0A-FCA3-C8BE-EE17-87AE785EDCF2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3AD23C4-EE9F-F4ED-D09F-D3B160148818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02FE533E-8DB2-7874-A746-7B4E2734D46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C22D0046-4495-4CF9-4A24-8FBF2949871C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7B7A9F9-A09E-5419-6CA7-73A86BCABD50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34E572A-0A3E-6BBD-FE3C-AED73004FF3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B6C9442-C5FA-420E-5565-7149227DA503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1D996EAB-D7EC-6C54-BB76-524080F06141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BE50A27C-6435-2FBC-C86E-EA2B41D2545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E348986-F4ED-DD79-4CF2-B8FB1F65598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935ADA4-64B4-FC31-4964-49A5AD3AF8F9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1FB43CC-47A7-3026-BC26-594884C948E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22AB8D3-7334-F463-6EB7-8765252618EC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7C9487A-32EE-D80D-2661-108D96D78002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6FC6052-E318-D208-47AF-9D93AB8E0666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B8DF7C0-7A52-CAB3-A8C1-E776D755AC0D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EDD979E-573A-9068-10CA-3AD7121C66FA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539C581-BA8D-34B5-BEF7-45BAE0304590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DFB95B3-8E34-0879-2129-10BBB233C7FE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CED7E54-278A-C65B-184D-CAEA54651A1B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012C487E-53F4-5E21-BC3B-18C496AA8E99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9FBF80FE-60C0-57C8-9E9D-4DD8124D6D75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BB4D7C2-6C4D-C72F-6C27-320F505B7B41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1C5C0D8-F4DD-EF20-44BE-6022C1B16E71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96D35E7-7B00-2CB7-38BA-79AA60A3FDE8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C376D5C-7CB6-D890-4C29-85F86656363A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2FA03AE-CE2A-A608-1509-73F4D483252D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9279E8-D399-C8E6-EA21-854F8C13FDFF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EBD9CF7-4422-4280-37EF-A9DBF0B33ED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C3648B-A1E1-8276-D8F4-78BDB758885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139E398-B09B-AFFE-0155-237658DACAA5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4B139EE-47D1-4F69-91DB-FF6141C9370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6D00CE-0892-0A35-26D0-48A19B651C7E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43D723C-5D5B-43AA-FE48-E2D11A073574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B11A857-D31F-C157-BD11-4A49B9F1BE60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E421061-074A-4C6D-88A0-9049569A3E2A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8548C9-4A67-4FBE-976D-4074E501BDD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285B52C-48CC-A317-69C2-CFB27EB6142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A2780EC-EE70-98C3-C15C-6DFDC8F70542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6490212-2DEA-25CA-E641-C5B30C44AA97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15B27AA-5847-740B-0D4F-3B2E729804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01E5F67-29AB-3B16-001D-B3CCCC53C97D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FB64040-5C84-CA27-8228-C3A83B8F8657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8ABB1A0-9792-17A7-A8D8-3D4CEEE96896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775FDD4-ACAE-3E4E-90B0-0E55150A2936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3D34E70-DB6A-8FC6-9A31-2E9469257DF9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5A4FEF4-B29E-DECB-A9F4-CBDDB95C7432}"/>
              </a:ext>
            </a:extLst>
          </p:cNvPr>
          <p:cNvGrpSpPr/>
          <p:nvPr/>
        </p:nvGrpSpPr>
        <p:grpSpPr>
          <a:xfrm>
            <a:off x="-1685124" y="1631151"/>
            <a:ext cx="4928087" cy="3595699"/>
            <a:chOff x="996318" y="2386212"/>
            <a:chExt cx="3208030" cy="2340687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EA3B046-424D-0F3A-E586-61D6A1EA9F32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8CC6EC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E7ADA73-F4BE-83FF-A51D-F7840A2BB46D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283583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C5C27C-3EDA-77E0-32A4-1EC6B5B8A47D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chemeClr val="accent1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1006" y="2560577"/>
            <a:ext cx="2576928" cy="1017108"/>
          </a:xfrm>
        </p:spPr>
        <p:txBody>
          <a:bodyPr>
            <a:normAutofit/>
          </a:bodyPr>
          <a:lstStyle>
            <a:lvl1pPr algn="ctr">
              <a:defRPr sz="26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304" y="3694999"/>
            <a:ext cx="2576928" cy="47151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C9F61BC-2A07-BC8A-401F-AFBF4A88C6F0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5969099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218FDFB-64F5-DB9F-14A5-2D278FE6EADE}"/>
              </a:ext>
            </a:extLst>
          </p:cNvPr>
          <p:cNvSpPr/>
          <p:nvPr userDrawn="1"/>
        </p:nvSpPr>
        <p:spPr>
          <a:xfrm>
            <a:off x="1" y="0"/>
            <a:ext cx="2222752" cy="6858000"/>
          </a:xfrm>
          <a:prstGeom prst="rect">
            <a:avLst/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1C5C0D8-F4DD-EF20-44BE-6022C1B16E71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96D35E7-7B00-2CB7-38BA-79AA60A3FDE8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C376D5C-7CB6-D890-4C29-85F86656363A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2FA03AE-CE2A-A608-1509-73F4D483252D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9279E8-D399-C8E6-EA21-854F8C13FDFF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EBD9CF7-4422-4280-37EF-A9DBF0B33ED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C3648B-A1E1-8276-D8F4-78BDB758885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139E398-B09B-AFFE-0155-237658DACAA5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4B139EE-47D1-4F69-91DB-FF6141C9370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6D00CE-0892-0A35-26D0-48A19B651C7E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43D723C-5D5B-43AA-FE48-E2D11A073574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B11A857-D31F-C157-BD11-4A49B9F1BE60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E421061-074A-4C6D-88A0-9049569A3E2A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08548C9-4A67-4FBE-976D-4074E501BDD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285B52C-48CC-A317-69C2-CFB27EB6142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A2780EC-EE70-98C3-C15C-6DFDC8F70542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6490212-2DEA-25CA-E641-C5B30C44AA97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15B27AA-5847-740B-0D4F-3B2E729804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01E5F67-29AB-3B16-001D-B3CCCC53C97D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FB64040-5C84-CA27-8228-C3A83B8F8657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8ABB1A0-9792-17A7-A8D8-3D4CEEE96896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775FDD4-ACAE-3E4E-90B0-0E55150A2936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3D34E70-DB6A-8FC6-9A31-2E9469257DF9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3C9F61BC-2A07-BC8A-401F-AFBF4A88C6F0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BC5C4BC-E18D-9FC1-EE89-40223D465112}"/>
              </a:ext>
            </a:extLst>
          </p:cNvPr>
          <p:cNvGrpSpPr/>
          <p:nvPr userDrawn="1"/>
        </p:nvGrpSpPr>
        <p:grpSpPr>
          <a:xfrm>
            <a:off x="205807" y="2301974"/>
            <a:ext cx="3208030" cy="2340687"/>
            <a:chOff x="996318" y="2386212"/>
            <a:chExt cx="3208030" cy="2340687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867A942-3B2F-553A-9E40-4691D61E2114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FDC444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6CEC6B1-8C4F-9A0C-0DD5-E93AE7CCF6CF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4DAA3B-96B2-CE69-61C3-703A5FFB5253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179E516C-CD9F-C51F-581A-BADF2EEE89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593" y="2831761"/>
            <a:ext cx="1724789" cy="684449"/>
          </a:xfrm>
        </p:spPr>
        <p:txBody>
          <a:bodyPr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5EAD5569-8055-3FD7-9B3C-F3C630424B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87593" y="3429000"/>
            <a:ext cx="1677956" cy="6844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7714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Nulla quis lorem ut libero malesuada feugiat. Curabitur non nulla sit amet nisl tempus convallis quis ac lectus.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EE9A4EF-A011-1744-9932-D74E1968F6E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441325"/>
            <a:ext cx="5437188" cy="5759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091C71F5-B0A7-8745-8F8B-E636D57FA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anchor="b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AD4010-0096-6B46-B74C-E77670FCDEA8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94271B-1588-8B83-AF63-19A63442EBFE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1DE700C-1910-562C-10A1-64B539DF6334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B3AC93-D5FF-B99A-0595-51AF5CAB98E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9399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6542C7-05D6-AC28-6192-04F65C7638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F397C6E-D5EE-A32E-EAD3-5C0FC3C4FC50}"/>
              </a:ext>
            </a:extLst>
          </p:cNvPr>
          <p:cNvSpPr/>
          <p:nvPr userDrawn="1"/>
        </p:nvSpPr>
        <p:spPr>
          <a:xfrm>
            <a:off x="3709686" y="-7594"/>
            <a:ext cx="8482314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413752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635149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B9B24A-BC3A-6C3E-874E-FC73DCEF667E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6F12D8A-9031-AFA8-33AA-50F5EF970D54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2FE9D4-ABBA-C273-A62B-82AF8B252A92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31A958F-ED4B-D303-F131-9D247A28A0BB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B3FFB51-84EC-4603-5AE0-080C73B81015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949749-DCF9-3553-98D7-4668D63D6DDC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ACEFEA-9B05-70D0-5FCE-1DA642A74A9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57E1A35-7EF6-787C-912E-E9B67F1447BC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BB586-D950-C0EC-9D71-30CF42FAD79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A955C6-DDE9-C02B-FE82-0565C6CBDCB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E4D4F6E-62F4-00E6-3A54-49B72E2B65AE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0621E43-AE39-E271-D035-99107930E995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851A4B7-AA30-65CC-CE96-6C2295161A6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9818452-14AC-168F-2003-6FAFA6730E04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D6C6A14-9BD3-33D2-CFDF-A19EC39F454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C6AEAF4-446C-B8D8-A63C-582024977176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2BF03BF-1030-50B6-3062-BAB2D7D0826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A033DF-BCF6-E3E5-0FAA-EEECA3E262B3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9C23C88-2E21-388A-0776-A68E3797461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BC43A5-80E3-D72A-EC8B-D7937DAB623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17534CD-7670-2855-14DC-814FAC3C7CF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71B7988-3E17-F6CD-1888-73C6280E7BC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7D938B8-8C5B-F1B3-4D3D-40A5F18027F8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F436D96-BF30-912B-450D-834FEC982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7843" y="2413752"/>
            <a:ext cx="7628859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02B2F4-56C8-0507-2EA2-405A8DBFE64B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AF9DC6C-97EA-FABA-FA0E-D85402456B78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6C7FA4-A6BF-70F1-2109-424A38ED67B5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24990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B43816-B6B9-D484-1446-84B66BAD60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C587FA4-1FA6-B43C-F308-FE1E4B681555}"/>
              </a:ext>
            </a:extLst>
          </p:cNvPr>
          <p:cNvSpPr/>
          <p:nvPr userDrawn="1"/>
        </p:nvSpPr>
        <p:spPr>
          <a:xfrm>
            <a:off x="3090672" y="-7594"/>
            <a:ext cx="9101328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DC9BE5C-F613-92F8-BA46-9DA95DA7F26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FC9416D-7210-E141-4C32-1CC5F3A9EA0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660534B-F956-0D02-2DEB-46FF61ABEF10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79F5A59-2097-896F-209A-60EF9B855CB4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6A775B3-13B0-B56B-652E-1B6A35A37C20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4E39DD0-6C89-BE61-CBCA-4B131A512CA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09E3128-7CB5-E1A3-735D-0CF918C7446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5EF933E-133A-13BA-DFF6-16A9E551DFD9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32867A-F54D-1F0F-D626-3C2D423D9F9A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9AA632C-9E65-1B6D-56EB-CDE6AD53958A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CFABD5C-57F4-F71D-9C66-55DC2F362981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8F39323-1485-B574-0582-82E26C8A52A0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54899B-D88E-0CE9-FC64-33EBEE04DE3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FB0F1A6-1975-2DDE-A029-66FE02AC3A9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C43AAF1-8134-70E8-5032-A4FCF846192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767E454-D8AA-725A-752E-FCC0A349B88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886FEB8-EDC7-2560-E250-4F3F6C4008C3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0876A56-6267-06BB-E021-8FDF3D27A924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C360F94-7BE1-5A81-79A7-B3F39A088317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7AA0EB0-6111-17E4-DDBD-9113B9EC9AB1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DD6A51B-6C7E-4ED0-0EE1-F4FACA413BC5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2778B95-72B2-2B0F-4E00-E3BFDE35A2B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E9C246-224F-F173-BBF8-74DF53689D39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6C604D41-E27C-22C0-484E-4D777533D74C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F294A4C9-88D2-6E17-99F1-3EE795AA833F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7707493-9751-C3F4-FCB7-188A05F23312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6" y="2309150"/>
            <a:ext cx="2266058" cy="1212088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4" y="3635149"/>
            <a:ext cx="2266058" cy="69378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B9B24A-BC3A-6C3E-874E-FC73DCEF667E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6F12D8A-9031-AFA8-33AA-50F5EF970D54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2FE9D4-ABBA-C273-A62B-82AF8B252A92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31A958F-ED4B-D303-F131-9D247A28A0BB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B3FFB51-84EC-4603-5AE0-080C73B81015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949749-DCF9-3553-98D7-4668D63D6DDC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ACEFEA-9B05-70D0-5FCE-1DA642A74A9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57E1A35-7EF6-787C-912E-E9B67F1447BC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BB586-D950-C0EC-9D71-30CF42FAD79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A955C6-DDE9-C02B-FE82-0565C6CBDCB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E4D4F6E-62F4-00E6-3A54-49B72E2B65AE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0621E43-AE39-E271-D035-99107930E995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851A4B7-AA30-65CC-CE96-6C2295161A6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9818452-14AC-168F-2003-6FAFA6730E04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D6C6A14-9BD3-33D2-CFDF-A19EC39F454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C6AEAF4-446C-B8D8-A63C-582024977176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2BF03BF-1030-50B6-3062-BAB2D7D0826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A033DF-BCF6-E3E5-0FAA-EEECA3E262B3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9C23C88-2E21-388A-0776-A68E3797461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BC43A5-80E3-D72A-EC8B-D7937DAB623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17534CD-7670-2855-14DC-814FAC3C7CF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71B7988-3E17-F6CD-1888-73C6280E7BC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7D938B8-8C5B-F1B3-4D3D-40A5F18027F8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F436D96-BF30-912B-450D-834FEC982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7843" y="2413752"/>
            <a:ext cx="7628859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02B2F4-56C8-0507-2EA2-405A8DBFE64B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23273889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21DCAB3-A133-EBDE-A7E0-711B9BA58FA0}"/>
              </a:ext>
            </a:extLst>
          </p:cNvPr>
          <p:cNvSpPr/>
          <p:nvPr userDrawn="1"/>
        </p:nvSpPr>
        <p:spPr>
          <a:xfrm>
            <a:off x="0" y="0"/>
            <a:ext cx="3703185" cy="6858000"/>
          </a:xfrm>
          <a:prstGeom prst="rect">
            <a:avLst/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B9B24A-BC3A-6C3E-874E-FC73DCEF667E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6F12D8A-9031-AFA8-33AA-50F5EF970D54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2FE9D4-ABBA-C273-A62B-82AF8B252A92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31A958F-ED4B-D303-F131-9D247A28A0BB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B3FFB51-84EC-4603-5AE0-080C73B81015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949749-DCF9-3553-98D7-4668D63D6DDC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ACEFEA-9B05-70D0-5FCE-1DA642A74A9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57E1A35-7EF6-787C-912E-E9B67F1447BC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BB586-D950-C0EC-9D71-30CF42FAD79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A955C6-DDE9-C02B-FE82-0565C6CBDCB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E4D4F6E-62F4-00E6-3A54-49B72E2B65AE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0621E43-AE39-E271-D035-99107930E995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851A4B7-AA30-65CC-CE96-6C2295161A6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9818452-14AC-168F-2003-6FAFA6730E04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D6C6A14-9BD3-33D2-CFDF-A19EC39F454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C6AEAF4-446C-B8D8-A63C-582024977176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2BF03BF-1030-50B6-3062-BAB2D7D0826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A033DF-BCF6-E3E5-0FAA-EEECA3E262B3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9C23C88-2E21-388A-0776-A68E3797461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BC43A5-80E3-D72A-EC8B-D7937DAB623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17534CD-7670-2855-14DC-814FAC3C7CF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71B7988-3E17-F6CD-1888-73C6280E7BC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7D938B8-8C5B-F1B3-4D3D-40A5F18027F8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C44214F-1D52-34A1-7CEB-76A8021B077C}"/>
              </a:ext>
            </a:extLst>
          </p:cNvPr>
          <p:cNvGrpSpPr/>
          <p:nvPr userDrawn="1"/>
        </p:nvGrpSpPr>
        <p:grpSpPr>
          <a:xfrm>
            <a:off x="1641068" y="2301974"/>
            <a:ext cx="3208030" cy="2340687"/>
            <a:chOff x="996318" y="2386212"/>
            <a:chExt cx="3208030" cy="2340687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34B724E-5311-3AF9-E126-5D2F4990FEAD}"/>
                </a:ext>
              </a:extLst>
            </p:cNvPr>
            <p:cNvSpPr/>
            <p:nvPr/>
          </p:nvSpPr>
          <p:spPr>
            <a:xfrm>
              <a:off x="996318" y="2386212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FDC444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907008E-C17D-06A4-DE6A-956FB87FB8F3}"/>
                </a:ext>
              </a:extLst>
            </p:cNvPr>
            <p:cNvSpPr/>
            <p:nvPr/>
          </p:nvSpPr>
          <p:spPr>
            <a:xfrm>
              <a:off x="1840776" y="2392764"/>
              <a:ext cx="2363572" cy="2334135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>
                <a:alpha val="40000"/>
              </a:srgbClr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2601A3-20DE-D66B-21C9-560273FC2B98}"/>
                </a:ext>
              </a:extLst>
            </p:cNvPr>
            <p:cNvSpPr/>
            <p:nvPr/>
          </p:nvSpPr>
          <p:spPr>
            <a:xfrm>
              <a:off x="2178104" y="2724750"/>
              <a:ext cx="1677956" cy="1657058"/>
            </a:xfrm>
            <a:custGeom>
              <a:avLst/>
              <a:gdLst>
                <a:gd name="connsiteX0" fmla="*/ 1850235 w 3700469"/>
                <a:gd name="connsiteY0" fmla="*/ 3654382 h 3654382"/>
                <a:gd name="connsiteX1" fmla="*/ 3700469 w 3700469"/>
                <a:gd name="connsiteY1" fmla="*/ 1827191 h 3654382"/>
                <a:gd name="connsiteX2" fmla="*/ 1850235 w 3700469"/>
                <a:gd name="connsiteY2" fmla="*/ 0 h 3654382"/>
                <a:gd name="connsiteX3" fmla="*/ 0 w 3700469"/>
                <a:gd name="connsiteY3" fmla="*/ 1827191 h 3654382"/>
                <a:gd name="connsiteX4" fmla="*/ 1850235 w 3700469"/>
                <a:gd name="connsiteY4" fmla="*/ 3654382 h 3654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00469" h="3654382">
                  <a:moveTo>
                    <a:pt x="1850235" y="3654382"/>
                  </a:moveTo>
                  <a:cubicBezTo>
                    <a:pt x="2872133" y="3654382"/>
                    <a:pt x="3700469" y="2836348"/>
                    <a:pt x="3700469" y="1827191"/>
                  </a:cubicBezTo>
                  <a:cubicBezTo>
                    <a:pt x="3700469" y="818034"/>
                    <a:pt x="2872065" y="0"/>
                    <a:pt x="1850235" y="0"/>
                  </a:cubicBezTo>
                  <a:cubicBezTo>
                    <a:pt x="828404" y="0"/>
                    <a:pt x="0" y="818034"/>
                    <a:pt x="0" y="1827191"/>
                  </a:cubicBezTo>
                  <a:cubicBezTo>
                    <a:pt x="0" y="2836348"/>
                    <a:pt x="828404" y="3654382"/>
                    <a:pt x="1850235" y="3654382"/>
                  </a:cubicBezTo>
                </a:path>
              </a:pathLst>
            </a:custGeom>
            <a:solidFill>
              <a:srgbClr val="55B4E6"/>
            </a:solidFill>
            <a:ln w="67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55B4E6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2854" y="2831761"/>
            <a:ext cx="1724789" cy="684449"/>
          </a:xfrm>
        </p:spPr>
        <p:txBody>
          <a:bodyPr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22854" y="3429000"/>
            <a:ext cx="1677956" cy="6844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9B47CBAD-EA18-0E5E-565B-E2FF814F5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6426" y="2413752"/>
            <a:ext cx="6440276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15C4347-B541-C340-D73E-4BFB73867B8A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3922820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7D24C76-87C4-A77E-1426-EE1FC431DAAF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rgbClr val="283583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34683102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wimming, ocean floor&#10;&#10;Description automatically generated">
            <a:extLst>
              <a:ext uri="{FF2B5EF4-FFF2-40B4-BE49-F238E27FC236}">
                <a16:creationId xmlns:a16="http://schemas.microsoft.com/office/drawing/2014/main" id="{55F93338-734A-F44A-E5C0-0B51278EC7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C3292F5-44CA-D141-FE9A-9D77E831F59C}"/>
              </a:ext>
            </a:extLst>
          </p:cNvPr>
          <p:cNvSpPr/>
          <p:nvPr userDrawn="1"/>
        </p:nvSpPr>
        <p:spPr>
          <a:xfrm>
            <a:off x="-1" y="6477588"/>
            <a:ext cx="2478168" cy="271870"/>
          </a:xfrm>
          <a:custGeom>
            <a:avLst/>
            <a:gdLst>
              <a:gd name="connsiteX0" fmla="*/ 0 w 2478168"/>
              <a:gd name="connsiteY0" fmla="*/ 0 h 271870"/>
              <a:gd name="connsiteX1" fmla="*/ 2342233 w 2478168"/>
              <a:gd name="connsiteY1" fmla="*/ 0 h 271870"/>
              <a:gd name="connsiteX2" fmla="*/ 2478168 w 2478168"/>
              <a:gd name="connsiteY2" fmla="*/ 135935 h 271870"/>
              <a:gd name="connsiteX3" fmla="*/ 2478167 w 2478168"/>
              <a:gd name="connsiteY3" fmla="*/ 135935 h 271870"/>
              <a:gd name="connsiteX4" fmla="*/ 2342232 w 2478168"/>
              <a:gd name="connsiteY4" fmla="*/ 271870 h 271870"/>
              <a:gd name="connsiteX5" fmla="*/ 0 w 2478168"/>
              <a:gd name="connsiteY5" fmla="*/ 271869 h 271870"/>
              <a:gd name="connsiteX6" fmla="*/ 0 w 2478168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78168" h="271870">
                <a:moveTo>
                  <a:pt x="0" y="0"/>
                </a:moveTo>
                <a:lnTo>
                  <a:pt x="2342233" y="0"/>
                </a:lnTo>
                <a:cubicBezTo>
                  <a:pt x="2417308" y="0"/>
                  <a:pt x="2478168" y="60860"/>
                  <a:pt x="2478168" y="135935"/>
                </a:cubicBezTo>
                <a:lnTo>
                  <a:pt x="2478167" y="135935"/>
                </a:lnTo>
                <a:cubicBezTo>
                  <a:pt x="2478167" y="211010"/>
                  <a:pt x="2417307" y="271870"/>
                  <a:pt x="2342232" y="271870"/>
                </a:cubicBezTo>
                <a:lnTo>
                  <a:pt x="0" y="27186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2646316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95922"/>
            <a:ext cx="4190526" cy="751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12434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50353-FD7F-3B2B-713C-7F0A749FA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348" y="357213"/>
            <a:ext cx="9397409" cy="36512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4ADCB4-0471-4359-21E0-92E03B9A4D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6348" y="2413752"/>
            <a:ext cx="9397409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FC2664-590D-C6C3-B02F-72CC75710B85}"/>
              </a:ext>
            </a:extLst>
          </p:cNvPr>
          <p:cNvSpPr txBox="1"/>
          <p:nvPr userDrawn="1"/>
        </p:nvSpPr>
        <p:spPr>
          <a:xfrm>
            <a:off x="260224" y="6477383"/>
            <a:ext cx="1625726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>
                <a:solidFill>
                  <a:srgbClr val="283583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STRATEGY 2023-2025</a:t>
            </a:r>
          </a:p>
        </p:txBody>
      </p:sp>
    </p:spTree>
    <p:extLst>
      <p:ext uri="{BB962C8B-B14F-4D97-AF65-F5344CB8AC3E}">
        <p14:creationId xmlns:p14="http://schemas.microsoft.com/office/powerpoint/2010/main" val="16495811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cean floor&#10;&#10;Description automatically generated">
            <a:extLst>
              <a:ext uri="{FF2B5EF4-FFF2-40B4-BE49-F238E27FC236}">
                <a16:creationId xmlns:a16="http://schemas.microsoft.com/office/drawing/2014/main" id="{9D9BE03A-4FDF-590B-1A91-B41FA4BC15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" y="0"/>
            <a:ext cx="12186584" cy="68580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2C268E5-5E93-1BC6-80D2-95E94B0DA1C3}"/>
              </a:ext>
            </a:extLst>
          </p:cNvPr>
          <p:cNvGrpSpPr/>
          <p:nvPr userDrawn="1"/>
        </p:nvGrpSpPr>
        <p:grpSpPr>
          <a:xfrm>
            <a:off x="649593" y="611446"/>
            <a:ext cx="3021218" cy="1580760"/>
            <a:chOff x="442593" y="368967"/>
            <a:chExt cx="3021218" cy="158076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6C66A43-9053-CD57-96DF-5AF640568E6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A9DFE4-0248-553D-6A73-25B92E7D8027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ADF9B15-B220-08AF-1602-C7901174F6EF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86D7A0B-0B1E-CC2A-4A97-2EFF680AC43D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2F86C9-0944-920B-9A96-D9DF03D3759A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80F7F-60F9-EE1E-3F73-015407199C7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E40DED8-98C8-3CC4-FC45-A8224AC0B93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C7DD25-D563-BBBE-3B49-D889209CDFE3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62AD4D-5450-3C51-80EA-FFEBA2584291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D1AA603-428F-4FC8-8C2C-D036ABC764A0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1E88753-F0C3-3E4E-93AC-041F4B309E1F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71AE00-72A2-FDD9-DD4B-4A27F3151503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4E92E4E-2ACA-C80C-E2BD-DD687DDD5E57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61368B-D23A-9BFB-EADC-C66417E2E69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F773492-5FF2-550C-2699-C53A612F90D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49AB0C-05F9-559A-B62C-6574965078DC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00C94E8-A04D-917B-FB46-D124974EB249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0A600F7-50E2-BD77-430A-570B0587A54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7E4290A-748C-2584-070C-C49109E40C9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D7C7A4-796C-3B49-ADA2-A797A5412E2E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9FCF071-13A7-F53B-6132-3D0199124392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7F55736-1FFD-44C3-3151-E423AD3B03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D824E14-8653-266B-941E-88D671F860C9}"/>
              </a:ext>
            </a:extLst>
          </p:cNvPr>
          <p:cNvSpPr/>
          <p:nvPr userDrawn="1"/>
        </p:nvSpPr>
        <p:spPr>
          <a:xfrm flipH="1">
            <a:off x="8491856" y="5843358"/>
            <a:ext cx="3700144" cy="508544"/>
          </a:xfrm>
          <a:custGeom>
            <a:avLst/>
            <a:gdLst>
              <a:gd name="connsiteX0" fmla="*/ 3445872 w 3700144"/>
              <a:gd name="connsiteY0" fmla="*/ 0 h 508544"/>
              <a:gd name="connsiteX1" fmla="*/ 0 w 3700144"/>
              <a:gd name="connsiteY1" fmla="*/ 0 h 508544"/>
              <a:gd name="connsiteX2" fmla="*/ 0 w 3700144"/>
              <a:gd name="connsiteY2" fmla="*/ 508544 h 508544"/>
              <a:gd name="connsiteX3" fmla="*/ 3445872 w 3700144"/>
              <a:gd name="connsiteY3" fmla="*/ 508544 h 508544"/>
              <a:gd name="connsiteX4" fmla="*/ 3700144 w 3700144"/>
              <a:gd name="connsiteY4" fmla="*/ 254272 h 508544"/>
              <a:gd name="connsiteX5" fmla="*/ 3445872 w 3700144"/>
              <a:gd name="connsiteY5" fmla="*/ 0 h 50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00144" h="508544">
                <a:moveTo>
                  <a:pt x="3445872" y="0"/>
                </a:moveTo>
                <a:lnTo>
                  <a:pt x="0" y="0"/>
                </a:lnTo>
                <a:lnTo>
                  <a:pt x="0" y="508544"/>
                </a:lnTo>
                <a:lnTo>
                  <a:pt x="3445872" y="508544"/>
                </a:lnTo>
                <a:cubicBezTo>
                  <a:pt x="3586303" y="508544"/>
                  <a:pt x="3700144" y="394703"/>
                  <a:pt x="3700144" y="254272"/>
                </a:cubicBezTo>
                <a:cubicBezTo>
                  <a:pt x="3700144" y="113841"/>
                  <a:pt x="3586303" y="0"/>
                  <a:pt x="3445872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61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A77665-51AC-E492-C67C-B1CCD76F3F2C}"/>
              </a:ext>
            </a:extLst>
          </p:cNvPr>
          <p:cNvSpPr txBox="1"/>
          <p:nvPr userDrawn="1"/>
        </p:nvSpPr>
        <p:spPr>
          <a:xfrm>
            <a:off x="9072726" y="5974685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400" b="1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  <a:endParaRPr lang="en-US" sz="14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39D46DC-C997-BE2E-B677-26C45853937E}"/>
              </a:ext>
            </a:extLst>
          </p:cNvPr>
          <p:cNvSpPr/>
          <p:nvPr userDrawn="1"/>
        </p:nvSpPr>
        <p:spPr>
          <a:xfrm>
            <a:off x="1" y="5612602"/>
            <a:ext cx="6622605" cy="989394"/>
          </a:xfrm>
          <a:custGeom>
            <a:avLst/>
            <a:gdLst>
              <a:gd name="connsiteX0" fmla="*/ 0 w 8411229"/>
              <a:gd name="connsiteY0" fmla="*/ 0 h 1256608"/>
              <a:gd name="connsiteX1" fmla="*/ 7782925 w 8411229"/>
              <a:gd name="connsiteY1" fmla="*/ 0 h 1256608"/>
              <a:gd name="connsiteX2" fmla="*/ 8411229 w 8411229"/>
              <a:gd name="connsiteY2" fmla="*/ 628304 h 1256608"/>
              <a:gd name="connsiteX3" fmla="*/ 8411228 w 8411229"/>
              <a:gd name="connsiteY3" fmla="*/ 628304 h 1256608"/>
              <a:gd name="connsiteX4" fmla="*/ 7782924 w 8411229"/>
              <a:gd name="connsiteY4" fmla="*/ 1256608 h 1256608"/>
              <a:gd name="connsiteX5" fmla="*/ 0 w 8411229"/>
              <a:gd name="connsiteY5" fmla="*/ 1256607 h 1256608"/>
              <a:gd name="connsiteX6" fmla="*/ 0 w 8411229"/>
              <a:gd name="connsiteY6" fmla="*/ 0 h 125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11229" h="1256608">
                <a:moveTo>
                  <a:pt x="0" y="0"/>
                </a:moveTo>
                <a:lnTo>
                  <a:pt x="7782925" y="0"/>
                </a:lnTo>
                <a:cubicBezTo>
                  <a:pt x="8129928" y="0"/>
                  <a:pt x="8411229" y="281301"/>
                  <a:pt x="8411229" y="628304"/>
                </a:cubicBezTo>
                <a:lnTo>
                  <a:pt x="8411228" y="628304"/>
                </a:lnTo>
                <a:cubicBezTo>
                  <a:pt x="8411228" y="975307"/>
                  <a:pt x="8129927" y="1256608"/>
                  <a:pt x="7782924" y="1256608"/>
                </a:cubicBezTo>
                <a:lnTo>
                  <a:pt x="0" y="125660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8CC6EC"/>
              </a:gs>
              <a:gs pos="100000">
                <a:srgbClr val="CAE1F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E68C8E-3094-D721-DF63-91D1CB0798D1}"/>
              </a:ext>
            </a:extLst>
          </p:cNvPr>
          <p:cNvGrpSpPr/>
          <p:nvPr userDrawn="1"/>
        </p:nvGrpSpPr>
        <p:grpSpPr>
          <a:xfrm>
            <a:off x="415398" y="5725511"/>
            <a:ext cx="5783052" cy="750087"/>
            <a:chOff x="415398" y="5725511"/>
            <a:chExt cx="5783052" cy="75008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2BFAAC5-B7F2-65AC-05BC-3BE8BDF09527}"/>
                </a:ext>
              </a:extLst>
            </p:cNvPr>
            <p:cNvSpPr/>
            <p:nvPr userDrawn="1"/>
          </p:nvSpPr>
          <p:spPr>
            <a:xfrm>
              <a:off x="3348277" y="5818254"/>
              <a:ext cx="147443" cy="82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CD3A9170-E2B3-EC2E-CA0D-3EBBC8FF50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98" y="5725511"/>
              <a:ext cx="5783052" cy="750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11639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44065D8-5A75-3241-938C-EADF396B98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8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66"/>
          </a:p>
        </p:txBody>
      </p:sp>
      <p:sp>
        <p:nvSpPr>
          <p:cNvPr id="3" name="Line">
            <a:extLst>
              <a:ext uri="{FF2B5EF4-FFF2-40B4-BE49-F238E27FC236}">
                <a16:creationId xmlns:a16="http://schemas.microsoft.com/office/drawing/2014/main" id="{AD065E19-38B4-6445-87B5-898B88815D27}"/>
              </a:ext>
            </a:extLst>
          </p:cNvPr>
          <p:cNvSpPr/>
          <p:nvPr userDrawn="1"/>
        </p:nvSpPr>
        <p:spPr>
          <a:xfrm>
            <a:off x="1166256" y="811389"/>
            <a:ext cx="11042973" cy="1"/>
          </a:xfrm>
          <a:prstGeom prst="line">
            <a:avLst/>
          </a:prstGeom>
          <a:ln w="15875">
            <a:solidFill>
              <a:schemeClr val="tx1"/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4" name="Line">
            <a:extLst>
              <a:ext uri="{FF2B5EF4-FFF2-40B4-BE49-F238E27FC236}">
                <a16:creationId xmlns:a16="http://schemas.microsoft.com/office/drawing/2014/main" id="{7E2A57AA-BCB4-5E4A-953C-35EB1A12246E}"/>
              </a:ext>
            </a:extLst>
          </p:cNvPr>
          <p:cNvSpPr/>
          <p:nvPr userDrawn="1"/>
        </p:nvSpPr>
        <p:spPr>
          <a:xfrm rot="10800000">
            <a:off x="0" y="805938"/>
            <a:ext cx="675083" cy="0"/>
          </a:xfrm>
          <a:prstGeom prst="line">
            <a:avLst/>
          </a:prstGeom>
          <a:ln w="15875">
            <a:solidFill>
              <a:schemeClr val="tx1"/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6C01056-C1F4-8A4E-B360-9CE552EAB26B}"/>
              </a:ext>
            </a:extLst>
          </p:cNvPr>
          <p:cNvSpPr/>
          <p:nvPr userDrawn="1"/>
        </p:nvSpPr>
        <p:spPr>
          <a:xfrm>
            <a:off x="15740" y="6606516"/>
            <a:ext cx="12193489" cy="1"/>
          </a:xfrm>
          <a:prstGeom prst="line">
            <a:avLst/>
          </a:prstGeom>
          <a:ln w="15875">
            <a:solidFill>
              <a:schemeClr val="tx1"/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F2169E-4314-A249-A916-74F73F9F61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FFFFFF"/>
                </a:solidFill>
              </a:defRPr>
            </a:lvl1pPr>
          </a:lstStyle>
          <a:p>
            <a:r>
              <a:rPr lang="en-GB" noProof="0" dirty="0"/>
              <a:t>SLIDE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C2F384-4FBF-104E-97A5-D8BA35B086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944" y="177966"/>
            <a:ext cx="1779104" cy="708390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7045D0F-1EF5-5648-866B-A4D0212BF8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1943" y="1064322"/>
            <a:ext cx="11339685" cy="5461774"/>
          </a:xfrm>
          <a:prstGeom prst="rect">
            <a:avLst/>
          </a:prstGeom>
        </p:spPr>
        <p:txBody>
          <a:bodyPr/>
          <a:lstStyle>
            <a:lvl1pPr>
              <a:defRPr sz="2250">
                <a:solidFill>
                  <a:srgbClr val="FFFFFF"/>
                </a:solidFill>
              </a:defRPr>
            </a:lvl1pPr>
            <a:lvl2pPr>
              <a:defRPr sz="1969">
                <a:solidFill>
                  <a:srgbClr val="FFFFFF"/>
                </a:solidFill>
              </a:defRPr>
            </a:lvl2pPr>
            <a:lvl3pPr>
              <a:defRPr sz="1828">
                <a:solidFill>
                  <a:srgbClr val="FFFFFF"/>
                </a:solidFill>
              </a:defRPr>
            </a:lvl3pPr>
            <a:lvl4pPr>
              <a:defRPr sz="1688">
                <a:solidFill>
                  <a:srgbClr val="FFFFFF"/>
                </a:solidFill>
              </a:defRPr>
            </a:lvl4pPr>
            <a:lvl5pPr>
              <a:defRPr sz="1617"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9310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89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3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49" tIns="32149" rIns="32149" bIns="32149"/>
          <a:lstStyle/>
          <a:p>
            <a:endParaRPr lang="en-GB" sz="1266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3" y="126147"/>
            <a:ext cx="1857805" cy="786113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7D977B-8AB9-2B4D-BCD8-AC95E3977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675" y="1102362"/>
            <a:ext cx="11522191" cy="53459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0846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8158D1-75B9-B0B6-F957-E0109C368D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90800" y="6350"/>
            <a:ext cx="9601200" cy="6845300"/>
          </a:xfrm>
          <a:prstGeom prst="rect">
            <a:avLst/>
          </a:prstGeom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6F011220-DAC9-2C3C-C5AD-5E8BED515A32}"/>
              </a:ext>
            </a:extLst>
          </p:cNvPr>
          <p:cNvSpPr/>
          <p:nvPr userDrawn="1"/>
        </p:nvSpPr>
        <p:spPr>
          <a:xfrm rot="10800000" flipH="1">
            <a:off x="-39229" y="0"/>
            <a:ext cx="4596993" cy="6864275"/>
          </a:xfrm>
          <a:custGeom>
            <a:avLst/>
            <a:gdLst>
              <a:gd name="connsiteX0" fmla="*/ 3315888 w 4596993"/>
              <a:gd name="connsiteY0" fmla="*/ 6864275 h 6864275"/>
              <a:gd name="connsiteX1" fmla="*/ 3347478 w 4596993"/>
              <a:gd name="connsiteY1" fmla="*/ 6828719 h 6864275"/>
              <a:gd name="connsiteX2" fmla="*/ 4596993 w 4596993"/>
              <a:gd name="connsiteY2" fmla="*/ 3435275 h 6864275"/>
              <a:gd name="connsiteX3" fmla="*/ 3347478 w 4596993"/>
              <a:gd name="connsiteY3" fmla="*/ 41831 h 6864275"/>
              <a:gd name="connsiteX4" fmla="*/ 3315888 w 4596993"/>
              <a:gd name="connsiteY4" fmla="*/ 6275 h 6864275"/>
              <a:gd name="connsiteX5" fmla="*/ 0 w 4596993"/>
              <a:gd name="connsiteY5" fmla="*/ 0 h 6864275"/>
              <a:gd name="connsiteX6" fmla="*/ 0 w 4596993"/>
              <a:gd name="connsiteY6" fmla="*/ 6858024 h 686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6993" h="6864275">
                <a:moveTo>
                  <a:pt x="3315888" y="6864275"/>
                </a:moveTo>
                <a:lnTo>
                  <a:pt x="3347478" y="6828719"/>
                </a:lnTo>
                <a:cubicBezTo>
                  <a:pt x="4128076" y="5906546"/>
                  <a:pt x="4596993" y="4724299"/>
                  <a:pt x="4596993" y="3435275"/>
                </a:cubicBezTo>
                <a:cubicBezTo>
                  <a:pt x="4596993" y="2146251"/>
                  <a:pt x="4128076" y="964003"/>
                  <a:pt x="3347478" y="41831"/>
                </a:cubicBezTo>
                <a:lnTo>
                  <a:pt x="3315888" y="6275"/>
                </a:lnTo>
                <a:lnTo>
                  <a:pt x="0" y="0"/>
                </a:lnTo>
                <a:lnTo>
                  <a:pt x="0" y="685802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1E029BE-D034-8DFE-BB27-E70D2B608903}"/>
              </a:ext>
            </a:extLst>
          </p:cNvPr>
          <p:cNvSpPr/>
          <p:nvPr userDrawn="1"/>
        </p:nvSpPr>
        <p:spPr>
          <a:xfrm>
            <a:off x="11580935" y="6306670"/>
            <a:ext cx="403412" cy="403412"/>
          </a:xfrm>
          <a:prstGeom prst="ellipse">
            <a:avLst/>
          </a:prstGeom>
          <a:solidFill>
            <a:srgbClr val="01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9298A4-0412-B95E-52AE-D0E61F521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278" y="2535090"/>
            <a:ext cx="3707758" cy="1608647"/>
          </a:xfrm>
        </p:spPr>
        <p:txBody>
          <a:bodyPr anchor="ctr">
            <a:noAutofit/>
          </a:bodyPr>
          <a:lstStyle>
            <a:lvl1pPr>
              <a:defRPr sz="3600" b="0" i="0">
                <a:solidFill>
                  <a:schemeClr val="bg1"/>
                </a:solidFill>
                <a:latin typeface="Raleway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R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6C6B7-3A39-E88B-FB10-9C3B2A17D5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0056" y="2199774"/>
            <a:ext cx="5389207" cy="3564382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1521C-E25B-EF71-9EF4-9C657BCFE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0934" y="6318245"/>
            <a:ext cx="383203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"/>
              </a:defRPr>
            </a:lvl1pPr>
          </a:lstStyle>
          <a:p>
            <a:fld id="{1D1C8182-8BBE-B542-ADE5-8820B104469B}" type="slidenum">
              <a:rPr lang="en-RO" smtClean="0"/>
              <a:pPr/>
              <a:t>‹#›</a:t>
            </a:fld>
            <a:endParaRPr lang="en-RO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33E65FE-8C9B-0DC0-C776-353216E6A2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6812" y="1529030"/>
            <a:ext cx="5045075" cy="3937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</p:spPr>
        <p:txBody>
          <a:bodyPr anchor="ctr"/>
          <a:lstStyle>
            <a:lvl1pPr>
              <a:defRPr b="0" i="0">
                <a:solidFill>
                  <a:schemeClr val="bg1"/>
                </a:solidFill>
                <a:latin typeface="Raleway" pitchFamily="2" charset="0"/>
              </a:defRPr>
            </a:lvl1pPr>
          </a:lstStyle>
          <a:p>
            <a:pPr lvl="0"/>
            <a:r>
              <a:rPr lang="en-GB" dirty="0"/>
              <a:t>CLICK TO EDIT SUBTITLE</a:t>
            </a:r>
            <a:endParaRPr lang="en-RO" dirty="0"/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4886534-58D9-34F2-C894-A05F547B7E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3715" y="5584273"/>
            <a:ext cx="1444793" cy="144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72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A67C6D-451D-6C40-B015-49D120732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551B1C-217B-4F4B-81FF-529B758036DF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9620CD-55F4-E7E8-E6EC-EB63F895E7BF}"/>
              </a:ext>
            </a:extLst>
          </p:cNvPr>
          <p:cNvSpPr txBox="1"/>
          <p:nvPr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84B90-C316-C349-6B8A-72E2C44730B5}"/>
              </a:ext>
            </a:extLst>
          </p:cNvPr>
          <p:cNvSpPr txBox="1"/>
          <p:nvPr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E78E90-9218-9685-1D30-181ABB6A0E79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01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CA5994-50B0-B3EE-D8B0-4CCB3DB69B85}"/>
              </a:ext>
            </a:extLst>
          </p:cNvPr>
          <p:cNvCxnSpPr>
            <a:cxnSpLocks/>
          </p:cNvCxnSpPr>
          <p:nvPr userDrawn="1"/>
        </p:nvCxnSpPr>
        <p:spPr>
          <a:xfrm>
            <a:off x="1692613" y="6508376"/>
            <a:ext cx="9934611" cy="0"/>
          </a:xfrm>
          <a:prstGeom prst="line">
            <a:avLst/>
          </a:prstGeom>
          <a:ln w="12700">
            <a:solidFill>
              <a:srgbClr val="007B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01E029BE-D034-8DFE-BB27-E70D2B608903}"/>
              </a:ext>
            </a:extLst>
          </p:cNvPr>
          <p:cNvSpPr/>
          <p:nvPr userDrawn="1"/>
        </p:nvSpPr>
        <p:spPr>
          <a:xfrm>
            <a:off x="11580935" y="6306670"/>
            <a:ext cx="403412" cy="403412"/>
          </a:xfrm>
          <a:prstGeom prst="ellipse">
            <a:avLst/>
          </a:prstGeom>
          <a:solidFill>
            <a:srgbClr val="01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9298A4-0412-B95E-52AE-D0E61F521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4593"/>
            <a:ext cx="10515600" cy="471364"/>
          </a:xfrm>
        </p:spPr>
        <p:txBody>
          <a:bodyPr anchor="t">
            <a:noAutofit/>
          </a:bodyPr>
          <a:lstStyle>
            <a:lvl1pPr>
              <a:defRPr sz="2800" b="0" i="0">
                <a:solidFill>
                  <a:schemeClr val="accent1"/>
                </a:solidFill>
                <a:latin typeface="Raleway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R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6C6B7-3A39-E88B-FB10-9C3B2A17D5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1521C-E25B-EF71-9EF4-9C657BCFE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0724" y="6318245"/>
            <a:ext cx="403413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"/>
              </a:defRPr>
            </a:lvl1pPr>
          </a:lstStyle>
          <a:p>
            <a:fld id="{1D1C8182-8BBE-B542-ADE5-8820B104469B}" type="slidenum">
              <a:rPr lang="en-RO" smtClean="0"/>
              <a:pPr/>
              <a:t>‹#›</a:t>
            </a:fld>
            <a:endParaRPr lang="en-RO"/>
          </a:p>
        </p:txBody>
      </p:sp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895C77DB-2F91-1844-3513-C04DED213A12}"/>
              </a:ext>
            </a:extLst>
          </p:cNvPr>
          <p:cNvSpPr/>
          <p:nvPr userDrawn="1"/>
        </p:nvSpPr>
        <p:spPr>
          <a:xfrm rot="5400000">
            <a:off x="164144" y="280449"/>
            <a:ext cx="471364" cy="79965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pic>
        <p:nvPicPr>
          <p:cNvPr id="4" name="Content Placeholder 9" descr="Logo&#10;&#10;Description automatically generated">
            <a:extLst>
              <a:ext uri="{FF2B5EF4-FFF2-40B4-BE49-F238E27FC236}">
                <a16:creationId xmlns:a16="http://schemas.microsoft.com/office/drawing/2014/main" id="{56908AD9-DB36-A1A8-B379-16551AF64E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653" y="6122143"/>
            <a:ext cx="1221061" cy="63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2495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72BEBE-0A56-6D84-0696-75F392737460}"/>
              </a:ext>
            </a:extLst>
          </p:cNvPr>
          <p:cNvSpPr/>
          <p:nvPr userDrawn="1"/>
        </p:nvSpPr>
        <p:spPr>
          <a:xfrm>
            <a:off x="4130046" y="-7594"/>
            <a:ext cx="8061953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0078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229252"/>
            <a:ext cx="3088757" cy="1837162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C7ED6F7-6EE7-9DFD-4755-AC5AC2DAE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3509" y="2007855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705678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72BEBE-0A56-6D84-0696-75F392737460}"/>
              </a:ext>
            </a:extLst>
          </p:cNvPr>
          <p:cNvSpPr/>
          <p:nvPr userDrawn="1"/>
        </p:nvSpPr>
        <p:spPr>
          <a:xfrm>
            <a:off x="4130046" y="-7594"/>
            <a:ext cx="8061953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C7ED6F7-6EE7-9DFD-4755-AC5AC2DAE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3494" y="2797426"/>
            <a:ext cx="5093208" cy="2208625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3" name="Rectangle: Diagonal Corners Rounded 32">
            <a:extLst>
              <a:ext uri="{FF2B5EF4-FFF2-40B4-BE49-F238E27FC236}">
                <a16:creationId xmlns:a16="http://schemas.microsoft.com/office/drawing/2014/main" id="{0BC676E6-6724-12B0-471A-1EA498D1BDDD}"/>
              </a:ext>
            </a:extLst>
          </p:cNvPr>
          <p:cNvSpPr/>
          <p:nvPr userDrawn="1"/>
        </p:nvSpPr>
        <p:spPr>
          <a:xfrm>
            <a:off x="3114829" y="1441280"/>
            <a:ext cx="8061952" cy="4496533"/>
          </a:xfrm>
          <a:prstGeom prst="round2DiagRect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36BAB71-B68D-E8D6-8514-175D1C81EFCF}"/>
              </a:ext>
            </a:extLst>
          </p:cNvPr>
          <p:cNvGrpSpPr/>
          <p:nvPr userDrawn="1"/>
        </p:nvGrpSpPr>
        <p:grpSpPr>
          <a:xfrm>
            <a:off x="3833634" y="810490"/>
            <a:ext cx="1261579" cy="1261579"/>
            <a:chOff x="3833634" y="810490"/>
            <a:chExt cx="1261579" cy="1261579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79ABCF7-3AB3-5ED4-3095-F4D7C99EB4C6}"/>
                </a:ext>
              </a:extLst>
            </p:cNvPr>
            <p:cNvSpPr/>
            <p:nvPr/>
          </p:nvSpPr>
          <p:spPr>
            <a:xfrm>
              <a:off x="3833634" y="810490"/>
              <a:ext cx="1261579" cy="126157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96EA9468-683D-AAB4-559C-28E7C808CB78}"/>
                </a:ext>
              </a:extLst>
            </p:cNvPr>
            <p:cNvGrpSpPr/>
            <p:nvPr/>
          </p:nvGrpSpPr>
          <p:grpSpPr>
            <a:xfrm>
              <a:off x="4134924" y="1166618"/>
              <a:ext cx="658998" cy="549322"/>
              <a:chOff x="5915048" y="3276600"/>
              <a:chExt cx="363712" cy="303180"/>
            </a:xfrm>
            <a:solidFill>
              <a:schemeClr val="accent2"/>
            </a:solidFill>
          </p:grpSpPr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49AC8B71-439A-575B-3792-005558DBB8F9}"/>
                  </a:ext>
                </a:extLst>
              </p:cNvPr>
              <p:cNvSpPr/>
              <p:nvPr/>
            </p:nvSpPr>
            <p:spPr>
              <a:xfrm>
                <a:off x="5915048" y="3276600"/>
                <a:ext cx="363712" cy="303180"/>
              </a:xfrm>
              <a:custGeom>
                <a:avLst/>
                <a:gdLst>
                  <a:gd name="connsiteX0" fmla="*/ 13216 w 363712"/>
                  <a:gd name="connsiteY0" fmla="*/ 151638 h 303180"/>
                  <a:gd name="connsiteX1" fmla="*/ 117705 w 363712"/>
                  <a:gd name="connsiteY1" fmla="*/ 71057 h 303180"/>
                  <a:gd name="connsiteX2" fmla="*/ 79129 w 363712"/>
                  <a:gd name="connsiteY2" fmla="*/ 145542 h 303180"/>
                  <a:gd name="connsiteX3" fmla="*/ 30266 w 363712"/>
                  <a:gd name="connsiteY3" fmla="*/ 145542 h 303180"/>
                  <a:gd name="connsiteX4" fmla="*/ 30266 w 363712"/>
                  <a:gd name="connsiteY4" fmla="*/ 157639 h 303180"/>
                  <a:gd name="connsiteX5" fmla="*/ 79129 w 363712"/>
                  <a:gd name="connsiteY5" fmla="*/ 157639 h 303180"/>
                  <a:gd name="connsiteX6" fmla="*/ 117705 w 363712"/>
                  <a:gd name="connsiteY6" fmla="*/ 232124 h 303180"/>
                  <a:gd name="connsiteX7" fmla="*/ 13216 w 363712"/>
                  <a:gd name="connsiteY7" fmla="*/ 151543 h 303180"/>
                  <a:gd name="connsiteX8" fmla="*/ 246007 w 363712"/>
                  <a:gd name="connsiteY8" fmla="*/ 71057 h 303180"/>
                  <a:gd name="connsiteX9" fmla="*/ 350496 w 363712"/>
                  <a:gd name="connsiteY9" fmla="*/ 151638 h 303180"/>
                  <a:gd name="connsiteX10" fmla="*/ 246007 w 363712"/>
                  <a:gd name="connsiteY10" fmla="*/ 232219 h 303180"/>
                  <a:gd name="connsiteX11" fmla="*/ 284583 w 363712"/>
                  <a:gd name="connsiteY11" fmla="*/ 157734 h 303180"/>
                  <a:gd name="connsiteX12" fmla="*/ 333351 w 363712"/>
                  <a:gd name="connsiteY12" fmla="*/ 157734 h 303180"/>
                  <a:gd name="connsiteX13" fmla="*/ 333351 w 363712"/>
                  <a:gd name="connsiteY13" fmla="*/ 145637 h 303180"/>
                  <a:gd name="connsiteX14" fmla="*/ 284583 w 363712"/>
                  <a:gd name="connsiteY14" fmla="*/ 145637 h 303180"/>
                  <a:gd name="connsiteX15" fmla="*/ 246007 w 363712"/>
                  <a:gd name="connsiteY15" fmla="*/ 71152 h 303180"/>
                  <a:gd name="connsiteX16" fmla="*/ 187904 w 363712"/>
                  <a:gd name="connsiteY16" fmla="*/ 97155 h 303180"/>
                  <a:gd name="connsiteX17" fmla="*/ 187904 w 363712"/>
                  <a:gd name="connsiteY17" fmla="*/ 61055 h 303180"/>
                  <a:gd name="connsiteX18" fmla="*/ 272486 w 363712"/>
                  <a:gd name="connsiteY18" fmla="*/ 145637 h 303180"/>
                  <a:gd name="connsiteX19" fmla="*/ 236387 w 363712"/>
                  <a:gd name="connsiteY19" fmla="*/ 145637 h 303180"/>
                  <a:gd name="connsiteX20" fmla="*/ 236387 w 363712"/>
                  <a:gd name="connsiteY20" fmla="*/ 157734 h 303180"/>
                  <a:gd name="connsiteX21" fmla="*/ 272486 w 363712"/>
                  <a:gd name="connsiteY21" fmla="*/ 157734 h 303180"/>
                  <a:gd name="connsiteX22" fmla="*/ 187904 w 363712"/>
                  <a:gd name="connsiteY22" fmla="*/ 242316 h 303180"/>
                  <a:gd name="connsiteX23" fmla="*/ 187904 w 363712"/>
                  <a:gd name="connsiteY23" fmla="*/ 206216 h 303180"/>
                  <a:gd name="connsiteX24" fmla="*/ 175808 w 363712"/>
                  <a:gd name="connsiteY24" fmla="*/ 206216 h 303180"/>
                  <a:gd name="connsiteX25" fmla="*/ 175808 w 363712"/>
                  <a:gd name="connsiteY25" fmla="*/ 242316 h 303180"/>
                  <a:gd name="connsiteX26" fmla="*/ 91226 w 363712"/>
                  <a:gd name="connsiteY26" fmla="*/ 157734 h 303180"/>
                  <a:gd name="connsiteX27" fmla="*/ 127325 w 363712"/>
                  <a:gd name="connsiteY27" fmla="*/ 157734 h 303180"/>
                  <a:gd name="connsiteX28" fmla="*/ 127325 w 363712"/>
                  <a:gd name="connsiteY28" fmla="*/ 145637 h 303180"/>
                  <a:gd name="connsiteX29" fmla="*/ 91226 w 363712"/>
                  <a:gd name="connsiteY29" fmla="*/ 145637 h 303180"/>
                  <a:gd name="connsiteX30" fmla="*/ 175808 w 363712"/>
                  <a:gd name="connsiteY30" fmla="*/ 61055 h 303180"/>
                  <a:gd name="connsiteX31" fmla="*/ 175808 w 363712"/>
                  <a:gd name="connsiteY31" fmla="*/ 97155 h 303180"/>
                  <a:gd name="connsiteX32" fmla="*/ 187904 w 363712"/>
                  <a:gd name="connsiteY32" fmla="*/ 97155 h 303180"/>
                  <a:gd name="connsiteX33" fmla="*/ 175808 w 363712"/>
                  <a:gd name="connsiteY33" fmla="*/ 95 h 303180"/>
                  <a:gd name="connsiteX34" fmla="*/ 175808 w 363712"/>
                  <a:gd name="connsiteY34" fmla="*/ 48768 h 303180"/>
                  <a:gd name="connsiteX35" fmla="*/ 929 w 363712"/>
                  <a:gd name="connsiteY35" fmla="*/ 148400 h 303180"/>
                  <a:gd name="connsiteX36" fmla="*/ 929 w 363712"/>
                  <a:gd name="connsiteY36" fmla="*/ 154877 h 303180"/>
                  <a:gd name="connsiteX37" fmla="*/ 175808 w 363712"/>
                  <a:gd name="connsiteY37" fmla="*/ 254508 h 303180"/>
                  <a:gd name="connsiteX38" fmla="*/ 175808 w 363712"/>
                  <a:gd name="connsiteY38" fmla="*/ 303181 h 303180"/>
                  <a:gd name="connsiteX39" fmla="*/ 187904 w 363712"/>
                  <a:gd name="connsiteY39" fmla="*/ 303181 h 303180"/>
                  <a:gd name="connsiteX40" fmla="*/ 187904 w 363712"/>
                  <a:gd name="connsiteY40" fmla="*/ 254508 h 303180"/>
                  <a:gd name="connsiteX41" fmla="*/ 362783 w 363712"/>
                  <a:gd name="connsiteY41" fmla="*/ 154877 h 303180"/>
                  <a:gd name="connsiteX42" fmla="*/ 362783 w 363712"/>
                  <a:gd name="connsiteY42" fmla="*/ 148400 h 303180"/>
                  <a:gd name="connsiteX43" fmla="*/ 187904 w 363712"/>
                  <a:gd name="connsiteY43" fmla="*/ 48768 h 303180"/>
                  <a:gd name="connsiteX44" fmla="*/ 187904 w 363712"/>
                  <a:gd name="connsiteY44" fmla="*/ 0 h 303180"/>
                  <a:gd name="connsiteX45" fmla="*/ 175808 w 363712"/>
                  <a:gd name="connsiteY45" fmla="*/ 0 h 303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63712" h="303180">
                    <a:moveTo>
                      <a:pt x="13216" y="151638"/>
                    </a:moveTo>
                    <a:cubicBezTo>
                      <a:pt x="37981" y="113824"/>
                      <a:pt x="74747" y="85439"/>
                      <a:pt x="117705" y="71057"/>
                    </a:cubicBezTo>
                    <a:cubicBezTo>
                      <a:pt x="94845" y="89249"/>
                      <a:pt x="80748" y="116396"/>
                      <a:pt x="79129" y="145542"/>
                    </a:cubicBezTo>
                    <a:lnTo>
                      <a:pt x="30266" y="145542"/>
                    </a:lnTo>
                    <a:lnTo>
                      <a:pt x="30266" y="157639"/>
                    </a:lnTo>
                    <a:lnTo>
                      <a:pt x="79129" y="157639"/>
                    </a:lnTo>
                    <a:cubicBezTo>
                      <a:pt x="80843" y="186785"/>
                      <a:pt x="94845" y="213931"/>
                      <a:pt x="117705" y="232124"/>
                    </a:cubicBezTo>
                    <a:cubicBezTo>
                      <a:pt x="74843" y="217837"/>
                      <a:pt x="37981" y="189452"/>
                      <a:pt x="13216" y="151543"/>
                    </a:cubicBezTo>
                    <a:moveTo>
                      <a:pt x="246007" y="71057"/>
                    </a:moveTo>
                    <a:cubicBezTo>
                      <a:pt x="288965" y="85344"/>
                      <a:pt x="325731" y="113728"/>
                      <a:pt x="350496" y="151638"/>
                    </a:cubicBezTo>
                    <a:cubicBezTo>
                      <a:pt x="325731" y="189548"/>
                      <a:pt x="288869" y="217837"/>
                      <a:pt x="246007" y="232219"/>
                    </a:cubicBezTo>
                    <a:cubicBezTo>
                      <a:pt x="268867" y="214027"/>
                      <a:pt x="282964" y="186881"/>
                      <a:pt x="284583" y="157734"/>
                    </a:cubicBezTo>
                    <a:lnTo>
                      <a:pt x="333351" y="157734"/>
                    </a:lnTo>
                    <a:lnTo>
                      <a:pt x="333351" y="145637"/>
                    </a:lnTo>
                    <a:lnTo>
                      <a:pt x="284583" y="145637"/>
                    </a:lnTo>
                    <a:cubicBezTo>
                      <a:pt x="282869" y="116491"/>
                      <a:pt x="268867" y="89345"/>
                      <a:pt x="246007" y="71152"/>
                    </a:cubicBezTo>
                    <a:moveTo>
                      <a:pt x="187904" y="97155"/>
                    </a:moveTo>
                    <a:lnTo>
                      <a:pt x="187904" y="61055"/>
                    </a:lnTo>
                    <a:cubicBezTo>
                      <a:pt x="233243" y="64103"/>
                      <a:pt x="269438" y="100298"/>
                      <a:pt x="272486" y="145637"/>
                    </a:cubicBezTo>
                    <a:lnTo>
                      <a:pt x="236387" y="145637"/>
                    </a:lnTo>
                    <a:lnTo>
                      <a:pt x="236387" y="157734"/>
                    </a:lnTo>
                    <a:lnTo>
                      <a:pt x="272486" y="157734"/>
                    </a:lnTo>
                    <a:cubicBezTo>
                      <a:pt x="269438" y="203073"/>
                      <a:pt x="233339" y="239268"/>
                      <a:pt x="187904" y="242316"/>
                    </a:cubicBezTo>
                    <a:lnTo>
                      <a:pt x="187904" y="206216"/>
                    </a:lnTo>
                    <a:lnTo>
                      <a:pt x="175808" y="206216"/>
                    </a:lnTo>
                    <a:lnTo>
                      <a:pt x="175808" y="242316"/>
                    </a:lnTo>
                    <a:cubicBezTo>
                      <a:pt x="130469" y="239268"/>
                      <a:pt x="94274" y="203073"/>
                      <a:pt x="91226" y="157734"/>
                    </a:cubicBezTo>
                    <a:lnTo>
                      <a:pt x="127325" y="157734"/>
                    </a:lnTo>
                    <a:lnTo>
                      <a:pt x="127325" y="145637"/>
                    </a:lnTo>
                    <a:lnTo>
                      <a:pt x="91226" y="145637"/>
                    </a:lnTo>
                    <a:cubicBezTo>
                      <a:pt x="94274" y="100298"/>
                      <a:pt x="130469" y="64103"/>
                      <a:pt x="175808" y="61055"/>
                    </a:cubicBezTo>
                    <a:lnTo>
                      <a:pt x="175808" y="97155"/>
                    </a:lnTo>
                    <a:lnTo>
                      <a:pt x="187904" y="97155"/>
                    </a:lnTo>
                    <a:close/>
                    <a:moveTo>
                      <a:pt x="175808" y="95"/>
                    </a:moveTo>
                    <a:lnTo>
                      <a:pt x="175808" y="48768"/>
                    </a:lnTo>
                    <a:cubicBezTo>
                      <a:pt x="104465" y="50483"/>
                      <a:pt x="38838" y="87916"/>
                      <a:pt x="929" y="148400"/>
                    </a:cubicBezTo>
                    <a:cubicBezTo>
                      <a:pt x="-310" y="150400"/>
                      <a:pt x="-310" y="152876"/>
                      <a:pt x="929" y="154877"/>
                    </a:cubicBezTo>
                    <a:cubicBezTo>
                      <a:pt x="38838" y="215360"/>
                      <a:pt x="104465" y="252794"/>
                      <a:pt x="175808" y="254508"/>
                    </a:cubicBezTo>
                    <a:lnTo>
                      <a:pt x="175808" y="303181"/>
                    </a:lnTo>
                    <a:lnTo>
                      <a:pt x="187904" y="303181"/>
                    </a:lnTo>
                    <a:lnTo>
                      <a:pt x="187904" y="254508"/>
                    </a:lnTo>
                    <a:cubicBezTo>
                      <a:pt x="259247" y="252698"/>
                      <a:pt x="324969" y="215265"/>
                      <a:pt x="362783" y="154877"/>
                    </a:cubicBezTo>
                    <a:cubicBezTo>
                      <a:pt x="364022" y="152876"/>
                      <a:pt x="364022" y="150400"/>
                      <a:pt x="362783" y="148400"/>
                    </a:cubicBezTo>
                    <a:cubicBezTo>
                      <a:pt x="324874" y="87916"/>
                      <a:pt x="259151" y="50483"/>
                      <a:pt x="187904" y="48768"/>
                    </a:cubicBezTo>
                    <a:lnTo>
                      <a:pt x="187904" y="0"/>
                    </a:lnTo>
                    <a:lnTo>
                      <a:pt x="17580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97C408E9-B66B-BCDD-D326-C0A6BFD8A055}"/>
                  </a:ext>
                </a:extLst>
              </p:cNvPr>
              <p:cNvSpPr/>
              <p:nvPr/>
            </p:nvSpPr>
            <p:spPr>
              <a:xfrm>
                <a:off x="6054566" y="3385756"/>
                <a:ext cx="84963" cy="84962"/>
              </a:xfrm>
              <a:custGeom>
                <a:avLst/>
                <a:gdLst>
                  <a:gd name="connsiteX0" fmla="*/ 12097 w 84963"/>
                  <a:gd name="connsiteY0" fmla="*/ 42482 h 84962"/>
                  <a:gd name="connsiteX1" fmla="*/ 42386 w 84963"/>
                  <a:gd name="connsiteY1" fmla="*/ 12192 h 84962"/>
                  <a:gd name="connsiteX2" fmla="*/ 72676 w 84963"/>
                  <a:gd name="connsiteY2" fmla="*/ 42482 h 84962"/>
                  <a:gd name="connsiteX3" fmla="*/ 42386 w 84963"/>
                  <a:gd name="connsiteY3" fmla="*/ 72771 h 84962"/>
                  <a:gd name="connsiteX4" fmla="*/ 12097 w 84963"/>
                  <a:gd name="connsiteY4" fmla="*/ 42482 h 84962"/>
                  <a:gd name="connsiteX5" fmla="*/ 0 w 84963"/>
                  <a:gd name="connsiteY5" fmla="*/ 42482 h 84962"/>
                  <a:gd name="connsiteX6" fmla="*/ 42482 w 84963"/>
                  <a:gd name="connsiteY6" fmla="*/ 84963 h 84962"/>
                  <a:gd name="connsiteX7" fmla="*/ 84963 w 84963"/>
                  <a:gd name="connsiteY7" fmla="*/ 42482 h 84962"/>
                  <a:gd name="connsiteX8" fmla="*/ 42482 w 84963"/>
                  <a:gd name="connsiteY8" fmla="*/ 0 h 84962"/>
                  <a:gd name="connsiteX9" fmla="*/ 0 w 84963"/>
                  <a:gd name="connsiteY9" fmla="*/ 42482 h 84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963" h="84962">
                    <a:moveTo>
                      <a:pt x="12097" y="42482"/>
                    </a:moveTo>
                    <a:cubicBezTo>
                      <a:pt x="12097" y="25717"/>
                      <a:pt x="25718" y="12192"/>
                      <a:pt x="42386" y="12192"/>
                    </a:cubicBezTo>
                    <a:cubicBezTo>
                      <a:pt x="59150" y="12192"/>
                      <a:pt x="72676" y="25813"/>
                      <a:pt x="72676" y="42482"/>
                    </a:cubicBezTo>
                    <a:cubicBezTo>
                      <a:pt x="72676" y="59150"/>
                      <a:pt x="59150" y="72771"/>
                      <a:pt x="42386" y="72771"/>
                    </a:cubicBezTo>
                    <a:cubicBezTo>
                      <a:pt x="25622" y="72771"/>
                      <a:pt x="12097" y="59150"/>
                      <a:pt x="12097" y="42482"/>
                    </a:cubicBezTo>
                    <a:moveTo>
                      <a:pt x="0" y="42482"/>
                    </a:moveTo>
                    <a:cubicBezTo>
                      <a:pt x="0" y="65913"/>
                      <a:pt x="19050" y="84868"/>
                      <a:pt x="42482" y="84963"/>
                    </a:cubicBezTo>
                    <a:cubicBezTo>
                      <a:pt x="65913" y="84963"/>
                      <a:pt x="84963" y="66008"/>
                      <a:pt x="84963" y="42482"/>
                    </a:cubicBezTo>
                    <a:cubicBezTo>
                      <a:pt x="84963" y="18955"/>
                      <a:pt x="65913" y="0"/>
                      <a:pt x="42482" y="0"/>
                    </a:cubicBezTo>
                    <a:cubicBezTo>
                      <a:pt x="19050" y="0"/>
                      <a:pt x="0" y="18955"/>
                      <a:pt x="0" y="42482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11123DAE-C483-06E6-B052-E553C5AD1CF3}"/>
                  </a:ext>
                </a:extLst>
              </p:cNvPr>
              <p:cNvSpPr/>
              <p:nvPr/>
            </p:nvSpPr>
            <p:spPr>
              <a:xfrm>
                <a:off x="5945314" y="3276600"/>
                <a:ext cx="54578" cy="54578"/>
              </a:xfrm>
              <a:custGeom>
                <a:avLst/>
                <a:gdLst>
                  <a:gd name="connsiteX0" fmla="*/ 6096 w 54578"/>
                  <a:gd name="connsiteY0" fmla="*/ 0 h 54578"/>
                  <a:gd name="connsiteX1" fmla="*/ 0 w 54578"/>
                  <a:gd name="connsiteY1" fmla="*/ 6096 h 54578"/>
                  <a:gd name="connsiteX2" fmla="*/ 0 w 54578"/>
                  <a:gd name="connsiteY2" fmla="*/ 54578 h 54578"/>
                  <a:gd name="connsiteX3" fmla="*/ 12097 w 54578"/>
                  <a:gd name="connsiteY3" fmla="*/ 54578 h 54578"/>
                  <a:gd name="connsiteX4" fmla="*/ 12097 w 54578"/>
                  <a:gd name="connsiteY4" fmla="*/ 12097 h 54578"/>
                  <a:gd name="connsiteX5" fmla="*/ 54578 w 54578"/>
                  <a:gd name="connsiteY5" fmla="*/ 12097 h 54578"/>
                  <a:gd name="connsiteX6" fmla="*/ 54578 w 54578"/>
                  <a:gd name="connsiteY6" fmla="*/ 0 h 54578"/>
                  <a:gd name="connsiteX7" fmla="*/ 6096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6096" y="0"/>
                    </a:moveTo>
                    <a:cubicBezTo>
                      <a:pt x="2762" y="0"/>
                      <a:pt x="0" y="2667"/>
                      <a:pt x="0" y="6096"/>
                    </a:cubicBezTo>
                    <a:lnTo>
                      <a:pt x="0" y="54578"/>
                    </a:lnTo>
                    <a:lnTo>
                      <a:pt x="12097" y="54578"/>
                    </a:lnTo>
                    <a:lnTo>
                      <a:pt x="12097" y="12097"/>
                    </a:lnTo>
                    <a:lnTo>
                      <a:pt x="54578" y="12097"/>
                    </a:lnTo>
                    <a:lnTo>
                      <a:pt x="54578" y="0"/>
                    </a:lnTo>
                    <a:lnTo>
                      <a:pt x="609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8AB7AE97-ED56-30D0-E99E-E0BF4592950A}"/>
                  </a:ext>
                </a:extLst>
              </p:cNvPr>
              <p:cNvSpPr/>
              <p:nvPr/>
            </p:nvSpPr>
            <p:spPr>
              <a:xfrm>
                <a:off x="6193917" y="3276600"/>
                <a:ext cx="54578" cy="54578"/>
              </a:xfrm>
              <a:custGeom>
                <a:avLst/>
                <a:gdLst>
                  <a:gd name="connsiteX0" fmla="*/ 0 w 54578"/>
                  <a:gd name="connsiteY0" fmla="*/ 0 h 54578"/>
                  <a:gd name="connsiteX1" fmla="*/ 0 w 54578"/>
                  <a:gd name="connsiteY1" fmla="*/ 12097 h 54578"/>
                  <a:gd name="connsiteX2" fmla="*/ 42482 w 54578"/>
                  <a:gd name="connsiteY2" fmla="*/ 12097 h 54578"/>
                  <a:gd name="connsiteX3" fmla="*/ 42482 w 54578"/>
                  <a:gd name="connsiteY3" fmla="*/ 54578 h 54578"/>
                  <a:gd name="connsiteX4" fmla="*/ 54578 w 54578"/>
                  <a:gd name="connsiteY4" fmla="*/ 54578 h 54578"/>
                  <a:gd name="connsiteX5" fmla="*/ 54578 w 54578"/>
                  <a:gd name="connsiteY5" fmla="*/ 6096 h 54578"/>
                  <a:gd name="connsiteX6" fmla="*/ 48482 w 54578"/>
                  <a:gd name="connsiteY6" fmla="*/ 0 h 54578"/>
                  <a:gd name="connsiteX7" fmla="*/ 0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0" y="0"/>
                    </a:moveTo>
                    <a:lnTo>
                      <a:pt x="0" y="12097"/>
                    </a:lnTo>
                    <a:lnTo>
                      <a:pt x="42482" y="12097"/>
                    </a:lnTo>
                    <a:lnTo>
                      <a:pt x="42482" y="54578"/>
                    </a:lnTo>
                    <a:lnTo>
                      <a:pt x="54578" y="54578"/>
                    </a:lnTo>
                    <a:lnTo>
                      <a:pt x="54578" y="6096"/>
                    </a:lnTo>
                    <a:cubicBezTo>
                      <a:pt x="54578" y="2762"/>
                      <a:pt x="51911" y="0"/>
                      <a:pt x="4848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B1C990F-58CD-15FA-9111-DC76FC74F990}"/>
                  </a:ext>
                </a:extLst>
              </p:cNvPr>
              <p:cNvSpPr/>
              <p:nvPr/>
            </p:nvSpPr>
            <p:spPr>
              <a:xfrm>
                <a:off x="6193917" y="3525202"/>
                <a:ext cx="54578" cy="54578"/>
              </a:xfrm>
              <a:custGeom>
                <a:avLst/>
                <a:gdLst>
                  <a:gd name="connsiteX0" fmla="*/ 42482 w 54578"/>
                  <a:gd name="connsiteY0" fmla="*/ 0 h 54578"/>
                  <a:gd name="connsiteX1" fmla="*/ 42482 w 54578"/>
                  <a:gd name="connsiteY1" fmla="*/ 42481 h 54578"/>
                  <a:gd name="connsiteX2" fmla="*/ 0 w 54578"/>
                  <a:gd name="connsiteY2" fmla="*/ 42481 h 54578"/>
                  <a:gd name="connsiteX3" fmla="*/ 0 w 54578"/>
                  <a:gd name="connsiteY3" fmla="*/ 54578 h 54578"/>
                  <a:gd name="connsiteX4" fmla="*/ 48482 w 54578"/>
                  <a:gd name="connsiteY4" fmla="*/ 54578 h 54578"/>
                  <a:gd name="connsiteX5" fmla="*/ 54578 w 54578"/>
                  <a:gd name="connsiteY5" fmla="*/ 48482 h 54578"/>
                  <a:gd name="connsiteX6" fmla="*/ 54578 w 54578"/>
                  <a:gd name="connsiteY6" fmla="*/ 0 h 54578"/>
                  <a:gd name="connsiteX7" fmla="*/ 42482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42482" y="0"/>
                    </a:moveTo>
                    <a:lnTo>
                      <a:pt x="42482" y="42481"/>
                    </a:lnTo>
                    <a:lnTo>
                      <a:pt x="0" y="42481"/>
                    </a:lnTo>
                    <a:lnTo>
                      <a:pt x="0" y="54578"/>
                    </a:lnTo>
                    <a:lnTo>
                      <a:pt x="48482" y="54578"/>
                    </a:lnTo>
                    <a:cubicBezTo>
                      <a:pt x="51816" y="54578"/>
                      <a:pt x="54578" y="51911"/>
                      <a:pt x="54578" y="48482"/>
                    </a:cubicBezTo>
                    <a:lnTo>
                      <a:pt x="54578" y="0"/>
                    </a:lnTo>
                    <a:lnTo>
                      <a:pt x="42482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9E4B0150-42E3-1C77-FDEA-1BF854DD4F4C}"/>
                  </a:ext>
                </a:extLst>
              </p:cNvPr>
              <p:cNvSpPr/>
              <p:nvPr/>
            </p:nvSpPr>
            <p:spPr>
              <a:xfrm>
                <a:off x="5945314" y="3525202"/>
                <a:ext cx="54578" cy="54578"/>
              </a:xfrm>
              <a:custGeom>
                <a:avLst/>
                <a:gdLst>
                  <a:gd name="connsiteX0" fmla="*/ 0 w 54578"/>
                  <a:gd name="connsiteY0" fmla="*/ 0 h 54578"/>
                  <a:gd name="connsiteX1" fmla="*/ 0 w 54578"/>
                  <a:gd name="connsiteY1" fmla="*/ 48482 h 54578"/>
                  <a:gd name="connsiteX2" fmla="*/ 6096 w 54578"/>
                  <a:gd name="connsiteY2" fmla="*/ 54578 h 54578"/>
                  <a:gd name="connsiteX3" fmla="*/ 54578 w 54578"/>
                  <a:gd name="connsiteY3" fmla="*/ 54578 h 54578"/>
                  <a:gd name="connsiteX4" fmla="*/ 54578 w 54578"/>
                  <a:gd name="connsiteY4" fmla="*/ 42481 h 54578"/>
                  <a:gd name="connsiteX5" fmla="*/ 12097 w 54578"/>
                  <a:gd name="connsiteY5" fmla="*/ 42481 h 54578"/>
                  <a:gd name="connsiteX6" fmla="*/ 12097 w 54578"/>
                  <a:gd name="connsiteY6" fmla="*/ 0 h 54578"/>
                  <a:gd name="connsiteX7" fmla="*/ 0 w 54578"/>
                  <a:gd name="connsiteY7" fmla="*/ 0 h 54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4578" h="54578">
                    <a:moveTo>
                      <a:pt x="0" y="0"/>
                    </a:moveTo>
                    <a:lnTo>
                      <a:pt x="0" y="48482"/>
                    </a:lnTo>
                    <a:cubicBezTo>
                      <a:pt x="0" y="51816"/>
                      <a:pt x="2667" y="54578"/>
                      <a:pt x="6096" y="54578"/>
                    </a:cubicBezTo>
                    <a:lnTo>
                      <a:pt x="54578" y="54578"/>
                    </a:lnTo>
                    <a:lnTo>
                      <a:pt x="54578" y="42481"/>
                    </a:lnTo>
                    <a:lnTo>
                      <a:pt x="12097" y="42481"/>
                    </a:lnTo>
                    <a:lnTo>
                      <a:pt x="1209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C056255-03E5-5345-0078-20365CA0280B}"/>
              </a:ext>
            </a:extLst>
          </p:cNvPr>
          <p:cNvGrpSpPr/>
          <p:nvPr userDrawn="1"/>
        </p:nvGrpSpPr>
        <p:grpSpPr>
          <a:xfrm>
            <a:off x="5393494" y="1170120"/>
            <a:ext cx="2440030" cy="495568"/>
            <a:chOff x="5393494" y="1170120"/>
            <a:chExt cx="2440030" cy="495568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B2B19FC6-D5BD-A43D-5BCA-6A040383FF80}"/>
                </a:ext>
              </a:extLst>
            </p:cNvPr>
            <p:cNvSpPr/>
            <p:nvPr/>
          </p:nvSpPr>
          <p:spPr>
            <a:xfrm>
              <a:off x="5393494" y="1215254"/>
              <a:ext cx="2440030" cy="450434"/>
            </a:xfrm>
            <a:prstGeom prst="rect">
              <a:avLst/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B2CA16E-368F-A7E7-EE21-603239271921}"/>
                </a:ext>
              </a:extLst>
            </p:cNvPr>
            <p:cNvSpPr txBox="1"/>
            <p:nvPr/>
          </p:nvSpPr>
          <p:spPr>
            <a:xfrm>
              <a:off x="5465028" y="1170120"/>
              <a:ext cx="2296961" cy="465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3200"/>
                </a:lnSpc>
              </a:pPr>
              <a:r>
                <a:rPr lang="en-US" sz="2000" b="1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A CLOSER LOOK:</a:t>
              </a:r>
            </a:p>
          </p:txBody>
        </p:sp>
      </p:grp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249DAFD4-F8B8-280C-B935-B5BD7A42E85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393494" y="2028325"/>
            <a:ext cx="5093208" cy="450435"/>
          </a:xfrm>
        </p:spPr>
        <p:txBody>
          <a:bodyPr/>
          <a:lstStyle>
            <a:lvl1pPr marL="0" indent="0">
              <a:buFontTx/>
              <a:buNone/>
              <a:defRPr sz="2000" b="1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25838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E39375-8887-3190-08E9-19A04C4C1107}"/>
              </a:ext>
            </a:extLst>
          </p:cNvPr>
          <p:cNvSpPr/>
          <p:nvPr userDrawn="1"/>
        </p:nvSpPr>
        <p:spPr>
          <a:xfrm>
            <a:off x="3709686" y="-7594"/>
            <a:ext cx="8482314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5727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2794152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F436D96-BF30-912B-450D-834FEC982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7843" y="1564826"/>
            <a:ext cx="7628859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62524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E39375-8887-3190-08E9-19A04C4C1107}"/>
              </a:ext>
            </a:extLst>
          </p:cNvPr>
          <p:cNvSpPr/>
          <p:nvPr userDrawn="1"/>
        </p:nvSpPr>
        <p:spPr>
          <a:xfrm>
            <a:off x="3709686" y="-7594"/>
            <a:ext cx="8482314" cy="6865594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54562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E39375-8887-3190-08E9-19A04C4C1107}"/>
              </a:ext>
            </a:extLst>
          </p:cNvPr>
          <p:cNvSpPr/>
          <p:nvPr userDrawn="1"/>
        </p:nvSpPr>
        <p:spPr>
          <a:xfrm>
            <a:off x="5262750" y="-7594"/>
            <a:ext cx="6929250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6" y="1572755"/>
            <a:ext cx="2290886" cy="141794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066512"/>
            <a:ext cx="2290885" cy="1228051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F436D96-BF30-912B-450D-834FEC982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2578" y="1564826"/>
            <a:ext cx="3874125" cy="4286177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Picture Placeholder 69">
            <a:extLst>
              <a:ext uri="{FF2B5EF4-FFF2-40B4-BE49-F238E27FC236}">
                <a16:creationId xmlns:a16="http://schemas.microsoft.com/office/drawing/2014/main" id="{73483DAD-F18D-AF0F-87BA-19A72C98A18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94851" y="1158812"/>
            <a:ext cx="4540377" cy="4540377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0787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5594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88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2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51" tIns="32151" rIns="32151" bIns="32151"/>
          <a:lstStyle/>
          <a:p>
            <a:endParaRPr lang="en-GB" sz="1266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6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3" y="126146"/>
            <a:ext cx="1857805" cy="786113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7D977B-8AB9-2B4D-BCD8-AC95E3977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674" y="1102362"/>
            <a:ext cx="11522191" cy="53459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07523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8266" y="548680"/>
            <a:ext cx="10724935" cy="572076"/>
          </a:xfrm>
          <a:prstGeom prst="rect">
            <a:avLst/>
          </a:prstGeom>
        </p:spPr>
        <p:txBody>
          <a:bodyPr/>
          <a:lstStyle>
            <a:lvl1pPr algn="r">
              <a:defRPr sz="2400" baseline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ES_tradnl" dirty="0" err="1"/>
              <a:t>Click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edit</a:t>
            </a:r>
            <a:r>
              <a:rPr lang="es-ES_tradnl" dirty="0"/>
              <a:t> </a:t>
            </a:r>
            <a:r>
              <a:rPr lang="es-ES_tradnl" dirty="0" err="1"/>
              <a:t>Master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64583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EA4C31-D4D8-70A6-BBD7-8A92893587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6" y="-1524"/>
            <a:ext cx="12183879" cy="68595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3F72A30-694A-FECA-8A80-0507B9F61C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1484" y="3370521"/>
            <a:ext cx="5461590" cy="1457880"/>
          </a:xfrm>
        </p:spPr>
        <p:txBody>
          <a:bodyPr anchor="b">
            <a:normAutofit/>
          </a:bodyPr>
          <a:lstStyle>
            <a:lvl1pPr algn="l">
              <a:defRPr sz="5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9D7953-3C8E-51F3-C855-14B7B9775E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1484" y="4920476"/>
            <a:ext cx="5461590" cy="65993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C268E5-5E93-1BC6-80D2-95E94B0DA1C3}"/>
              </a:ext>
            </a:extLst>
          </p:cNvPr>
          <p:cNvGrpSpPr/>
          <p:nvPr userDrawn="1"/>
        </p:nvGrpSpPr>
        <p:grpSpPr>
          <a:xfrm>
            <a:off x="649593" y="611446"/>
            <a:ext cx="3021218" cy="1580760"/>
            <a:chOff x="442593" y="368967"/>
            <a:chExt cx="3021218" cy="158076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6C66A43-9053-CD57-96DF-5AF640568E6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A9DFE4-0248-553D-6A73-25B92E7D8027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ADF9B15-B220-08AF-1602-C7901174F6EF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86D7A0B-0B1E-CC2A-4A97-2EFF680AC43D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2F86C9-0944-920B-9A96-D9DF03D3759A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80F7F-60F9-EE1E-3F73-015407199C7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E40DED8-98C8-3CC4-FC45-A8224AC0B93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C7DD25-D563-BBBE-3B49-D889209CDFE3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62AD4D-5450-3C51-80EA-FFEBA2584291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D1AA603-428F-4FC8-8C2C-D036ABC764A0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1E88753-F0C3-3E4E-93AC-041F4B309E1F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71AE00-72A2-FDD9-DD4B-4A27F3151503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4E92E4E-2ACA-C80C-E2BD-DD687DDD5E57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61368B-D23A-9BFB-EADC-C66417E2E69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F773492-5FF2-550C-2699-C53A612F90D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49AB0C-05F9-559A-B62C-6574965078DC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00C94E8-A04D-917B-FB46-D124974EB249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0A600F7-50E2-BD77-430A-570B0587A54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7E4290A-748C-2584-070C-C49109E40C9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D7C7A4-796C-3B49-ADA2-A797A5412E2E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9FCF071-13A7-F53B-6132-3D0199124392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7F55736-1FFD-44C3-3151-E423AD3B03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95D0DD1-E864-5BC4-C4A1-9AF162527BF7}"/>
              </a:ext>
            </a:extLst>
          </p:cNvPr>
          <p:cNvSpPr/>
          <p:nvPr userDrawn="1"/>
        </p:nvSpPr>
        <p:spPr>
          <a:xfrm>
            <a:off x="-640569" y="5886123"/>
            <a:ext cx="5056094" cy="50854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69865E-F784-6F36-0E6D-25908B58FEC9}"/>
              </a:ext>
            </a:extLst>
          </p:cNvPr>
          <p:cNvSpPr txBox="1"/>
          <p:nvPr userDrawn="1"/>
        </p:nvSpPr>
        <p:spPr>
          <a:xfrm>
            <a:off x="478162" y="6017450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 </a:t>
            </a:r>
            <a:endParaRPr lang="en-US" sz="1400" spc="10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9795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9657D6E-D7A9-5757-D780-8C4C40EAF8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6281A67-EECF-3906-182B-26FC6009B376}"/>
              </a:ext>
            </a:extLst>
          </p:cNvPr>
          <p:cNvSpPr/>
          <p:nvPr userDrawn="1"/>
        </p:nvSpPr>
        <p:spPr>
          <a:xfrm>
            <a:off x="3004457" y="0"/>
            <a:ext cx="9187542" cy="62007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996E0E-C323-7488-C5C5-A730ED0AAA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580"/>
          <a:stretch/>
        </p:blipFill>
        <p:spPr>
          <a:xfrm>
            <a:off x="-28800" y="1862992"/>
            <a:ext cx="3644305" cy="502040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48307A7-7DAF-A3D0-EEA7-B63B600E8639}"/>
              </a:ext>
            </a:extLst>
          </p:cNvPr>
          <p:cNvSpPr/>
          <p:nvPr/>
        </p:nvSpPr>
        <p:spPr>
          <a:xfrm>
            <a:off x="3004457" y="0"/>
            <a:ext cx="9187542" cy="62007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6391" y="441325"/>
            <a:ext cx="7632700" cy="4609306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4800" b="0" i="0">
                <a:solidFill>
                  <a:schemeClr val="bg1"/>
                </a:solidFill>
                <a:latin typeface="IAS Ribbon Sans Regular" pitchFamily="2" charset="0"/>
                <a:ea typeface="IAS Ribbon Sans Regular" pitchFamily="2" charset="0"/>
              </a:defRPr>
            </a:lvl1pPr>
          </a:lstStyle>
          <a:p>
            <a:r>
              <a:rPr lang="en-GB" noProof="0" dirty="0"/>
              <a:t>“Click to edit Master title style”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683131-2416-4447-B094-A11566C296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5364956"/>
            <a:ext cx="7632700" cy="835818"/>
          </a:xfrm>
        </p:spPr>
        <p:txBody>
          <a:bodyPr>
            <a:norm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ea typeface="IAS Ribbon Sans Regular" pitchFamily="2" charset="0"/>
              </a:defRPr>
            </a:lvl1pPr>
          </a:lstStyle>
          <a:p>
            <a:pPr lvl="0"/>
            <a:r>
              <a:rPr lang="en-GB" noProof="0" dirty="0"/>
              <a:t>Quote cit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BD2531-B330-3930-3318-0A3155709EE6}"/>
              </a:ext>
            </a:extLst>
          </p:cNvPr>
          <p:cNvSpPr txBox="1"/>
          <p:nvPr/>
        </p:nvSpPr>
        <p:spPr>
          <a:xfrm>
            <a:off x="4116388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6 – 10 October · Lima, Peru and virtu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2CB9AF-2DB1-B554-78D0-E26F7FBCD684}"/>
              </a:ext>
            </a:extLst>
          </p:cNvPr>
          <p:cNvSpPr txBox="1"/>
          <p:nvPr/>
        </p:nvSpPr>
        <p:spPr>
          <a:xfrm>
            <a:off x="7789864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hivr4p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A29D02-9F95-CE08-4D0B-BA8E1DA1DF95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7108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04354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D7FF4C-6219-EAB0-1A74-5AB60E509D5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21500" y="0"/>
            <a:ext cx="52705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 marL="914400" indent="0">
              <a:buNone/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10B3724-3C95-7F35-028A-884DA7B636BB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C7DA46C4-F7B4-D385-FF42-16FFF7775413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5A3DD0E-AF21-33A6-5F93-73DB04D9AAF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24655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509320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43ABB905-E79E-30AA-0503-9FE8D7774F7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15713" y="249025"/>
            <a:ext cx="5093208" cy="5092861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0A0A7652-316E-A169-C6F1-3BD4FBBE678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54353" y="3142527"/>
            <a:ext cx="3466684" cy="3466448"/>
          </a:xfrm>
          <a:prstGeom prst="ellipse">
            <a:avLst/>
          </a:prstGeom>
          <a:pattFill prst="pct50">
            <a:fgClr>
              <a:srgbClr val="283583"/>
            </a:fgClr>
            <a:bgClr>
              <a:schemeClr val="bg1"/>
            </a:bgClr>
          </a:pattFill>
          <a:ln w="254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2628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19B9BCA-D56F-833E-B2CD-8E345F082D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4" y="4999392"/>
            <a:ext cx="5645888" cy="90289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2" y="6034419"/>
            <a:ext cx="5645887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0700E8-E5C6-3A63-1281-0DAB5512F32A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CEDB23A-78C2-B75B-356E-A69DC5D8D3C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81841A-80EE-4DC0-2B30-8DB3EB8FC84F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  <p:pic>
        <p:nvPicPr>
          <p:cNvPr id="9" name="Picture 8" descr="Logo&#10;&#10;Description automatically generated with low confidence">
            <a:extLst>
              <a:ext uri="{FF2B5EF4-FFF2-40B4-BE49-F238E27FC236}">
                <a16:creationId xmlns:a16="http://schemas.microsoft.com/office/drawing/2014/main" id="{7D35872E-9E23-BF0D-6F1A-F14497DB5A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29" y="163631"/>
            <a:ext cx="1328491" cy="71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9784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19B9BCA-D56F-833E-B2CD-8E345F082D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4" y="4999392"/>
            <a:ext cx="5645888" cy="90289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2" y="6034419"/>
            <a:ext cx="5645887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0700E8-E5C6-3A63-1281-0DAB5512F32A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CEDB23A-78C2-B75B-356E-A69DC5D8D3C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81841A-80EE-4DC0-2B30-8DB3EB8FC84F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F67BA5B-DA70-4E8C-31B1-6985E9C2A0C4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061F1F0-1C40-BC7D-9498-219C01E1B1AF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276BE3BA-F197-0077-7A8A-5EAD43222A9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3F355FE-5452-2590-A03F-01EE20D0E132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FDF5A44-83AF-5EA1-DABD-35A6139D0376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410313D-821D-3284-B487-F58B3B0F3882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A18F1AA-90A7-43B0-B8BD-FF4CBCF31E5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6328D89-F5F1-D635-2072-A84A1C7AEA62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08670F-D1E7-9935-40B3-79112A4B079D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379E4BD-6D69-772A-BC84-A274136CACB3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FB7079F-C72B-24B9-32DA-DAB42E187DEF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38CA3E4-4C5E-DC0D-CA55-C344BB57311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DC167D6-4421-7003-CA2F-B345CB6E334F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E262DFE-BADC-F569-B080-52CE707AFDAA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6AC3788-8801-E620-BC0B-6FAEF5F4D3F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FC70EE7-4D33-A10B-7080-896DE5FCC041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9CFBE1-6A29-9A11-A6B6-6111268E8A2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44E8D3D-6B34-CC5A-DB29-CE1CF742F4C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62E56E6-0F1B-1D85-DA0C-A323D21E578D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554CA1C-E5B3-F8AC-3CC4-827707DC853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296128-C130-984C-B982-A812F39D629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E2180FA-C0C2-A92F-2AA7-081B1FB9AF20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93E3298-95A5-C7A7-B732-ED50BD737EF0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735901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F47D115-452B-08D2-9794-971393220C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12192000" cy="4460358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612752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834149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8B0B01-FA07-7A6A-11D8-3BD42BF09B4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6222134-2593-AA46-874A-B0C81CEAA8B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B798C9-B299-9982-366A-26721B26EDE8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2BCACB-1EF4-AC43-781E-2AFEC14A2331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ECD574D-12F9-5BC5-479A-F3CD9EB8E3E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88701C5-BDE9-3097-01A1-2935E3DB0A9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118548B-0C43-43EB-E862-7B1C16A6931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823D86F-C145-6F8A-6D28-BAD75BBF16B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7E1278-3052-0C64-3C00-6F5FB64FA76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DEA09D-9EF6-730A-0891-55ACF9C248D5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E733D7D-99B6-4A86-CC88-3D0E1CDE2868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42AC1B-6E4D-22FB-E242-23A1FD4DF58C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9F9573-559C-6F4A-B72F-27E5AA45E57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C2C9FD-13CB-452C-FE74-0641AEE8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884C2E-7AAC-8E43-5867-0C2B20053B46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E2B7154-2A1E-907C-B7CB-636BA10C1FB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92B019B-28FB-D5BE-B78E-2DB438906799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0FB779-ED3A-A81D-465C-B93DF225E9AD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07E954-2B1D-BB17-8135-C30997CB459E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B695AF7-E597-BC29-8CB0-F7F95C808C7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2C1048-6570-CD75-E197-5B25AEEB2F2C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C3B1B0-0120-3E22-3ABD-E0F6DDCD382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2FBACCF-A140-854A-4415-D98738D61B2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4544A1-FE52-590D-096C-0C8CC620FE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563" y="4817027"/>
            <a:ext cx="5093208" cy="1723348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794459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FD139D-ACD8-7426-CF91-95A531226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85BEE-058B-F13E-D416-4883D90AB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014F99-72CA-64EB-C98B-A532FA389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11381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0DB1D655-C45D-E4E4-1C77-748132634D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2646316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95922"/>
            <a:ext cx="4190526" cy="751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 </a:t>
            </a:r>
          </a:p>
        </p:txBody>
      </p:sp>
    </p:spTree>
    <p:extLst>
      <p:ext uri="{BB962C8B-B14F-4D97-AF65-F5344CB8AC3E}">
        <p14:creationId xmlns:p14="http://schemas.microsoft.com/office/powerpoint/2010/main" val="1019919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0DB1D655-C45D-E4E4-1C77-748132634DC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attFill prst="pct50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E1471DF-AED5-466E-A584-8CE67589AF03}"/>
              </a:ext>
            </a:extLst>
          </p:cNvPr>
          <p:cNvSpPr/>
          <p:nvPr userDrawn="1"/>
        </p:nvSpPr>
        <p:spPr>
          <a:xfrm>
            <a:off x="-1093258" y="2201724"/>
            <a:ext cx="6490204" cy="2810362"/>
          </a:xfrm>
          <a:prstGeom prst="roundRect">
            <a:avLst>
              <a:gd name="adj" fmla="val 50000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119" y="2506431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5120" y="3956037"/>
            <a:ext cx="4190526" cy="751361"/>
          </a:xfrm>
        </p:spPr>
        <p:txBody>
          <a:bodyPr/>
          <a:lstStyle>
            <a:lvl1pPr marL="0" indent="0">
              <a:buNone/>
              <a:defRPr sz="24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 </a:t>
            </a:r>
          </a:p>
        </p:txBody>
      </p:sp>
    </p:spTree>
    <p:extLst>
      <p:ext uri="{BB962C8B-B14F-4D97-AF65-F5344CB8AC3E}">
        <p14:creationId xmlns:p14="http://schemas.microsoft.com/office/powerpoint/2010/main" val="148824667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F93338-734A-F44A-E5C0-0B51278EC7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" y="333"/>
            <a:ext cx="12190815" cy="68573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09BB742-DFDA-AD92-BE4C-92ABE60ED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2646316"/>
            <a:ext cx="4190525" cy="1422618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8FDB7B-8AD4-718A-3EBF-8472A792F0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095922"/>
            <a:ext cx="4190526" cy="751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14BD72B-35DB-0CDF-8BFC-7C25AAFD32A8}"/>
              </a:ext>
            </a:extLst>
          </p:cNvPr>
          <p:cNvSpPr/>
          <p:nvPr/>
        </p:nvSpPr>
        <p:spPr>
          <a:xfrm>
            <a:off x="-157736" y="6477588"/>
            <a:ext cx="2635903" cy="27186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09B3EA-6015-07E0-70EB-97C1310F7CDC}"/>
              </a:ext>
            </a:extLst>
          </p:cNvPr>
          <p:cNvSpPr txBox="1"/>
          <p:nvPr/>
        </p:nvSpPr>
        <p:spPr>
          <a:xfrm>
            <a:off x="188996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 </a:t>
            </a:r>
          </a:p>
        </p:txBody>
      </p:sp>
    </p:spTree>
    <p:extLst>
      <p:ext uri="{BB962C8B-B14F-4D97-AF65-F5344CB8AC3E}">
        <p14:creationId xmlns:p14="http://schemas.microsoft.com/office/powerpoint/2010/main" val="3849788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EA4C31-D4D8-70A6-BBD7-8A92893587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6" y="-1524"/>
            <a:ext cx="12183879" cy="68595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3F72A30-694A-FECA-8A80-0507B9F61C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1484" y="3370521"/>
            <a:ext cx="5461590" cy="1457880"/>
          </a:xfrm>
        </p:spPr>
        <p:txBody>
          <a:bodyPr anchor="b">
            <a:normAutofit/>
          </a:bodyPr>
          <a:lstStyle>
            <a:lvl1pPr algn="l">
              <a:defRPr sz="5000"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9D7953-3C8E-51F3-C855-14B7B9775E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1484" y="4920476"/>
            <a:ext cx="5461590" cy="65993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C268E5-5E93-1BC6-80D2-95E94B0DA1C3}"/>
              </a:ext>
            </a:extLst>
          </p:cNvPr>
          <p:cNvGrpSpPr/>
          <p:nvPr userDrawn="1"/>
        </p:nvGrpSpPr>
        <p:grpSpPr>
          <a:xfrm>
            <a:off x="649593" y="611446"/>
            <a:ext cx="3021218" cy="1580760"/>
            <a:chOff x="442593" y="368967"/>
            <a:chExt cx="3021218" cy="158076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6C66A43-9053-CD57-96DF-5AF640568E6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9A9DFE4-0248-553D-6A73-25B92E7D8027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ADF9B15-B220-08AF-1602-C7901174F6EF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86D7A0B-0B1E-CC2A-4A97-2EFF680AC43D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F2F86C9-0944-920B-9A96-D9DF03D3759A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2980F7F-60F9-EE1E-3F73-015407199C70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E40DED8-98C8-3CC4-FC45-A8224AC0B93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6C7DD25-D563-BBBE-3B49-D889209CDFE3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62AD4D-5450-3C51-80EA-FFEBA2584291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D1AA603-428F-4FC8-8C2C-D036ABC764A0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1E88753-F0C3-3E4E-93AC-041F4B309E1F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771AE00-72A2-FDD9-DD4B-4A27F3151503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4E92E4E-2ACA-C80C-E2BD-DD687DDD5E57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E61368B-D23A-9BFB-EADC-C66417E2E69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F773492-5FF2-550C-2699-C53A612F90D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649AB0C-05F9-559A-B62C-6574965078DC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00C94E8-A04D-917B-FB46-D124974EB249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0A600F7-50E2-BD77-430A-570B0587A54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7E4290A-748C-2584-070C-C49109E40C9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D7C7A4-796C-3B49-ADA2-A797A5412E2E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9FCF071-13A7-F53B-6132-3D0199124392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7F55736-1FFD-44C3-3151-E423AD3B03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95D0DD1-E864-5BC4-C4A1-9AF162527BF7}"/>
              </a:ext>
            </a:extLst>
          </p:cNvPr>
          <p:cNvSpPr/>
          <p:nvPr userDrawn="1"/>
        </p:nvSpPr>
        <p:spPr>
          <a:xfrm>
            <a:off x="-640569" y="5886123"/>
            <a:ext cx="5056094" cy="50854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69865E-F784-6F36-0E6D-25908B58FEC9}"/>
              </a:ext>
            </a:extLst>
          </p:cNvPr>
          <p:cNvSpPr txBox="1"/>
          <p:nvPr userDrawn="1"/>
        </p:nvSpPr>
        <p:spPr>
          <a:xfrm>
            <a:off x="478162" y="6017450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400" b="1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  <a:endParaRPr lang="en-US" sz="1400" spc="100" dirty="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1933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50">
            <a:extLst>
              <a:ext uri="{FF2B5EF4-FFF2-40B4-BE49-F238E27FC236}">
                <a16:creationId xmlns:a16="http://schemas.microsoft.com/office/drawing/2014/main" id="{33EAF83C-3B7E-F224-6BC2-F7AC5D22FD20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-7938"/>
            <a:ext cx="12191999" cy="6865938"/>
          </a:xfrm>
          <a:pattFill prst="pct5">
            <a:fgClr>
              <a:srgbClr val="283583"/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E6319-371F-73ED-D404-69ECF71751BB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98FB94-527B-B197-7716-F136EE04CF1A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A2481DB-9BF7-2B01-9526-DD027DA0B25E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35D595-12F9-F942-3BB4-2FD74AA8D833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34E6FA9-3FFD-0C65-90B5-BA9A03C0785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F1D1A45-F1F7-3847-DDB6-758C99D89D0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5E27280-C872-3DB8-6F29-2825681B6175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A930F2C-2E21-8B86-3DF0-BFFE39040517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383EBED-1B2B-9AD7-86D4-E22B6E1AD9F8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F469D19-5E42-CCE2-CC6B-7DE3F451A9D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A8B72D0-BB41-737F-3EC5-6AFD4D94715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A519CB8-D737-E012-754B-0BCB1FF7F444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3E968F-8278-75F6-CEF2-CBFA6EEAE576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443A532-3A84-1688-0860-D28774A568D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B5D6783-B46D-08D3-2D75-9FA9B552C967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0BF90E5-EB7F-8607-2564-CB322238ACC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147A0CA-8E3A-2208-3701-75BA893D5881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E12889E-D45C-7BEF-DEE1-78A210296AF1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205DA17-1AB5-56E5-5255-3979CF907806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74AADE-89DA-3020-CA2C-4F6499B85683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88E2B88-8ED3-B61F-C64E-827008BB0BA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3B05841-2398-83DD-38A5-46A553668E9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2A71BCB-8A39-A830-5514-A8EC0302559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139847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D50353-FD7F-3B2B-713C-7F0A749FA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348" y="357213"/>
            <a:ext cx="9397409" cy="36512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4ADCB4-0471-4359-21E0-92E03B9A4D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06348" y="2413752"/>
            <a:ext cx="9397409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524534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D3FE70-09E9-3874-ACC1-7E079E555C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7594"/>
            <a:ext cx="12191999" cy="686559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0FB6E74-2C62-1BB5-E015-B4B231F9E5F6}"/>
              </a:ext>
            </a:extLst>
          </p:cNvPr>
          <p:cNvSpPr/>
          <p:nvPr userDrawn="1"/>
        </p:nvSpPr>
        <p:spPr>
          <a:xfrm>
            <a:off x="-1781608" y="1476376"/>
            <a:ext cx="6490204" cy="2810362"/>
          </a:xfrm>
          <a:prstGeom prst="roundRect">
            <a:avLst>
              <a:gd name="adj" fmla="val 50000"/>
            </a:avLst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6C77B3-AE18-466E-F053-AF5DCB71F207}"/>
              </a:ext>
            </a:extLst>
          </p:cNvPr>
          <p:cNvSpPr/>
          <p:nvPr userDrawn="1"/>
        </p:nvSpPr>
        <p:spPr>
          <a:xfrm>
            <a:off x="0" y="4460358"/>
            <a:ext cx="12192000" cy="2397642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2007855"/>
            <a:ext cx="3088757" cy="110748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rgbClr val="55B4E6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3229252"/>
            <a:ext cx="3088757" cy="51340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rgbClr val="55B4E6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0A62C-03F5-3816-17A9-4F526731594F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3A52FC-B255-F1CD-934A-70EDCCE54E97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A6258C7-6E31-CC80-2C6E-9E50077E061C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8B0B01-FA07-7A6A-11D8-3BD42BF09B4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6222134-2593-AA46-874A-B0C81CEAA8B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4B798C9-B299-9982-366A-26721B26EDE8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2BCACB-1EF4-AC43-781E-2AFEC14A2331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ECD574D-12F9-5BC5-479A-F3CD9EB8E3E9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88701C5-BDE9-3097-01A1-2935E3DB0A9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118548B-0C43-43EB-E862-7B1C16A6931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823D86F-C145-6F8A-6D28-BAD75BBF16B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37E1278-3052-0C64-3C00-6F5FB64FA765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9DEA09D-9EF6-730A-0891-55ACF9C248D5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E733D7D-99B6-4A86-CC88-3D0E1CDE2868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742AC1B-6E4D-22FB-E242-23A1FD4DF58C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9F9573-559C-6F4A-B72F-27E5AA45E57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5C2C9FD-13CB-452C-FE74-0641AEE8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8884C2E-7AAC-8E43-5867-0C2B20053B46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E2B7154-2A1E-907C-B7CB-636BA10C1FB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A92B019B-28FB-D5BE-B78E-2DB438906799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0FB779-ED3A-A81D-465C-B93DF225E9AD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507E954-2B1D-BB17-8135-C30997CB459E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B695AF7-E597-BC29-8CB0-F7F95C808C7B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22C1048-6570-CD75-E197-5B25AEEB2F2C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C3B1B0-0120-3E22-3ABD-E0F6DDCD382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2FBACCF-A140-854A-4415-D98738D61B2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3CCC2-26CC-C83A-D7FB-328912C84F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563" y="4688020"/>
            <a:ext cx="5438888" cy="1538591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42950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DE8CD9-F8BD-388E-5271-277BC8373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65594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FD139D-ACD8-7426-CF91-95A531226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85BEE-058B-F13E-D416-4883D90AB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014F99-72CA-64EB-C98B-A532FA389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C5C4DDB-D352-6C4F-C495-AC30D1583259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C88978CE-BAE9-FFFC-8D2E-8FDB8A7CE819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90A93AC-8FB2-EB18-12F7-2B8B25098178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3F453CC-5027-B666-52EC-D6C93AB5561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A1FF8DE-0FA3-9D35-C3E1-57F7A9627D28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230880-71ED-BC11-43C8-9F8BE598AE4C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E44725-07B8-E5E0-404A-78D7B9537009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C1EB5DE-DF4D-5A6D-EC34-8D11D0E7C9BB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BB8BF39-97E3-AE8F-FDA3-B115491C0601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4D59968-BF6F-A819-09FC-6BF678ED0493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34CD521-9AF1-0086-9C6D-7C02F83FC845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32CAD-5E3B-042B-75B4-C285BD1B71A7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7C8ABD6-E221-3D4C-9DA2-D308EEADDFA9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7C9004D-781E-55A5-04B0-4027F92845B9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E0EF98-877C-D767-2D3D-CB2C215BA8C1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4DF5FDC-3E67-9B2D-C8CB-68C3779A152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AB65B1-5FA1-2C82-8DFA-23F825CBA76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300D829-36D7-809A-F745-244E6D77961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A825E35-B874-4B33-F7DD-CA313D899B1B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11FC87C-551D-1BF1-1106-686902B734E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E32E842-F17B-8FE0-AEB6-AD1E605FFDA4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E07950E-2579-EB97-EF37-BB0E7D5892CC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F5E7B1-2B37-C79D-5014-DA4B5E1D8659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C487FAC-7E96-5509-0FF8-E3ACB4E8937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BB72A78-ACD4-30B1-B2E1-3E2F5677B671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12E134B-E5FD-4E80-A27F-3714F9C6E232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980505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9BE03A-4FDF-590B-1A91-B41FA4BC15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414" y="3045"/>
            <a:ext cx="12181172" cy="6851909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62BECF2-2393-FE1F-2557-1643100E81DD}"/>
              </a:ext>
            </a:extLst>
          </p:cNvPr>
          <p:cNvSpPr/>
          <p:nvPr userDrawn="1"/>
        </p:nvSpPr>
        <p:spPr>
          <a:xfrm>
            <a:off x="7670362" y="5164998"/>
            <a:ext cx="6480833" cy="50854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A77665-51AC-E492-C67C-B1CCD76F3F2C}"/>
              </a:ext>
            </a:extLst>
          </p:cNvPr>
          <p:cNvSpPr txBox="1"/>
          <p:nvPr userDrawn="1"/>
        </p:nvSpPr>
        <p:spPr>
          <a:xfrm>
            <a:off x="8251233" y="5296325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 </a:t>
            </a:r>
            <a:endParaRPr lang="en-US" sz="1400" spc="10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B2F2B17-3D43-F44D-4669-331DAA7843A3}"/>
              </a:ext>
            </a:extLst>
          </p:cNvPr>
          <p:cNvGrpSpPr/>
          <p:nvPr userDrawn="1"/>
        </p:nvGrpSpPr>
        <p:grpSpPr>
          <a:xfrm>
            <a:off x="532635" y="393478"/>
            <a:ext cx="3021218" cy="1580760"/>
            <a:chOff x="442593" y="368967"/>
            <a:chExt cx="3021218" cy="15807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6177DFF-BF03-E552-6332-A38168641E3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540387-381A-7DC7-C756-966C78699FF5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57333C9-1C1F-842A-4F73-BA6C872C79A0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E76F48-D498-5C33-7911-72F299627DF3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7955A4D-1418-D9A3-A3FC-719C7797FC07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BDE892-A3AD-E814-4A75-320A058BAB3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A77D4B6-B503-AF84-24FF-879ADEEB490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063957E-A541-6C5E-3C62-BCFAD6C62C7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EB87F36-D22A-9DC1-3C89-F1A3D5B4319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A55ED6B-9F6A-AE2C-FB3E-19A7639BD147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8008F57-476E-D364-CC8B-05D3BCCA5B8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9C7376E-E7B0-3A18-7484-3AC1855725B2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A53164B-3B02-23B3-9E12-436EE875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DE7FE3E-67EE-6F89-7049-A6594EB3D438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907AAD0-7B85-2E4B-C057-B2F33E159933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91F9CBA-5606-8D81-4737-F41639785C9D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5B77A19-38F0-856F-023D-9ADE86A9B8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68C5118-A307-FA48-6809-47617D7330A5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23BE778-0117-DD6A-A836-1C76582DB6F7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283462C-FD58-8FD1-22E8-197B7496C3C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261555F-EF5D-5A39-37DB-D87B6FEDF557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57241ED-595B-BB28-C586-4012E98DF0B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909CE8-91E5-BFA1-4DEB-3EDADF2802BF}"/>
              </a:ext>
            </a:extLst>
          </p:cNvPr>
          <p:cNvSpPr/>
          <p:nvPr/>
        </p:nvSpPr>
        <p:spPr>
          <a:xfrm flipH="1">
            <a:off x="7670360" y="6477588"/>
            <a:ext cx="4725382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EF873C-A4B9-BD3A-75D5-47B05F4DF343}"/>
              </a:ext>
            </a:extLst>
          </p:cNvPr>
          <p:cNvSpPr txBox="1"/>
          <p:nvPr/>
        </p:nvSpPr>
        <p:spPr>
          <a:xfrm>
            <a:off x="8045963" y="6477383"/>
            <a:ext cx="3943924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/USER/MEDICINESPATENTPOOL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5EA60CB-EF4B-A609-39AA-EF0664985CF9}"/>
              </a:ext>
            </a:extLst>
          </p:cNvPr>
          <p:cNvSpPr/>
          <p:nvPr userDrawn="1"/>
        </p:nvSpPr>
        <p:spPr>
          <a:xfrm flipH="1">
            <a:off x="7670360" y="614507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B7B35-E5B2-FBBB-3899-A1F9AEA3B0C3}"/>
              </a:ext>
            </a:extLst>
          </p:cNvPr>
          <p:cNvSpPr txBox="1"/>
          <p:nvPr userDrawn="1"/>
        </p:nvSpPr>
        <p:spPr>
          <a:xfrm>
            <a:off x="8045962" y="614487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WWW.LINKEDIN.COM/COMPANY/MEDICINES-PATENT-POOL/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C338AE36-D894-2734-AD2E-E38208CF9F4D}"/>
              </a:ext>
            </a:extLst>
          </p:cNvPr>
          <p:cNvSpPr/>
          <p:nvPr userDrawn="1"/>
        </p:nvSpPr>
        <p:spPr>
          <a:xfrm flipH="1">
            <a:off x="7670360" y="581845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DD78A8E-707F-D22C-CAAE-97C18BD75542}"/>
              </a:ext>
            </a:extLst>
          </p:cNvPr>
          <p:cNvSpPr txBox="1"/>
          <p:nvPr userDrawn="1"/>
        </p:nvSpPr>
        <p:spPr>
          <a:xfrm>
            <a:off x="8045962" y="581825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/USER/MEDICINESPATENTPOOL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FC51CB28-A6D4-7107-8133-8869834A7152}"/>
              </a:ext>
            </a:extLst>
          </p:cNvPr>
          <p:cNvSpPr/>
          <p:nvPr/>
        </p:nvSpPr>
        <p:spPr>
          <a:xfrm>
            <a:off x="7838449" y="5859288"/>
            <a:ext cx="205620" cy="182510"/>
          </a:xfrm>
          <a:custGeom>
            <a:avLst/>
            <a:gdLst>
              <a:gd name="connsiteX0" fmla="*/ 178003 w 205620"/>
              <a:gd name="connsiteY0" fmla="*/ 91762 h 182510"/>
              <a:gd name="connsiteX1" fmla="*/ 171193 w 205620"/>
              <a:gd name="connsiteY1" fmla="*/ 111436 h 182510"/>
              <a:gd name="connsiteX2" fmla="*/ 153979 w 205620"/>
              <a:gd name="connsiteY2" fmla="*/ 138864 h 182510"/>
              <a:gd name="connsiteX3" fmla="*/ 106877 w 205620"/>
              <a:gd name="connsiteY3" fmla="*/ 174049 h 182510"/>
              <a:gd name="connsiteX4" fmla="*/ 74909 w 205620"/>
              <a:gd name="connsiteY4" fmla="*/ 181804 h 182510"/>
              <a:gd name="connsiteX5" fmla="*/ 17592 w 205620"/>
              <a:gd name="connsiteY5" fmla="*/ 172346 h 182510"/>
              <a:gd name="connsiteX6" fmla="*/ 0 w 205620"/>
              <a:gd name="connsiteY6" fmla="*/ 161942 h 182510"/>
              <a:gd name="connsiteX7" fmla="*/ 59397 w 205620"/>
              <a:gd name="connsiteY7" fmla="*/ 143404 h 182510"/>
              <a:gd name="connsiteX8" fmla="*/ 35941 w 205620"/>
              <a:gd name="connsiteY8" fmla="*/ 133378 h 182510"/>
              <a:gd name="connsiteX9" fmla="*/ 21754 w 205620"/>
              <a:gd name="connsiteY9" fmla="*/ 111814 h 182510"/>
              <a:gd name="connsiteX10" fmla="*/ 40292 w 205620"/>
              <a:gd name="connsiteY10" fmla="*/ 110301 h 182510"/>
              <a:gd name="connsiteX11" fmla="*/ 7377 w 205620"/>
              <a:gd name="connsiteY11" fmla="*/ 64523 h 182510"/>
              <a:gd name="connsiteX12" fmla="*/ 25159 w 205620"/>
              <a:gd name="connsiteY12" fmla="*/ 69441 h 182510"/>
              <a:gd name="connsiteX13" fmla="*/ 13052 w 205620"/>
              <a:gd name="connsiteY13" fmla="*/ 9098 h 182510"/>
              <a:gd name="connsiteX14" fmla="*/ 19673 w 205620"/>
              <a:gd name="connsiteY14" fmla="*/ 15908 h 182510"/>
              <a:gd name="connsiteX15" fmla="*/ 45399 w 205620"/>
              <a:gd name="connsiteY15" fmla="*/ 38040 h 182510"/>
              <a:gd name="connsiteX16" fmla="*/ 76611 w 205620"/>
              <a:gd name="connsiteY16" fmla="*/ 52416 h 182510"/>
              <a:gd name="connsiteX17" fmla="*/ 98176 w 205620"/>
              <a:gd name="connsiteY17" fmla="*/ 56011 h 182510"/>
              <a:gd name="connsiteX18" fmla="*/ 101203 w 205620"/>
              <a:gd name="connsiteY18" fmla="*/ 52416 h 182510"/>
              <a:gd name="connsiteX19" fmla="*/ 104986 w 205620"/>
              <a:gd name="connsiteY19" fmla="*/ 25933 h 182510"/>
              <a:gd name="connsiteX20" fmla="*/ 129955 w 205620"/>
              <a:gd name="connsiteY20" fmla="*/ 2099 h 182510"/>
              <a:gd name="connsiteX21" fmla="*/ 152277 w 205620"/>
              <a:gd name="connsiteY21" fmla="*/ 964 h 182510"/>
              <a:gd name="connsiteX22" fmla="*/ 171761 w 205620"/>
              <a:gd name="connsiteY22" fmla="*/ 12314 h 182510"/>
              <a:gd name="connsiteX23" fmla="*/ 176868 w 205620"/>
              <a:gd name="connsiteY23" fmla="*/ 13638 h 182510"/>
              <a:gd name="connsiteX24" fmla="*/ 200892 w 205620"/>
              <a:gd name="connsiteY24" fmla="*/ 3234 h 182510"/>
              <a:gd name="connsiteX25" fmla="*/ 192947 w 205620"/>
              <a:gd name="connsiteY25" fmla="*/ 18934 h 182510"/>
              <a:gd name="connsiteX26" fmla="*/ 186894 w 205620"/>
              <a:gd name="connsiteY26" fmla="*/ 24988 h 182510"/>
              <a:gd name="connsiteX27" fmla="*/ 185759 w 205620"/>
              <a:gd name="connsiteY27" fmla="*/ 27447 h 182510"/>
              <a:gd name="connsiteX28" fmla="*/ 188407 w 205620"/>
              <a:gd name="connsiteY28" fmla="*/ 27636 h 182510"/>
              <a:gd name="connsiteX29" fmla="*/ 203351 w 205620"/>
              <a:gd name="connsiteY29" fmla="*/ 22339 h 182510"/>
              <a:gd name="connsiteX30" fmla="*/ 205621 w 205620"/>
              <a:gd name="connsiteY30" fmla="*/ 22150 h 182510"/>
              <a:gd name="connsiteX31" fmla="*/ 186515 w 205620"/>
              <a:gd name="connsiteY31" fmla="*/ 44472 h 182510"/>
              <a:gd name="connsiteX32" fmla="*/ 184624 w 205620"/>
              <a:gd name="connsiteY32" fmla="*/ 48066 h 182510"/>
              <a:gd name="connsiteX33" fmla="*/ 181597 w 205620"/>
              <a:gd name="connsiteY33" fmla="*/ 78521 h 182510"/>
              <a:gd name="connsiteX34" fmla="*/ 178003 w 205620"/>
              <a:gd name="connsiteY34" fmla="*/ 90817 h 182510"/>
              <a:gd name="connsiteX35" fmla="*/ 177435 w 205620"/>
              <a:gd name="connsiteY35" fmla="*/ 91006 h 182510"/>
              <a:gd name="connsiteX36" fmla="*/ 178003 w 205620"/>
              <a:gd name="connsiteY36" fmla="*/ 91384 h 182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5620" h="182510">
                <a:moveTo>
                  <a:pt x="178003" y="91762"/>
                </a:moveTo>
                <a:cubicBezTo>
                  <a:pt x="177057" y="98762"/>
                  <a:pt x="174031" y="105193"/>
                  <a:pt x="171193" y="111436"/>
                </a:cubicBezTo>
                <a:cubicBezTo>
                  <a:pt x="166653" y="121461"/>
                  <a:pt x="160789" y="130541"/>
                  <a:pt x="153979" y="138864"/>
                </a:cubicBezTo>
                <a:cubicBezTo>
                  <a:pt x="141305" y="154565"/>
                  <a:pt x="125794" y="166482"/>
                  <a:pt x="106877" y="174049"/>
                </a:cubicBezTo>
                <a:cubicBezTo>
                  <a:pt x="96473" y="178210"/>
                  <a:pt x="85880" y="180480"/>
                  <a:pt x="74909" y="181804"/>
                </a:cubicBezTo>
                <a:cubicBezTo>
                  <a:pt x="54668" y="184264"/>
                  <a:pt x="35752" y="180102"/>
                  <a:pt x="17592" y="172346"/>
                </a:cubicBezTo>
                <a:cubicBezTo>
                  <a:pt x="11728" y="169887"/>
                  <a:pt x="5864" y="167050"/>
                  <a:pt x="0" y="161942"/>
                </a:cubicBezTo>
                <a:cubicBezTo>
                  <a:pt x="22700" y="163266"/>
                  <a:pt x="42183" y="157402"/>
                  <a:pt x="59397" y="143404"/>
                </a:cubicBezTo>
                <a:cubicBezTo>
                  <a:pt x="50507" y="142458"/>
                  <a:pt x="42751" y="138864"/>
                  <a:pt x="35941" y="133378"/>
                </a:cubicBezTo>
                <a:cubicBezTo>
                  <a:pt x="29131" y="127704"/>
                  <a:pt x="24591" y="120326"/>
                  <a:pt x="21754" y="111814"/>
                </a:cubicBezTo>
                <a:cubicBezTo>
                  <a:pt x="27996" y="112381"/>
                  <a:pt x="34049" y="112570"/>
                  <a:pt x="40292" y="110301"/>
                </a:cubicBezTo>
                <a:cubicBezTo>
                  <a:pt x="20241" y="104436"/>
                  <a:pt x="6242" y="84574"/>
                  <a:pt x="7377" y="64523"/>
                </a:cubicBezTo>
                <a:cubicBezTo>
                  <a:pt x="13052" y="66982"/>
                  <a:pt x="18349" y="70576"/>
                  <a:pt x="25159" y="69441"/>
                </a:cubicBezTo>
                <a:cubicBezTo>
                  <a:pt x="6621" y="52227"/>
                  <a:pt x="3594" y="32176"/>
                  <a:pt x="13052" y="9098"/>
                </a:cubicBezTo>
                <a:cubicBezTo>
                  <a:pt x="16457" y="10800"/>
                  <a:pt x="17971" y="13638"/>
                  <a:pt x="19673" y="15908"/>
                </a:cubicBezTo>
                <a:cubicBezTo>
                  <a:pt x="26861" y="24988"/>
                  <a:pt x="36319" y="31230"/>
                  <a:pt x="45399" y="38040"/>
                </a:cubicBezTo>
                <a:cubicBezTo>
                  <a:pt x="54857" y="45228"/>
                  <a:pt x="65640" y="49011"/>
                  <a:pt x="76611" y="52416"/>
                </a:cubicBezTo>
                <a:cubicBezTo>
                  <a:pt x="83421" y="54686"/>
                  <a:pt x="90609" y="56389"/>
                  <a:pt x="98176" y="56011"/>
                </a:cubicBezTo>
                <a:cubicBezTo>
                  <a:pt x="101013" y="56011"/>
                  <a:pt x="101770" y="54876"/>
                  <a:pt x="101203" y="52416"/>
                </a:cubicBezTo>
                <a:cubicBezTo>
                  <a:pt x="99311" y="43147"/>
                  <a:pt x="101392" y="34446"/>
                  <a:pt x="104986" y="25933"/>
                </a:cubicBezTo>
                <a:cubicBezTo>
                  <a:pt x="109904" y="14395"/>
                  <a:pt x="118227" y="6260"/>
                  <a:pt x="129955" y="2099"/>
                </a:cubicBezTo>
                <a:cubicBezTo>
                  <a:pt x="137144" y="-360"/>
                  <a:pt x="144710" y="-549"/>
                  <a:pt x="152277" y="964"/>
                </a:cubicBezTo>
                <a:cubicBezTo>
                  <a:pt x="160222" y="2477"/>
                  <a:pt x="166464" y="6639"/>
                  <a:pt x="171761" y="12314"/>
                </a:cubicBezTo>
                <a:cubicBezTo>
                  <a:pt x="173463" y="14016"/>
                  <a:pt x="174787" y="14205"/>
                  <a:pt x="176868" y="13638"/>
                </a:cubicBezTo>
                <a:cubicBezTo>
                  <a:pt x="185002" y="11368"/>
                  <a:pt x="192758" y="7774"/>
                  <a:pt x="200892" y="3234"/>
                </a:cubicBezTo>
                <a:cubicBezTo>
                  <a:pt x="199378" y="9665"/>
                  <a:pt x="196541" y="14395"/>
                  <a:pt x="192947" y="18934"/>
                </a:cubicBezTo>
                <a:cubicBezTo>
                  <a:pt x="191055" y="21204"/>
                  <a:pt x="189353" y="23285"/>
                  <a:pt x="186894" y="24988"/>
                </a:cubicBezTo>
                <a:cubicBezTo>
                  <a:pt x="186137" y="25555"/>
                  <a:pt x="185191" y="26501"/>
                  <a:pt x="185759" y="27447"/>
                </a:cubicBezTo>
                <a:cubicBezTo>
                  <a:pt x="186326" y="28393"/>
                  <a:pt x="187461" y="28014"/>
                  <a:pt x="188407" y="27636"/>
                </a:cubicBezTo>
                <a:cubicBezTo>
                  <a:pt x="193514" y="25933"/>
                  <a:pt x="198811" y="24988"/>
                  <a:pt x="203351" y="22339"/>
                </a:cubicBezTo>
                <a:cubicBezTo>
                  <a:pt x="204108" y="21961"/>
                  <a:pt x="204675" y="21772"/>
                  <a:pt x="205621" y="22150"/>
                </a:cubicBezTo>
                <a:cubicBezTo>
                  <a:pt x="200892" y="31041"/>
                  <a:pt x="193893" y="37851"/>
                  <a:pt x="186515" y="44472"/>
                </a:cubicBezTo>
                <a:cubicBezTo>
                  <a:pt x="185191" y="45607"/>
                  <a:pt x="184624" y="46552"/>
                  <a:pt x="184624" y="48066"/>
                </a:cubicBezTo>
                <a:cubicBezTo>
                  <a:pt x="184813" y="58280"/>
                  <a:pt x="183110" y="68495"/>
                  <a:pt x="181597" y="78521"/>
                </a:cubicBezTo>
                <a:cubicBezTo>
                  <a:pt x="181030" y="82683"/>
                  <a:pt x="179138" y="86655"/>
                  <a:pt x="178003" y="90817"/>
                </a:cubicBezTo>
                <a:cubicBezTo>
                  <a:pt x="177814" y="90817"/>
                  <a:pt x="177625" y="90817"/>
                  <a:pt x="177435" y="91006"/>
                </a:cubicBezTo>
                <a:cubicBezTo>
                  <a:pt x="177625" y="91006"/>
                  <a:pt x="177814" y="91195"/>
                  <a:pt x="178003" y="91384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2" name="Graphic 68">
            <a:extLst>
              <a:ext uri="{FF2B5EF4-FFF2-40B4-BE49-F238E27FC236}">
                <a16:creationId xmlns:a16="http://schemas.microsoft.com/office/drawing/2014/main" id="{977A1A28-7957-A26F-4235-31722B868445}"/>
              </a:ext>
            </a:extLst>
          </p:cNvPr>
          <p:cNvGrpSpPr/>
          <p:nvPr/>
        </p:nvGrpSpPr>
        <p:grpSpPr>
          <a:xfrm>
            <a:off x="7850745" y="6181384"/>
            <a:ext cx="181327" cy="182232"/>
            <a:chOff x="7850745" y="6181384"/>
            <a:chExt cx="181327" cy="182232"/>
          </a:xfrm>
          <a:solidFill>
            <a:srgbClr val="FFFFFF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37FE79D-88CD-7F8F-7F85-1245C15F464E}"/>
                </a:ext>
              </a:extLst>
            </p:cNvPr>
            <p:cNvSpPr/>
            <p:nvPr/>
          </p:nvSpPr>
          <p:spPr>
            <a:xfrm>
              <a:off x="7912412" y="6239594"/>
              <a:ext cx="119660" cy="124023"/>
            </a:xfrm>
            <a:custGeom>
              <a:avLst/>
              <a:gdLst>
                <a:gd name="connsiteX0" fmla="*/ 38589 w 119660"/>
                <a:gd name="connsiteY0" fmla="*/ 58762 h 124023"/>
                <a:gd name="connsiteX1" fmla="*/ 38589 w 119660"/>
                <a:gd name="connsiteY1" fmla="*/ 115700 h 124023"/>
                <a:gd name="connsiteX2" fmla="*/ 38211 w 119660"/>
                <a:gd name="connsiteY2" fmla="*/ 120240 h 124023"/>
                <a:gd name="connsiteX3" fmla="*/ 32536 w 119660"/>
                <a:gd name="connsiteY3" fmla="*/ 124023 h 124023"/>
                <a:gd name="connsiteX4" fmla="*/ 6242 w 119660"/>
                <a:gd name="connsiteY4" fmla="*/ 124023 h 124023"/>
                <a:gd name="connsiteX5" fmla="*/ 0 w 119660"/>
                <a:gd name="connsiteY5" fmla="*/ 117402 h 124023"/>
                <a:gd name="connsiteX6" fmla="*/ 0 w 119660"/>
                <a:gd name="connsiteY6" fmla="*/ 9579 h 124023"/>
                <a:gd name="connsiteX7" fmla="*/ 7567 w 119660"/>
                <a:gd name="connsiteY7" fmla="*/ 1823 h 124023"/>
                <a:gd name="connsiteX8" fmla="*/ 28753 w 119660"/>
                <a:gd name="connsiteY8" fmla="*/ 1823 h 124023"/>
                <a:gd name="connsiteX9" fmla="*/ 34428 w 119660"/>
                <a:gd name="connsiteY9" fmla="*/ 2202 h 124023"/>
                <a:gd name="connsiteX10" fmla="*/ 38589 w 119660"/>
                <a:gd name="connsiteY10" fmla="*/ 8066 h 124023"/>
                <a:gd name="connsiteX11" fmla="*/ 38589 w 119660"/>
                <a:gd name="connsiteY11" fmla="*/ 16767 h 124023"/>
                <a:gd name="connsiteX12" fmla="*/ 46534 w 119660"/>
                <a:gd name="connsiteY12" fmla="*/ 8066 h 124023"/>
                <a:gd name="connsiteX13" fmla="*/ 64505 w 119660"/>
                <a:gd name="connsiteY13" fmla="*/ 688 h 124023"/>
                <a:gd name="connsiteX14" fmla="*/ 81719 w 119660"/>
                <a:gd name="connsiteY14" fmla="*/ 310 h 124023"/>
                <a:gd name="connsiteX15" fmla="*/ 103851 w 119660"/>
                <a:gd name="connsiteY15" fmla="*/ 9201 h 124023"/>
                <a:gd name="connsiteX16" fmla="*/ 116336 w 119660"/>
                <a:gd name="connsiteY16" fmla="*/ 30765 h 124023"/>
                <a:gd name="connsiteX17" fmla="*/ 119173 w 119660"/>
                <a:gd name="connsiteY17" fmla="*/ 52141 h 124023"/>
                <a:gd name="connsiteX18" fmla="*/ 119551 w 119660"/>
                <a:gd name="connsiteY18" fmla="*/ 117213 h 124023"/>
                <a:gd name="connsiteX19" fmla="*/ 113120 w 119660"/>
                <a:gd name="connsiteY19" fmla="*/ 124023 h 124023"/>
                <a:gd name="connsiteX20" fmla="*/ 85124 w 119660"/>
                <a:gd name="connsiteY20" fmla="*/ 124023 h 124023"/>
                <a:gd name="connsiteX21" fmla="*/ 80395 w 119660"/>
                <a:gd name="connsiteY21" fmla="*/ 119483 h 124023"/>
                <a:gd name="connsiteX22" fmla="*/ 80395 w 119660"/>
                <a:gd name="connsiteY22" fmla="*/ 116835 h 124023"/>
                <a:gd name="connsiteX23" fmla="*/ 80395 w 119660"/>
                <a:gd name="connsiteY23" fmla="*/ 61410 h 124023"/>
                <a:gd name="connsiteX24" fmla="*/ 78125 w 119660"/>
                <a:gd name="connsiteY24" fmla="*/ 45709 h 124023"/>
                <a:gd name="connsiteX25" fmla="*/ 63937 w 119660"/>
                <a:gd name="connsiteY25" fmla="*/ 33981 h 124023"/>
                <a:gd name="connsiteX26" fmla="*/ 49561 w 119660"/>
                <a:gd name="connsiteY26" fmla="*/ 36440 h 124023"/>
                <a:gd name="connsiteX27" fmla="*/ 40670 w 119660"/>
                <a:gd name="connsiteY27" fmla="*/ 49114 h 124023"/>
                <a:gd name="connsiteX28" fmla="*/ 38779 w 119660"/>
                <a:gd name="connsiteY28" fmla="*/ 57248 h 124023"/>
                <a:gd name="connsiteX29" fmla="*/ 37833 w 119660"/>
                <a:gd name="connsiteY29" fmla="*/ 58194 h 124023"/>
                <a:gd name="connsiteX30" fmla="*/ 38589 w 119660"/>
                <a:gd name="connsiteY30" fmla="*/ 59140 h 12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9660" h="124023">
                  <a:moveTo>
                    <a:pt x="38589" y="58762"/>
                  </a:moveTo>
                  <a:cubicBezTo>
                    <a:pt x="38589" y="77678"/>
                    <a:pt x="38589" y="96783"/>
                    <a:pt x="38589" y="115700"/>
                  </a:cubicBezTo>
                  <a:cubicBezTo>
                    <a:pt x="38589" y="117213"/>
                    <a:pt x="38589" y="118726"/>
                    <a:pt x="38211" y="120240"/>
                  </a:cubicBezTo>
                  <a:cubicBezTo>
                    <a:pt x="37644" y="122321"/>
                    <a:pt x="35184" y="124023"/>
                    <a:pt x="32536" y="124023"/>
                  </a:cubicBezTo>
                  <a:cubicBezTo>
                    <a:pt x="23835" y="124023"/>
                    <a:pt x="15133" y="124023"/>
                    <a:pt x="6242" y="124023"/>
                  </a:cubicBezTo>
                  <a:cubicBezTo>
                    <a:pt x="2081" y="124023"/>
                    <a:pt x="0" y="121564"/>
                    <a:pt x="0" y="117402"/>
                  </a:cubicBezTo>
                  <a:cubicBezTo>
                    <a:pt x="0" y="81461"/>
                    <a:pt x="0" y="45520"/>
                    <a:pt x="0" y="9579"/>
                  </a:cubicBezTo>
                  <a:cubicBezTo>
                    <a:pt x="0" y="3904"/>
                    <a:pt x="1892" y="1823"/>
                    <a:pt x="7567" y="1823"/>
                  </a:cubicBezTo>
                  <a:cubicBezTo>
                    <a:pt x="14566" y="1823"/>
                    <a:pt x="21754" y="1823"/>
                    <a:pt x="28753" y="1823"/>
                  </a:cubicBezTo>
                  <a:cubicBezTo>
                    <a:pt x="30645" y="1823"/>
                    <a:pt x="32536" y="2012"/>
                    <a:pt x="34428" y="2202"/>
                  </a:cubicBezTo>
                  <a:cubicBezTo>
                    <a:pt x="36509" y="2580"/>
                    <a:pt x="38589" y="5228"/>
                    <a:pt x="38589" y="8066"/>
                  </a:cubicBezTo>
                  <a:cubicBezTo>
                    <a:pt x="38589" y="10714"/>
                    <a:pt x="38589" y="13551"/>
                    <a:pt x="38589" y="16767"/>
                  </a:cubicBezTo>
                  <a:cubicBezTo>
                    <a:pt x="41049" y="13173"/>
                    <a:pt x="43508" y="10525"/>
                    <a:pt x="46534" y="8066"/>
                  </a:cubicBezTo>
                  <a:cubicBezTo>
                    <a:pt x="51831" y="3715"/>
                    <a:pt x="57884" y="1634"/>
                    <a:pt x="64505" y="688"/>
                  </a:cubicBezTo>
                  <a:cubicBezTo>
                    <a:pt x="70180" y="-258"/>
                    <a:pt x="76044" y="-68"/>
                    <a:pt x="81719" y="310"/>
                  </a:cubicBezTo>
                  <a:cubicBezTo>
                    <a:pt x="89853" y="1067"/>
                    <a:pt x="97608" y="3526"/>
                    <a:pt x="103851" y="9201"/>
                  </a:cubicBezTo>
                  <a:cubicBezTo>
                    <a:pt x="110282" y="15065"/>
                    <a:pt x="114255" y="22442"/>
                    <a:pt x="116336" y="30765"/>
                  </a:cubicBezTo>
                  <a:cubicBezTo>
                    <a:pt x="118038" y="37764"/>
                    <a:pt x="118795" y="44763"/>
                    <a:pt x="119173" y="52141"/>
                  </a:cubicBezTo>
                  <a:cubicBezTo>
                    <a:pt x="120119" y="73895"/>
                    <a:pt x="119362" y="95459"/>
                    <a:pt x="119551" y="117213"/>
                  </a:cubicBezTo>
                  <a:cubicBezTo>
                    <a:pt x="119551" y="121375"/>
                    <a:pt x="117092" y="123834"/>
                    <a:pt x="113120" y="124023"/>
                  </a:cubicBezTo>
                  <a:cubicBezTo>
                    <a:pt x="103851" y="124023"/>
                    <a:pt x="94393" y="124023"/>
                    <a:pt x="85124" y="124023"/>
                  </a:cubicBezTo>
                  <a:cubicBezTo>
                    <a:pt x="83232" y="124023"/>
                    <a:pt x="80584" y="121375"/>
                    <a:pt x="80395" y="119483"/>
                  </a:cubicBezTo>
                  <a:cubicBezTo>
                    <a:pt x="80395" y="118537"/>
                    <a:pt x="80395" y="117591"/>
                    <a:pt x="80395" y="116835"/>
                  </a:cubicBezTo>
                  <a:cubicBezTo>
                    <a:pt x="80395" y="98297"/>
                    <a:pt x="80395" y="79759"/>
                    <a:pt x="80395" y="61410"/>
                  </a:cubicBezTo>
                  <a:cubicBezTo>
                    <a:pt x="80395" y="56113"/>
                    <a:pt x="80016" y="50817"/>
                    <a:pt x="78125" y="45709"/>
                  </a:cubicBezTo>
                  <a:cubicBezTo>
                    <a:pt x="75665" y="39089"/>
                    <a:pt x="71315" y="34927"/>
                    <a:pt x="63937" y="33981"/>
                  </a:cubicBezTo>
                  <a:cubicBezTo>
                    <a:pt x="58830" y="33224"/>
                    <a:pt x="53912" y="33603"/>
                    <a:pt x="49561" y="36440"/>
                  </a:cubicBezTo>
                  <a:cubicBezTo>
                    <a:pt x="44832" y="39467"/>
                    <a:pt x="42373" y="44007"/>
                    <a:pt x="40670" y="49114"/>
                  </a:cubicBezTo>
                  <a:cubicBezTo>
                    <a:pt x="39724" y="51763"/>
                    <a:pt x="38779" y="54411"/>
                    <a:pt x="38779" y="57248"/>
                  </a:cubicBezTo>
                  <a:cubicBezTo>
                    <a:pt x="38779" y="57816"/>
                    <a:pt x="38022" y="57627"/>
                    <a:pt x="37833" y="58194"/>
                  </a:cubicBezTo>
                  <a:cubicBezTo>
                    <a:pt x="37833" y="58572"/>
                    <a:pt x="38211" y="58951"/>
                    <a:pt x="38589" y="59140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155F1B3-1016-595A-497B-E9CA6FF0295D}"/>
                </a:ext>
              </a:extLst>
            </p:cNvPr>
            <p:cNvSpPr/>
            <p:nvPr/>
          </p:nvSpPr>
          <p:spPr>
            <a:xfrm>
              <a:off x="7856230" y="6241228"/>
              <a:ext cx="38589" cy="122388"/>
            </a:xfrm>
            <a:custGeom>
              <a:avLst/>
              <a:gdLst>
                <a:gd name="connsiteX0" fmla="*/ 189 w 38589"/>
                <a:gd name="connsiteY0" fmla="*/ 61289 h 122388"/>
                <a:gd name="connsiteX1" fmla="*/ 189 w 38589"/>
                <a:gd name="connsiteY1" fmla="*/ 6621 h 122388"/>
                <a:gd name="connsiteX2" fmla="*/ 6432 w 38589"/>
                <a:gd name="connsiteY2" fmla="*/ 0 h 122388"/>
                <a:gd name="connsiteX3" fmla="*/ 31401 w 38589"/>
                <a:gd name="connsiteY3" fmla="*/ 0 h 122388"/>
                <a:gd name="connsiteX4" fmla="*/ 38589 w 38589"/>
                <a:gd name="connsiteY4" fmla="*/ 7188 h 122388"/>
                <a:gd name="connsiteX5" fmla="*/ 38589 w 38589"/>
                <a:gd name="connsiteY5" fmla="*/ 9458 h 122388"/>
                <a:gd name="connsiteX6" fmla="*/ 38589 w 38589"/>
                <a:gd name="connsiteY6" fmla="*/ 113877 h 122388"/>
                <a:gd name="connsiteX7" fmla="*/ 36130 w 38589"/>
                <a:gd name="connsiteY7" fmla="*/ 120876 h 122388"/>
                <a:gd name="connsiteX8" fmla="*/ 32347 w 38589"/>
                <a:gd name="connsiteY8" fmla="*/ 122389 h 122388"/>
                <a:gd name="connsiteX9" fmla="*/ 6053 w 38589"/>
                <a:gd name="connsiteY9" fmla="*/ 122389 h 122388"/>
                <a:gd name="connsiteX10" fmla="*/ 0 w 38589"/>
                <a:gd name="connsiteY10" fmla="*/ 116147 h 122388"/>
                <a:gd name="connsiteX11" fmla="*/ 0 w 38589"/>
                <a:gd name="connsiteY11" fmla="*/ 61289 h 12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89" h="122388">
                  <a:moveTo>
                    <a:pt x="189" y="61289"/>
                  </a:moveTo>
                  <a:lnTo>
                    <a:pt x="189" y="6621"/>
                  </a:lnTo>
                  <a:cubicBezTo>
                    <a:pt x="189" y="2648"/>
                    <a:pt x="2459" y="189"/>
                    <a:pt x="6432" y="0"/>
                  </a:cubicBezTo>
                  <a:cubicBezTo>
                    <a:pt x="14755" y="0"/>
                    <a:pt x="23078" y="0"/>
                    <a:pt x="31401" y="0"/>
                  </a:cubicBezTo>
                  <a:cubicBezTo>
                    <a:pt x="36509" y="0"/>
                    <a:pt x="38211" y="1892"/>
                    <a:pt x="38589" y="7188"/>
                  </a:cubicBezTo>
                  <a:cubicBezTo>
                    <a:pt x="38589" y="7945"/>
                    <a:pt x="38589" y="8702"/>
                    <a:pt x="38589" y="9458"/>
                  </a:cubicBezTo>
                  <a:lnTo>
                    <a:pt x="38589" y="113877"/>
                  </a:lnTo>
                  <a:cubicBezTo>
                    <a:pt x="38589" y="116525"/>
                    <a:pt x="38589" y="118984"/>
                    <a:pt x="36130" y="120876"/>
                  </a:cubicBezTo>
                  <a:cubicBezTo>
                    <a:pt x="34995" y="121821"/>
                    <a:pt x="33671" y="122389"/>
                    <a:pt x="32347" y="122389"/>
                  </a:cubicBezTo>
                  <a:cubicBezTo>
                    <a:pt x="23645" y="122389"/>
                    <a:pt x="14944" y="122389"/>
                    <a:pt x="6053" y="122389"/>
                  </a:cubicBezTo>
                  <a:cubicBezTo>
                    <a:pt x="2837" y="122389"/>
                    <a:pt x="0" y="119551"/>
                    <a:pt x="0" y="116147"/>
                  </a:cubicBezTo>
                  <a:lnTo>
                    <a:pt x="0" y="61289"/>
                  </a:ln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39B0709-FE49-5D7E-0792-D593FB27217B}"/>
                </a:ext>
              </a:extLst>
            </p:cNvPr>
            <p:cNvSpPr/>
            <p:nvPr/>
          </p:nvSpPr>
          <p:spPr>
            <a:xfrm>
              <a:off x="7850745" y="6181384"/>
              <a:ext cx="49595" cy="49818"/>
            </a:xfrm>
            <a:custGeom>
              <a:avLst/>
              <a:gdLst>
                <a:gd name="connsiteX0" fmla="*/ 49561 w 49595"/>
                <a:gd name="connsiteY0" fmla="*/ 25038 h 49818"/>
                <a:gd name="connsiteX1" fmla="*/ 24780 w 49595"/>
                <a:gd name="connsiteY1" fmla="*/ 49818 h 49818"/>
                <a:gd name="connsiteX2" fmla="*/ 0 w 49595"/>
                <a:gd name="connsiteY2" fmla="*/ 24849 h 49818"/>
                <a:gd name="connsiteX3" fmla="*/ 27240 w 49595"/>
                <a:gd name="connsiteY3" fmla="*/ 68 h 49818"/>
                <a:gd name="connsiteX4" fmla="*/ 49561 w 49595"/>
                <a:gd name="connsiteY4" fmla="*/ 25038 h 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95" h="49818">
                  <a:moveTo>
                    <a:pt x="49561" y="25038"/>
                  </a:moveTo>
                  <a:cubicBezTo>
                    <a:pt x="49939" y="38847"/>
                    <a:pt x="37644" y="49818"/>
                    <a:pt x="24780" y="49818"/>
                  </a:cubicBezTo>
                  <a:cubicBezTo>
                    <a:pt x="10593" y="49818"/>
                    <a:pt x="0" y="38658"/>
                    <a:pt x="0" y="24849"/>
                  </a:cubicBezTo>
                  <a:cubicBezTo>
                    <a:pt x="0" y="12175"/>
                    <a:pt x="9837" y="-1067"/>
                    <a:pt x="27240" y="68"/>
                  </a:cubicBezTo>
                  <a:cubicBezTo>
                    <a:pt x="38400" y="825"/>
                    <a:pt x="50318" y="11040"/>
                    <a:pt x="49561" y="25038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27D6AE77-B2BA-C3EE-4A0D-7864953291BC}"/>
              </a:ext>
            </a:extLst>
          </p:cNvPr>
          <p:cNvSpPr/>
          <p:nvPr/>
        </p:nvSpPr>
        <p:spPr>
          <a:xfrm>
            <a:off x="7837882" y="6539405"/>
            <a:ext cx="207240" cy="144121"/>
          </a:xfrm>
          <a:custGeom>
            <a:avLst/>
            <a:gdLst>
              <a:gd name="connsiteX0" fmla="*/ 82854 w 207240"/>
              <a:gd name="connsiteY0" fmla="*/ 103283 h 144121"/>
              <a:gd name="connsiteX1" fmla="*/ 109715 w 207240"/>
              <a:gd name="connsiteY1" fmla="*/ 87583 h 144121"/>
              <a:gd name="connsiteX2" fmla="*/ 134495 w 207240"/>
              <a:gd name="connsiteY2" fmla="*/ 73396 h 144121"/>
              <a:gd name="connsiteX3" fmla="*/ 134495 w 207240"/>
              <a:gd name="connsiteY3" fmla="*/ 71315 h 144121"/>
              <a:gd name="connsiteX4" fmla="*/ 126361 w 207240"/>
              <a:gd name="connsiteY4" fmla="*/ 66586 h 144121"/>
              <a:gd name="connsiteX5" fmla="*/ 110282 w 207240"/>
              <a:gd name="connsiteY5" fmla="*/ 57317 h 144121"/>
              <a:gd name="connsiteX6" fmla="*/ 90988 w 207240"/>
              <a:gd name="connsiteY6" fmla="*/ 46156 h 144121"/>
              <a:gd name="connsiteX7" fmla="*/ 82854 w 207240"/>
              <a:gd name="connsiteY7" fmla="*/ 41805 h 144121"/>
              <a:gd name="connsiteX8" fmla="*/ 82854 w 207240"/>
              <a:gd name="connsiteY8" fmla="*/ 103473 h 144121"/>
              <a:gd name="connsiteX9" fmla="*/ 0 w 207240"/>
              <a:gd name="connsiteY9" fmla="*/ 87204 h 144121"/>
              <a:gd name="connsiteX10" fmla="*/ 0 w 207240"/>
              <a:gd name="connsiteY10" fmla="*/ 57317 h 144121"/>
              <a:gd name="connsiteX11" fmla="*/ 378 w 207240"/>
              <a:gd name="connsiteY11" fmla="*/ 55614 h 144121"/>
              <a:gd name="connsiteX12" fmla="*/ 757 w 207240"/>
              <a:gd name="connsiteY12" fmla="*/ 48615 h 144121"/>
              <a:gd name="connsiteX13" fmla="*/ 2459 w 207240"/>
              <a:gd name="connsiteY13" fmla="*/ 31212 h 144121"/>
              <a:gd name="connsiteX14" fmla="*/ 5675 w 207240"/>
              <a:gd name="connsiteY14" fmla="*/ 18727 h 144121"/>
              <a:gd name="connsiteX15" fmla="*/ 15133 w 207240"/>
              <a:gd name="connsiteY15" fmla="*/ 7567 h 144121"/>
              <a:gd name="connsiteX16" fmla="*/ 31401 w 207240"/>
              <a:gd name="connsiteY16" fmla="*/ 2837 h 144121"/>
              <a:gd name="connsiteX17" fmla="*/ 49939 w 207240"/>
              <a:gd name="connsiteY17" fmla="*/ 1135 h 144121"/>
              <a:gd name="connsiteX18" fmla="*/ 69991 w 207240"/>
              <a:gd name="connsiteY18" fmla="*/ 378 h 144121"/>
              <a:gd name="connsiteX19" fmla="*/ 94203 w 207240"/>
              <a:gd name="connsiteY19" fmla="*/ 0 h 144121"/>
              <a:gd name="connsiteX20" fmla="*/ 120686 w 207240"/>
              <a:gd name="connsiteY20" fmla="*/ 0 h 144121"/>
              <a:gd name="connsiteX21" fmla="*/ 135630 w 207240"/>
              <a:gd name="connsiteY21" fmla="*/ 568 h 144121"/>
              <a:gd name="connsiteX22" fmla="*/ 155114 w 207240"/>
              <a:gd name="connsiteY22" fmla="*/ 1513 h 144121"/>
              <a:gd name="connsiteX23" fmla="*/ 167788 w 207240"/>
              <a:gd name="connsiteY23" fmla="*/ 2270 h 144121"/>
              <a:gd name="connsiteX24" fmla="*/ 182165 w 207240"/>
              <a:gd name="connsiteY24" fmla="*/ 3972 h 144121"/>
              <a:gd name="connsiteX25" fmla="*/ 197109 w 207240"/>
              <a:gd name="connsiteY25" fmla="*/ 12296 h 144121"/>
              <a:gd name="connsiteX26" fmla="*/ 203729 w 207240"/>
              <a:gd name="connsiteY26" fmla="*/ 26483 h 144121"/>
              <a:gd name="connsiteX27" fmla="*/ 205243 w 207240"/>
              <a:gd name="connsiteY27" fmla="*/ 36698 h 144121"/>
              <a:gd name="connsiteX28" fmla="*/ 206756 w 207240"/>
              <a:gd name="connsiteY28" fmla="*/ 54668 h 144121"/>
              <a:gd name="connsiteX29" fmla="*/ 207134 w 207240"/>
              <a:gd name="connsiteY29" fmla="*/ 69045 h 144121"/>
              <a:gd name="connsiteX30" fmla="*/ 206756 w 207240"/>
              <a:gd name="connsiteY30" fmla="*/ 80016 h 144121"/>
              <a:gd name="connsiteX31" fmla="*/ 206567 w 207240"/>
              <a:gd name="connsiteY31" fmla="*/ 90231 h 144121"/>
              <a:gd name="connsiteX32" fmla="*/ 205243 w 207240"/>
              <a:gd name="connsiteY32" fmla="*/ 107256 h 144121"/>
              <a:gd name="connsiteX33" fmla="*/ 202027 w 207240"/>
              <a:gd name="connsiteY33" fmla="*/ 124091 h 144121"/>
              <a:gd name="connsiteX34" fmla="*/ 184245 w 207240"/>
              <a:gd name="connsiteY34" fmla="*/ 140170 h 144121"/>
              <a:gd name="connsiteX35" fmla="*/ 162681 w 207240"/>
              <a:gd name="connsiteY35" fmla="*/ 142819 h 144121"/>
              <a:gd name="connsiteX36" fmla="*/ 148872 w 207240"/>
              <a:gd name="connsiteY36" fmla="*/ 143575 h 144121"/>
              <a:gd name="connsiteX37" fmla="*/ 136576 w 207240"/>
              <a:gd name="connsiteY37" fmla="*/ 143954 h 144121"/>
              <a:gd name="connsiteX38" fmla="*/ 115768 w 207240"/>
              <a:gd name="connsiteY38" fmla="*/ 143954 h 144121"/>
              <a:gd name="connsiteX39" fmla="*/ 83232 w 207240"/>
              <a:gd name="connsiteY39" fmla="*/ 143954 h 144121"/>
              <a:gd name="connsiteX40" fmla="*/ 66396 w 207240"/>
              <a:gd name="connsiteY40" fmla="*/ 143575 h 144121"/>
              <a:gd name="connsiteX41" fmla="*/ 48804 w 207240"/>
              <a:gd name="connsiteY41" fmla="*/ 142819 h 144121"/>
              <a:gd name="connsiteX42" fmla="*/ 29888 w 207240"/>
              <a:gd name="connsiteY42" fmla="*/ 141305 h 144121"/>
              <a:gd name="connsiteX43" fmla="*/ 18727 w 207240"/>
              <a:gd name="connsiteY43" fmla="*/ 138279 h 144121"/>
              <a:gd name="connsiteX44" fmla="*/ 5864 w 207240"/>
              <a:gd name="connsiteY44" fmla="*/ 125226 h 144121"/>
              <a:gd name="connsiteX45" fmla="*/ 2837 w 207240"/>
              <a:gd name="connsiteY45" fmla="*/ 112742 h 144121"/>
              <a:gd name="connsiteX46" fmla="*/ 1324 w 207240"/>
              <a:gd name="connsiteY46" fmla="*/ 99878 h 144121"/>
              <a:gd name="connsiteX47" fmla="*/ 757 w 207240"/>
              <a:gd name="connsiteY47" fmla="*/ 88907 h 144121"/>
              <a:gd name="connsiteX48" fmla="*/ 378 w 207240"/>
              <a:gd name="connsiteY48" fmla="*/ 86637 h 144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07240" h="144121">
                <a:moveTo>
                  <a:pt x="82854" y="103283"/>
                </a:moveTo>
                <a:cubicBezTo>
                  <a:pt x="91934" y="97987"/>
                  <a:pt x="100824" y="92690"/>
                  <a:pt x="109715" y="87583"/>
                </a:cubicBezTo>
                <a:cubicBezTo>
                  <a:pt x="117849" y="82854"/>
                  <a:pt x="126172" y="78125"/>
                  <a:pt x="134495" y="73396"/>
                </a:cubicBezTo>
                <a:cubicBezTo>
                  <a:pt x="135819" y="72639"/>
                  <a:pt x="136387" y="72071"/>
                  <a:pt x="134495" y="71315"/>
                </a:cubicBezTo>
                <a:cubicBezTo>
                  <a:pt x="131658" y="69801"/>
                  <a:pt x="129010" y="68288"/>
                  <a:pt x="126361" y="66586"/>
                </a:cubicBezTo>
                <a:cubicBezTo>
                  <a:pt x="121065" y="63370"/>
                  <a:pt x="115579" y="60343"/>
                  <a:pt x="110282" y="57317"/>
                </a:cubicBezTo>
                <a:cubicBezTo>
                  <a:pt x="103851" y="53533"/>
                  <a:pt x="97419" y="49750"/>
                  <a:pt x="90988" y="46156"/>
                </a:cubicBezTo>
                <a:cubicBezTo>
                  <a:pt x="88339" y="44643"/>
                  <a:pt x="85880" y="42940"/>
                  <a:pt x="82854" y="41805"/>
                </a:cubicBezTo>
                <a:lnTo>
                  <a:pt x="82854" y="103473"/>
                </a:lnTo>
                <a:close/>
                <a:moveTo>
                  <a:pt x="0" y="87204"/>
                </a:moveTo>
                <a:lnTo>
                  <a:pt x="0" y="57317"/>
                </a:lnTo>
                <a:cubicBezTo>
                  <a:pt x="0" y="57317"/>
                  <a:pt x="378" y="56182"/>
                  <a:pt x="378" y="55614"/>
                </a:cubicBezTo>
                <a:cubicBezTo>
                  <a:pt x="378" y="53344"/>
                  <a:pt x="378" y="50885"/>
                  <a:pt x="757" y="48615"/>
                </a:cubicBezTo>
                <a:cubicBezTo>
                  <a:pt x="1135" y="42751"/>
                  <a:pt x="1513" y="37076"/>
                  <a:pt x="2459" y="31212"/>
                </a:cubicBezTo>
                <a:cubicBezTo>
                  <a:pt x="3216" y="26861"/>
                  <a:pt x="3594" y="22700"/>
                  <a:pt x="5675" y="18727"/>
                </a:cubicBezTo>
                <a:cubicBezTo>
                  <a:pt x="7945" y="14187"/>
                  <a:pt x="11161" y="10404"/>
                  <a:pt x="15133" y="7567"/>
                </a:cubicBezTo>
                <a:cubicBezTo>
                  <a:pt x="20051" y="3972"/>
                  <a:pt x="25726" y="3594"/>
                  <a:pt x="31401" y="2837"/>
                </a:cubicBezTo>
                <a:cubicBezTo>
                  <a:pt x="37644" y="2081"/>
                  <a:pt x="43697" y="1513"/>
                  <a:pt x="49939" y="1135"/>
                </a:cubicBezTo>
                <a:cubicBezTo>
                  <a:pt x="56560" y="757"/>
                  <a:pt x="63370" y="568"/>
                  <a:pt x="69991" y="378"/>
                </a:cubicBezTo>
                <a:cubicBezTo>
                  <a:pt x="78125" y="0"/>
                  <a:pt x="86259" y="189"/>
                  <a:pt x="94203" y="0"/>
                </a:cubicBezTo>
                <a:cubicBezTo>
                  <a:pt x="103094" y="0"/>
                  <a:pt x="111985" y="0"/>
                  <a:pt x="120686" y="0"/>
                </a:cubicBezTo>
                <a:cubicBezTo>
                  <a:pt x="125605" y="0"/>
                  <a:pt x="130523" y="189"/>
                  <a:pt x="135630" y="568"/>
                </a:cubicBezTo>
                <a:cubicBezTo>
                  <a:pt x="142062" y="946"/>
                  <a:pt x="148493" y="946"/>
                  <a:pt x="155114" y="1513"/>
                </a:cubicBezTo>
                <a:cubicBezTo>
                  <a:pt x="159276" y="1702"/>
                  <a:pt x="163627" y="2081"/>
                  <a:pt x="167788" y="2270"/>
                </a:cubicBezTo>
                <a:cubicBezTo>
                  <a:pt x="172517" y="2459"/>
                  <a:pt x="177436" y="3027"/>
                  <a:pt x="182165" y="3972"/>
                </a:cubicBezTo>
                <a:cubicBezTo>
                  <a:pt x="188029" y="5107"/>
                  <a:pt x="193136" y="7756"/>
                  <a:pt x="197109" y="12296"/>
                </a:cubicBezTo>
                <a:cubicBezTo>
                  <a:pt x="200513" y="16457"/>
                  <a:pt x="202973" y="20997"/>
                  <a:pt x="203729" y="26483"/>
                </a:cubicBezTo>
                <a:cubicBezTo>
                  <a:pt x="204108" y="29888"/>
                  <a:pt x="204675" y="33293"/>
                  <a:pt x="205243" y="36698"/>
                </a:cubicBezTo>
                <a:cubicBezTo>
                  <a:pt x="205999" y="42751"/>
                  <a:pt x="206188" y="48804"/>
                  <a:pt x="206756" y="54668"/>
                </a:cubicBezTo>
                <a:cubicBezTo>
                  <a:pt x="207134" y="59397"/>
                  <a:pt x="206756" y="64316"/>
                  <a:pt x="207134" y="69045"/>
                </a:cubicBezTo>
                <a:cubicBezTo>
                  <a:pt x="207513" y="72639"/>
                  <a:pt x="206756" y="76422"/>
                  <a:pt x="206756" y="80016"/>
                </a:cubicBezTo>
                <a:cubicBezTo>
                  <a:pt x="206756" y="83421"/>
                  <a:pt x="206756" y="86826"/>
                  <a:pt x="206567" y="90231"/>
                </a:cubicBezTo>
                <a:cubicBezTo>
                  <a:pt x="206188" y="95906"/>
                  <a:pt x="205810" y="101581"/>
                  <a:pt x="205243" y="107256"/>
                </a:cubicBezTo>
                <a:cubicBezTo>
                  <a:pt x="204675" y="112931"/>
                  <a:pt x="204108" y="118606"/>
                  <a:pt x="202027" y="124091"/>
                </a:cubicBezTo>
                <a:cubicBezTo>
                  <a:pt x="198811" y="132604"/>
                  <a:pt x="192947" y="137900"/>
                  <a:pt x="184245" y="140170"/>
                </a:cubicBezTo>
                <a:cubicBezTo>
                  <a:pt x="177246" y="142062"/>
                  <a:pt x="169869" y="142251"/>
                  <a:pt x="162681" y="142819"/>
                </a:cubicBezTo>
                <a:cubicBezTo>
                  <a:pt x="158141" y="143197"/>
                  <a:pt x="153601" y="143386"/>
                  <a:pt x="148872" y="143575"/>
                </a:cubicBezTo>
                <a:cubicBezTo>
                  <a:pt x="144710" y="143954"/>
                  <a:pt x="140738" y="143764"/>
                  <a:pt x="136576" y="143954"/>
                </a:cubicBezTo>
                <a:cubicBezTo>
                  <a:pt x="129577" y="144332"/>
                  <a:pt x="122767" y="143954"/>
                  <a:pt x="115768" y="143954"/>
                </a:cubicBezTo>
                <a:cubicBezTo>
                  <a:pt x="104986" y="143954"/>
                  <a:pt x="94014" y="143954"/>
                  <a:pt x="83232" y="143954"/>
                </a:cubicBezTo>
                <a:cubicBezTo>
                  <a:pt x="77557" y="143954"/>
                  <a:pt x="71882" y="143954"/>
                  <a:pt x="66396" y="143575"/>
                </a:cubicBezTo>
                <a:cubicBezTo>
                  <a:pt x="60532" y="143386"/>
                  <a:pt x="54668" y="143197"/>
                  <a:pt x="48804" y="142819"/>
                </a:cubicBezTo>
                <a:cubicBezTo>
                  <a:pt x="42373" y="142440"/>
                  <a:pt x="36130" y="141873"/>
                  <a:pt x="29888" y="141305"/>
                </a:cubicBezTo>
                <a:cubicBezTo>
                  <a:pt x="25915" y="140927"/>
                  <a:pt x="22321" y="139981"/>
                  <a:pt x="18727" y="138279"/>
                </a:cubicBezTo>
                <a:cubicBezTo>
                  <a:pt x="12863" y="135630"/>
                  <a:pt x="8512" y="131280"/>
                  <a:pt x="5864" y="125226"/>
                </a:cubicBezTo>
                <a:cubicBezTo>
                  <a:pt x="4162" y="121254"/>
                  <a:pt x="3405" y="117092"/>
                  <a:pt x="2837" y="112742"/>
                </a:cubicBezTo>
                <a:cubicBezTo>
                  <a:pt x="2270" y="108391"/>
                  <a:pt x="1702" y="104040"/>
                  <a:pt x="1324" y="99878"/>
                </a:cubicBezTo>
                <a:cubicBezTo>
                  <a:pt x="1135" y="96284"/>
                  <a:pt x="567" y="92501"/>
                  <a:pt x="757" y="88907"/>
                </a:cubicBezTo>
                <a:cubicBezTo>
                  <a:pt x="757" y="88150"/>
                  <a:pt x="1135" y="87394"/>
                  <a:pt x="378" y="86637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Freeform: Shape 52">
            <a:extLst>
              <a:ext uri="{FF2B5EF4-FFF2-40B4-BE49-F238E27FC236}">
                <a16:creationId xmlns:a16="http://schemas.microsoft.com/office/drawing/2014/main" id="{0E1E3A6C-29D6-ECC9-A8AA-D3C472F22C63}"/>
              </a:ext>
            </a:extLst>
          </p:cNvPr>
          <p:cNvSpPr/>
          <p:nvPr userDrawn="1"/>
        </p:nvSpPr>
        <p:spPr>
          <a:xfrm>
            <a:off x="1" y="4965450"/>
            <a:ext cx="6622605" cy="989394"/>
          </a:xfrm>
          <a:custGeom>
            <a:avLst/>
            <a:gdLst>
              <a:gd name="connsiteX0" fmla="*/ 0 w 8411229"/>
              <a:gd name="connsiteY0" fmla="*/ 0 h 1256608"/>
              <a:gd name="connsiteX1" fmla="*/ 7782925 w 8411229"/>
              <a:gd name="connsiteY1" fmla="*/ 0 h 1256608"/>
              <a:gd name="connsiteX2" fmla="*/ 8411229 w 8411229"/>
              <a:gd name="connsiteY2" fmla="*/ 628304 h 1256608"/>
              <a:gd name="connsiteX3" fmla="*/ 8411228 w 8411229"/>
              <a:gd name="connsiteY3" fmla="*/ 628304 h 1256608"/>
              <a:gd name="connsiteX4" fmla="*/ 7782924 w 8411229"/>
              <a:gd name="connsiteY4" fmla="*/ 1256608 h 1256608"/>
              <a:gd name="connsiteX5" fmla="*/ 0 w 8411229"/>
              <a:gd name="connsiteY5" fmla="*/ 1256607 h 1256608"/>
              <a:gd name="connsiteX6" fmla="*/ 0 w 8411229"/>
              <a:gd name="connsiteY6" fmla="*/ 0 h 125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11229" h="1256608">
                <a:moveTo>
                  <a:pt x="0" y="0"/>
                </a:moveTo>
                <a:lnTo>
                  <a:pt x="7782925" y="0"/>
                </a:lnTo>
                <a:cubicBezTo>
                  <a:pt x="8129928" y="0"/>
                  <a:pt x="8411229" y="281301"/>
                  <a:pt x="8411229" y="628304"/>
                </a:cubicBezTo>
                <a:lnTo>
                  <a:pt x="8411228" y="628304"/>
                </a:lnTo>
                <a:cubicBezTo>
                  <a:pt x="8411228" y="975307"/>
                  <a:pt x="8129927" y="1256608"/>
                  <a:pt x="7782924" y="1256608"/>
                </a:cubicBezTo>
                <a:lnTo>
                  <a:pt x="0" y="125660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8CC6EC"/>
              </a:gs>
              <a:gs pos="100000">
                <a:srgbClr val="CAE1F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083864-FD9C-5D7C-4F4A-52B47684162E}"/>
              </a:ext>
            </a:extLst>
          </p:cNvPr>
          <p:cNvGrpSpPr/>
          <p:nvPr userDrawn="1"/>
        </p:nvGrpSpPr>
        <p:grpSpPr>
          <a:xfrm>
            <a:off x="1658470" y="5078359"/>
            <a:ext cx="4539979" cy="750087"/>
            <a:chOff x="1658470" y="5725511"/>
            <a:chExt cx="4539979" cy="75008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352C53-A4C4-A9C2-A28A-7B4146820A18}"/>
                </a:ext>
              </a:extLst>
            </p:cNvPr>
            <p:cNvSpPr/>
            <p:nvPr userDrawn="1"/>
          </p:nvSpPr>
          <p:spPr>
            <a:xfrm>
              <a:off x="3348277" y="5818254"/>
              <a:ext cx="147443" cy="82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84B68029-D3EB-39A1-92E3-A6EEE7E551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58470" y="5725511"/>
              <a:ext cx="4539979" cy="750087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212D2733-1A3D-0368-A7FF-0D5BD23282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393" y="5275099"/>
            <a:ext cx="1160138" cy="40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037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3CA5994-50B0-B3EE-D8B0-4CCB3DB69B85}"/>
              </a:ext>
            </a:extLst>
          </p:cNvPr>
          <p:cNvCxnSpPr>
            <a:cxnSpLocks/>
          </p:cNvCxnSpPr>
          <p:nvPr userDrawn="1"/>
        </p:nvCxnSpPr>
        <p:spPr>
          <a:xfrm>
            <a:off x="1692613" y="6508376"/>
            <a:ext cx="9934611" cy="0"/>
          </a:xfrm>
          <a:prstGeom prst="line">
            <a:avLst/>
          </a:prstGeom>
          <a:ln w="12700">
            <a:solidFill>
              <a:srgbClr val="007B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01E029BE-D034-8DFE-BB27-E70D2B608903}"/>
              </a:ext>
            </a:extLst>
          </p:cNvPr>
          <p:cNvSpPr/>
          <p:nvPr userDrawn="1"/>
        </p:nvSpPr>
        <p:spPr>
          <a:xfrm>
            <a:off x="11580935" y="6306670"/>
            <a:ext cx="403412" cy="403412"/>
          </a:xfrm>
          <a:prstGeom prst="ellipse">
            <a:avLst/>
          </a:prstGeom>
          <a:solidFill>
            <a:srgbClr val="017B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9298A4-0412-B95E-52AE-D0E61F5210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30298"/>
          </a:xfrm>
        </p:spPr>
        <p:txBody>
          <a:bodyPr anchor="t">
            <a:noAutofit/>
          </a:bodyPr>
          <a:lstStyle>
            <a:lvl1pPr>
              <a:defRPr sz="3600" b="0" i="0">
                <a:solidFill>
                  <a:schemeClr val="accent1"/>
                </a:solidFill>
                <a:latin typeface="Raleway" pitchFamily="2" charset="77"/>
              </a:defRPr>
            </a:lvl1pPr>
          </a:lstStyle>
          <a:p>
            <a:r>
              <a:rPr lang="en-GB"/>
              <a:t>CLICK TO EDIT MASTER TITLE STYLE</a:t>
            </a:r>
            <a:endParaRPr lang="en-R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6C6B7-3A39-E88B-FB10-9C3B2A17D5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77"/>
              </a:defRPr>
            </a:lvl1pPr>
            <a:lvl2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77"/>
              </a:defRPr>
            </a:lvl2pPr>
            <a:lvl3pPr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77"/>
              </a:defRPr>
            </a:lvl3pPr>
            <a:lvl4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77"/>
              </a:defRPr>
            </a:lvl4pPr>
            <a:lvl5pPr>
              <a:defRPr sz="1100" b="0" i="0">
                <a:solidFill>
                  <a:schemeClr val="tx1">
                    <a:lumMod val="75000"/>
                    <a:lumOff val="25000"/>
                  </a:schemeClr>
                </a:solidFill>
                <a:latin typeface="Raleway" pitchFamily="2" charset="77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1521C-E25B-EF71-9EF4-9C657BCFE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0724" y="6318245"/>
            <a:ext cx="403413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"/>
              </a:defRPr>
            </a:lvl1pPr>
          </a:lstStyle>
          <a:p>
            <a:fld id="{1D1C8182-8BBE-B542-ADE5-8820B104469B}" type="slidenum">
              <a:rPr lang="en-RO" smtClean="0"/>
              <a:pPr/>
              <a:t>‹#›</a:t>
            </a:fld>
            <a:endParaRPr lang="en-RO"/>
          </a:p>
        </p:txBody>
      </p:sp>
      <p:sp>
        <p:nvSpPr>
          <p:cNvPr id="10" name="Round Same-side Corner of Rectangle 9">
            <a:extLst>
              <a:ext uri="{FF2B5EF4-FFF2-40B4-BE49-F238E27FC236}">
                <a16:creationId xmlns:a16="http://schemas.microsoft.com/office/drawing/2014/main" id="{895C77DB-2F91-1844-3513-C04DED213A12}"/>
              </a:ext>
            </a:extLst>
          </p:cNvPr>
          <p:cNvSpPr/>
          <p:nvPr userDrawn="1"/>
        </p:nvSpPr>
        <p:spPr>
          <a:xfrm rot="5400000">
            <a:off x="164144" y="280449"/>
            <a:ext cx="471364" cy="79965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pic>
        <p:nvPicPr>
          <p:cNvPr id="4" name="Content Placeholder 9" descr="Logo&#10;&#10;Description automatically generated">
            <a:extLst>
              <a:ext uri="{FF2B5EF4-FFF2-40B4-BE49-F238E27FC236}">
                <a16:creationId xmlns:a16="http://schemas.microsoft.com/office/drawing/2014/main" id="{56908AD9-DB36-A1A8-B379-16551AF64E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653" y="6122143"/>
            <a:ext cx="1221061" cy="63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5833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F92EEA5-9E5C-4147-9744-8F12DC13A01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8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1EB4DC-D48A-6343-84A7-DAFEC5311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930" y="2834059"/>
            <a:ext cx="2950139" cy="118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1562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6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7D977B-8AB9-2B4D-BCD8-AC95E3977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674" y="1102362"/>
            <a:ext cx="11522191" cy="53459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3926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88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2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6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3" y="126146"/>
            <a:ext cx="1857805" cy="78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7207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k slid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9F2613-9972-6F4A-BB52-2B23113456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8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E09829-29DA-C54F-B888-9CEF5CFB1B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943" y="177966"/>
            <a:ext cx="1779105" cy="70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289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5" y="1141301"/>
            <a:ext cx="6140302" cy="607755"/>
          </a:xfrm>
        </p:spPr>
        <p:txBody>
          <a:bodyPr>
            <a:normAutofit/>
          </a:bodyPr>
          <a:lstStyle>
            <a:lvl1pPr>
              <a:defRPr sz="30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312D-8264-808B-87D0-79181D720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416" y="2933276"/>
            <a:ext cx="6139748" cy="3339933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3" y="1881188"/>
            <a:ext cx="6140450" cy="399496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185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9BE03A-4FDF-590B-1A91-B41FA4BC15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414" y="3045"/>
            <a:ext cx="12181172" cy="6851909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62BECF2-2393-FE1F-2557-1643100E81DD}"/>
              </a:ext>
            </a:extLst>
          </p:cNvPr>
          <p:cNvSpPr/>
          <p:nvPr userDrawn="1"/>
        </p:nvSpPr>
        <p:spPr>
          <a:xfrm>
            <a:off x="7670362" y="5164998"/>
            <a:ext cx="6480833" cy="508544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A77665-51AC-E492-C67C-B1CCD76F3F2C}"/>
              </a:ext>
            </a:extLst>
          </p:cNvPr>
          <p:cNvSpPr txBox="1"/>
          <p:nvPr userDrawn="1"/>
        </p:nvSpPr>
        <p:spPr>
          <a:xfrm>
            <a:off x="8251233" y="5296325"/>
            <a:ext cx="3017558" cy="27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400" b="1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400" b="1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  <a:endParaRPr lang="en-US" sz="1400" spc="10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B2F2B17-3D43-F44D-4669-331DAA7843A3}"/>
              </a:ext>
            </a:extLst>
          </p:cNvPr>
          <p:cNvGrpSpPr/>
          <p:nvPr userDrawn="1"/>
        </p:nvGrpSpPr>
        <p:grpSpPr>
          <a:xfrm>
            <a:off x="532635" y="393478"/>
            <a:ext cx="3021218" cy="1580760"/>
            <a:chOff x="442593" y="368967"/>
            <a:chExt cx="3021218" cy="158076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6177DFF-BF03-E552-6332-A38168641E3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58540387-381A-7DC7-C756-966C78699FF5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57333C9-1C1F-842A-4F73-BA6C872C79A0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7E76F48-D498-5C33-7911-72F299627DF3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7955A4D-1418-D9A3-A3FC-719C7797FC07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FBDE892-A3AD-E814-4A75-320A058BAB3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A77D4B6-B503-AF84-24FF-879ADEEB490E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063957E-A541-6C5E-3C62-BCFAD6C62C7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EB87F36-D22A-9DC1-3C89-F1A3D5B4319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2A55ED6B-9F6A-AE2C-FB3E-19A7639BD147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8008F57-476E-D364-CC8B-05D3BCCA5B88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9C7376E-E7B0-3A18-7484-3AC1855725B2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A53164B-3B02-23B3-9E12-436EE87544C2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DE7FE3E-67EE-6F89-7049-A6594EB3D438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907AAD0-7B85-2E4B-C057-B2F33E159933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91F9CBA-5606-8D81-4737-F41639785C9D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5B77A19-38F0-856F-023D-9ADE86A9B8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968C5118-A307-FA48-6809-47617D7330A5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23BE778-0117-DD6A-A836-1C76582DB6F7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F283462C-FD58-8FD1-22E8-197B7496C3C4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261555F-EF5D-5A39-37DB-D87B6FEDF557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757241ED-595B-BB28-C586-4012E98DF0B1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1909CE8-91E5-BFA1-4DEB-3EDADF2802BF}"/>
              </a:ext>
            </a:extLst>
          </p:cNvPr>
          <p:cNvSpPr/>
          <p:nvPr/>
        </p:nvSpPr>
        <p:spPr>
          <a:xfrm flipH="1">
            <a:off x="7670360" y="6477588"/>
            <a:ext cx="4725382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EF873C-A4B9-BD3A-75D5-47B05F4DF343}"/>
              </a:ext>
            </a:extLst>
          </p:cNvPr>
          <p:cNvSpPr txBox="1"/>
          <p:nvPr/>
        </p:nvSpPr>
        <p:spPr>
          <a:xfrm>
            <a:off x="8045963" y="6477383"/>
            <a:ext cx="3943924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</a:t>
            </a: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/USER/</a:t>
            </a:r>
            <a:r>
              <a:rPr lang="en-US" sz="1000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</a:t>
            </a:r>
            <a:endParaRPr lang="en-US" sz="1000" spc="10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D5EA60CB-EF4B-A609-39AA-EF0664985CF9}"/>
              </a:ext>
            </a:extLst>
          </p:cNvPr>
          <p:cNvSpPr/>
          <p:nvPr userDrawn="1"/>
        </p:nvSpPr>
        <p:spPr>
          <a:xfrm flipH="1">
            <a:off x="7670360" y="614507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1AB7B35-E5B2-FBBB-3899-A1F9AEA3B0C3}"/>
              </a:ext>
            </a:extLst>
          </p:cNvPr>
          <p:cNvSpPr txBox="1"/>
          <p:nvPr userDrawn="1"/>
        </p:nvSpPr>
        <p:spPr>
          <a:xfrm>
            <a:off x="8045962" y="614487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WWW.LINKEDIN.COM</a:t>
            </a: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/COMPANY/MEDICINES-PATENT-POOL/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C338AE36-D894-2734-AD2E-E38208CF9F4D}"/>
              </a:ext>
            </a:extLst>
          </p:cNvPr>
          <p:cNvSpPr/>
          <p:nvPr userDrawn="1"/>
        </p:nvSpPr>
        <p:spPr>
          <a:xfrm flipH="1">
            <a:off x="7670360" y="5818459"/>
            <a:ext cx="4725380" cy="27186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DD78A8E-707F-D22C-CAAE-97C18BD75542}"/>
              </a:ext>
            </a:extLst>
          </p:cNvPr>
          <p:cNvSpPr txBox="1"/>
          <p:nvPr userDrawn="1"/>
        </p:nvSpPr>
        <p:spPr>
          <a:xfrm>
            <a:off x="8045962" y="5818254"/>
            <a:ext cx="4501365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YOUTUBE.COM/USER/</a:t>
            </a:r>
            <a:r>
              <a:rPr lang="en-US" sz="1000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</a:t>
            </a:r>
            <a:endParaRPr lang="en-US" sz="1000" spc="100">
              <a:solidFill>
                <a:schemeClr val="bg1"/>
              </a:solidFill>
              <a:latin typeface="PT Sans" panose="020B0503020203020204" pitchFamily="34" charset="0"/>
              <a:ea typeface="PT Sans" panose="020B0503020203020204" pitchFamily="34" charset="0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FC51CB28-A6D4-7107-8133-8869834A7152}"/>
              </a:ext>
            </a:extLst>
          </p:cNvPr>
          <p:cNvSpPr/>
          <p:nvPr/>
        </p:nvSpPr>
        <p:spPr>
          <a:xfrm>
            <a:off x="7838449" y="5859288"/>
            <a:ext cx="205620" cy="182510"/>
          </a:xfrm>
          <a:custGeom>
            <a:avLst/>
            <a:gdLst>
              <a:gd name="connsiteX0" fmla="*/ 178003 w 205620"/>
              <a:gd name="connsiteY0" fmla="*/ 91762 h 182510"/>
              <a:gd name="connsiteX1" fmla="*/ 171193 w 205620"/>
              <a:gd name="connsiteY1" fmla="*/ 111436 h 182510"/>
              <a:gd name="connsiteX2" fmla="*/ 153979 w 205620"/>
              <a:gd name="connsiteY2" fmla="*/ 138864 h 182510"/>
              <a:gd name="connsiteX3" fmla="*/ 106877 w 205620"/>
              <a:gd name="connsiteY3" fmla="*/ 174049 h 182510"/>
              <a:gd name="connsiteX4" fmla="*/ 74909 w 205620"/>
              <a:gd name="connsiteY4" fmla="*/ 181804 h 182510"/>
              <a:gd name="connsiteX5" fmla="*/ 17592 w 205620"/>
              <a:gd name="connsiteY5" fmla="*/ 172346 h 182510"/>
              <a:gd name="connsiteX6" fmla="*/ 0 w 205620"/>
              <a:gd name="connsiteY6" fmla="*/ 161942 h 182510"/>
              <a:gd name="connsiteX7" fmla="*/ 59397 w 205620"/>
              <a:gd name="connsiteY7" fmla="*/ 143404 h 182510"/>
              <a:gd name="connsiteX8" fmla="*/ 35941 w 205620"/>
              <a:gd name="connsiteY8" fmla="*/ 133378 h 182510"/>
              <a:gd name="connsiteX9" fmla="*/ 21754 w 205620"/>
              <a:gd name="connsiteY9" fmla="*/ 111814 h 182510"/>
              <a:gd name="connsiteX10" fmla="*/ 40292 w 205620"/>
              <a:gd name="connsiteY10" fmla="*/ 110301 h 182510"/>
              <a:gd name="connsiteX11" fmla="*/ 7377 w 205620"/>
              <a:gd name="connsiteY11" fmla="*/ 64523 h 182510"/>
              <a:gd name="connsiteX12" fmla="*/ 25159 w 205620"/>
              <a:gd name="connsiteY12" fmla="*/ 69441 h 182510"/>
              <a:gd name="connsiteX13" fmla="*/ 13052 w 205620"/>
              <a:gd name="connsiteY13" fmla="*/ 9098 h 182510"/>
              <a:gd name="connsiteX14" fmla="*/ 19673 w 205620"/>
              <a:gd name="connsiteY14" fmla="*/ 15908 h 182510"/>
              <a:gd name="connsiteX15" fmla="*/ 45399 w 205620"/>
              <a:gd name="connsiteY15" fmla="*/ 38040 h 182510"/>
              <a:gd name="connsiteX16" fmla="*/ 76611 w 205620"/>
              <a:gd name="connsiteY16" fmla="*/ 52416 h 182510"/>
              <a:gd name="connsiteX17" fmla="*/ 98176 w 205620"/>
              <a:gd name="connsiteY17" fmla="*/ 56011 h 182510"/>
              <a:gd name="connsiteX18" fmla="*/ 101203 w 205620"/>
              <a:gd name="connsiteY18" fmla="*/ 52416 h 182510"/>
              <a:gd name="connsiteX19" fmla="*/ 104986 w 205620"/>
              <a:gd name="connsiteY19" fmla="*/ 25933 h 182510"/>
              <a:gd name="connsiteX20" fmla="*/ 129955 w 205620"/>
              <a:gd name="connsiteY20" fmla="*/ 2099 h 182510"/>
              <a:gd name="connsiteX21" fmla="*/ 152277 w 205620"/>
              <a:gd name="connsiteY21" fmla="*/ 964 h 182510"/>
              <a:gd name="connsiteX22" fmla="*/ 171761 w 205620"/>
              <a:gd name="connsiteY22" fmla="*/ 12314 h 182510"/>
              <a:gd name="connsiteX23" fmla="*/ 176868 w 205620"/>
              <a:gd name="connsiteY23" fmla="*/ 13638 h 182510"/>
              <a:gd name="connsiteX24" fmla="*/ 200892 w 205620"/>
              <a:gd name="connsiteY24" fmla="*/ 3234 h 182510"/>
              <a:gd name="connsiteX25" fmla="*/ 192947 w 205620"/>
              <a:gd name="connsiteY25" fmla="*/ 18934 h 182510"/>
              <a:gd name="connsiteX26" fmla="*/ 186894 w 205620"/>
              <a:gd name="connsiteY26" fmla="*/ 24988 h 182510"/>
              <a:gd name="connsiteX27" fmla="*/ 185759 w 205620"/>
              <a:gd name="connsiteY27" fmla="*/ 27447 h 182510"/>
              <a:gd name="connsiteX28" fmla="*/ 188407 w 205620"/>
              <a:gd name="connsiteY28" fmla="*/ 27636 h 182510"/>
              <a:gd name="connsiteX29" fmla="*/ 203351 w 205620"/>
              <a:gd name="connsiteY29" fmla="*/ 22339 h 182510"/>
              <a:gd name="connsiteX30" fmla="*/ 205621 w 205620"/>
              <a:gd name="connsiteY30" fmla="*/ 22150 h 182510"/>
              <a:gd name="connsiteX31" fmla="*/ 186515 w 205620"/>
              <a:gd name="connsiteY31" fmla="*/ 44472 h 182510"/>
              <a:gd name="connsiteX32" fmla="*/ 184624 w 205620"/>
              <a:gd name="connsiteY32" fmla="*/ 48066 h 182510"/>
              <a:gd name="connsiteX33" fmla="*/ 181597 w 205620"/>
              <a:gd name="connsiteY33" fmla="*/ 78521 h 182510"/>
              <a:gd name="connsiteX34" fmla="*/ 178003 w 205620"/>
              <a:gd name="connsiteY34" fmla="*/ 90817 h 182510"/>
              <a:gd name="connsiteX35" fmla="*/ 177435 w 205620"/>
              <a:gd name="connsiteY35" fmla="*/ 91006 h 182510"/>
              <a:gd name="connsiteX36" fmla="*/ 178003 w 205620"/>
              <a:gd name="connsiteY36" fmla="*/ 91384 h 182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5620" h="182510">
                <a:moveTo>
                  <a:pt x="178003" y="91762"/>
                </a:moveTo>
                <a:cubicBezTo>
                  <a:pt x="177057" y="98762"/>
                  <a:pt x="174031" y="105193"/>
                  <a:pt x="171193" y="111436"/>
                </a:cubicBezTo>
                <a:cubicBezTo>
                  <a:pt x="166653" y="121461"/>
                  <a:pt x="160789" y="130541"/>
                  <a:pt x="153979" y="138864"/>
                </a:cubicBezTo>
                <a:cubicBezTo>
                  <a:pt x="141305" y="154565"/>
                  <a:pt x="125794" y="166482"/>
                  <a:pt x="106877" y="174049"/>
                </a:cubicBezTo>
                <a:cubicBezTo>
                  <a:pt x="96473" y="178210"/>
                  <a:pt x="85880" y="180480"/>
                  <a:pt x="74909" y="181804"/>
                </a:cubicBezTo>
                <a:cubicBezTo>
                  <a:pt x="54668" y="184264"/>
                  <a:pt x="35752" y="180102"/>
                  <a:pt x="17592" y="172346"/>
                </a:cubicBezTo>
                <a:cubicBezTo>
                  <a:pt x="11728" y="169887"/>
                  <a:pt x="5864" y="167050"/>
                  <a:pt x="0" y="161942"/>
                </a:cubicBezTo>
                <a:cubicBezTo>
                  <a:pt x="22700" y="163266"/>
                  <a:pt x="42183" y="157402"/>
                  <a:pt x="59397" y="143404"/>
                </a:cubicBezTo>
                <a:cubicBezTo>
                  <a:pt x="50507" y="142458"/>
                  <a:pt x="42751" y="138864"/>
                  <a:pt x="35941" y="133378"/>
                </a:cubicBezTo>
                <a:cubicBezTo>
                  <a:pt x="29131" y="127704"/>
                  <a:pt x="24591" y="120326"/>
                  <a:pt x="21754" y="111814"/>
                </a:cubicBezTo>
                <a:cubicBezTo>
                  <a:pt x="27996" y="112381"/>
                  <a:pt x="34049" y="112570"/>
                  <a:pt x="40292" y="110301"/>
                </a:cubicBezTo>
                <a:cubicBezTo>
                  <a:pt x="20241" y="104436"/>
                  <a:pt x="6242" y="84574"/>
                  <a:pt x="7377" y="64523"/>
                </a:cubicBezTo>
                <a:cubicBezTo>
                  <a:pt x="13052" y="66982"/>
                  <a:pt x="18349" y="70576"/>
                  <a:pt x="25159" y="69441"/>
                </a:cubicBezTo>
                <a:cubicBezTo>
                  <a:pt x="6621" y="52227"/>
                  <a:pt x="3594" y="32176"/>
                  <a:pt x="13052" y="9098"/>
                </a:cubicBezTo>
                <a:cubicBezTo>
                  <a:pt x="16457" y="10800"/>
                  <a:pt x="17971" y="13638"/>
                  <a:pt x="19673" y="15908"/>
                </a:cubicBezTo>
                <a:cubicBezTo>
                  <a:pt x="26861" y="24988"/>
                  <a:pt x="36319" y="31230"/>
                  <a:pt x="45399" y="38040"/>
                </a:cubicBezTo>
                <a:cubicBezTo>
                  <a:pt x="54857" y="45228"/>
                  <a:pt x="65640" y="49011"/>
                  <a:pt x="76611" y="52416"/>
                </a:cubicBezTo>
                <a:cubicBezTo>
                  <a:pt x="83421" y="54686"/>
                  <a:pt x="90609" y="56389"/>
                  <a:pt x="98176" y="56011"/>
                </a:cubicBezTo>
                <a:cubicBezTo>
                  <a:pt x="101013" y="56011"/>
                  <a:pt x="101770" y="54876"/>
                  <a:pt x="101203" y="52416"/>
                </a:cubicBezTo>
                <a:cubicBezTo>
                  <a:pt x="99311" y="43147"/>
                  <a:pt x="101392" y="34446"/>
                  <a:pt x="104986" y="25933"/>
                </a:cubicBezTo>
                <a:cubicBezTo>
                  <a:pt x="109904" y="14395"/>
                  <a:pt x="118227" y="6260"/>
                  <a:pt x="129955" y="2099"/>
                </a:cubicBezTo>
                <a:cubicBezTo>
                  <a:pt x="137144" y="-360"/>
                  <a:pt x="144710" y="-549"/>
                  <a:pt x="152277" y="964"/>
                </a:cubicBezTo>
                <a:cubicBezTo>
                  <a:pt x="160222" y="2477"/>
                  <a:pt x="166464" y="6639"/>
                  <a:pt x="171761" y="12314"/>
                </a:cubicBezTo>
                <a:cubicBezTo>
                  <a:pt x="173463" y="14016"/>
                  <a:pt x="174787" y="14205"/>
                  <a:pt x="176868" y="13638"/>
                </a:cubicBezTo>
                <a:cubicBezTo>
                  <a:pt x="185002" y="11368"/>
                  <a:pt x="192758" y="7774"/>
                  <a:pt x="200892" y="3234"/>
                </a:cubicBezTo>
                <a:cubicBezTo>
                  <a:pt x="199378" y="9665"/>
                  <a:pt x="196541" y="14395"/>
                  <a:pt x="192947" y="18934"/>
                </a:cubicBezTo>
                <a:cubicBezTo>
                  <a:pt x="191055" y="21204"/>
                  <a:pt x="189353" y="23285"/>
                  <a:pt x="186894" y="24988"/>
                </a:cubicBezTo>
                <a:cubicBezTo>
                  <a:pt x="186137" y="25555"/>
                  <a:pt x="185191" y="26501"/>
                  <a:pt x="185759" y="27447"/>
                </a:cubicBezTo>
                <a:cubicBezTo>
                  <a:pt x="186326" y="28393"/>
                  <a:pt x="187461" y="28014"/>
                  <a:pt x="188407" y="27636"/>
                </a:cubicBezTo>
                <a:cubicBezTo>
                  <a:pt x="193514" y="25933"/>
                  <a:pt x="198811" y="24988"/>
                  <a:pt x="203351" y="22339"/>
                </a:cubicBezTo>
                <a:cubicBezTo>
                  <a:pt x="204108" y="21961"/>
                  <a:pt x="204675" y="21772"/>
                  <a:pt x="205621" y="22150"/>
                </a:cubicBezTo>
                <a:cubicBezTo>
                  <a:pt x="200892" y="31041"/>
                  <a:pt x="193893" y="37851"/>
                  <a:pt x="186515" y="44472"/>
                </a:cubicBezTo>
                <a:cubicBezTo>
                  <a:pt x="185191" y="45607"/>
                  <a:pt x="184624" y="46552"/>
                  <a:pt x="184624" y="48066"/>
                </a:cubicBezTo>
                <a:cubicBezTo>
                  <a:pt x="184813" y="58280"/>
                  <a:pt x="183110" y="68495"/>
                  <a:pt x="181597" y="78521"/>
                </a:cubicBezTo>
                <a:cubicBezTo>
                  <a:pt x="181030" y="82683"/>
                  <a:pt x="179138" y="86655"/>
                  <a:pt x="178003" y="90817"/>
                </a:cubicBezTo>
                <a:cubicBezTo>
                  <a:pt x="177814" y="90817"/>
                  <a:pt x="177625" y="90817"/>
                  <a:pt x="177435" y="91006"/>
                </a:cubicBezTo>
                <a:cubicBezTo>
                  <a:pt x="177625" y="91006"/>
                  <a:pt x="177814" y="91195"/>
                  <a:pt x="178003" y="91384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72" name="Graphic 68">
            <a:extLst>
              <a:ext uri="{FF2B5EF4-FFF2-40B4-BE49-F238E27FC236}">
                <a16:creationId xmlns:a16="http://schemas.microsoft.com/office/drawing/2014/main" id="{977A1A28-7957-A26F-4235-31722B868445}"/>
              </a:ext>
            </a:extLst>
          </p:cNvPr>
          <p:cNvGrpSpPr/>
          <p:nvPr/>
        </p:nvGrpSpPr>
        <p:grpSpPr>
          <a:xfrm>
            <a:off x="7850745" y="6181384"/>
            <a:ext cx="181327" cy="182232"/>
            <a:chOff x="7850745" y="6181384"/>
            <a:chExt cx="181327" cy="182232"/>
          </a:xfrm>
          <a:solidFill>
            <a:srgbClr val="FFFFFF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37FE79D-88CD-7F8F-7F85-1245C15F464E}"/>
                </a:ext>
              </a:extLst>
            </p:cNvPr>
            <p:cNvSpPr/>
            <p:nvPr/>
          </p:nvSpPr>
          <p:spPr>
            <a:xfrm>
              <a:off x="7912412" y="6239594"/>
              <a:ext cx="119660" cy="124023"/>
            </a:xfrm>
            <a:custGeom>
              <a:avLst/>
              <a:gdLst>
                <a:gd name="connsiteX0" fmla="*/ 38589 w 119660"/>
                <a:gd name="connsiteY0" fmla="*/ 58762 h 124023"/>
                <a:gd name="connsiteX1" fmla="*/ 38589 w 119660"/>
                <a:gd name="connsiteY1" fmla="*/ 115700 h 124023"/>
                <a:gd name="connsiteX2" fmla="*/ 38211 w 119660"/>
                <a:gd name="connsiteY2" fmla="*/ 120240 h 124023"/>
                <a:gd name="connsiteX3" fmla="*/ 32536 w 119660"/>
                <a:gd name="connsiteY3" fmla="*/ 124023 h 124023"/>
                <a:gd name="connsiteX4" fmla="*/ 6242 w 119660"/>
                <a:gd name="connsiteY4" fmla="*/ 124023 h 124023"/>
                <a:gd name="connsiteX5" fmla="*/ 0 w 119660"/>
                <a:gd name="connsiteY5" fmla="*/ 117402 h 124023"/>
                <a:gd name="connsiteX6" fmla="*/ 0 w 119660"/>
                <a:gd name="connsiteY6" fmla="*/ 9579 h 124023"/>
                <a:gd name="connsiteX7" fmla="*/ 7567 w 119660"/>
                <a:gd name="connsiteY7" fmla="*/ 1823 h 124023"/>
                <a:gd name="connsiteX8" fmla="*/ 28753 w 119660"/>
                <a:gd name="connsiteY8" fmla="*/ 1823 h 124023"/>
                <a:gd name="connsiteX9" fmla="*/ 34428 w 119660"/>
                <a:gd name="connsiteY9" fmla="*/ 2202 h 124023"/>
                <a:gd name="connsiteX10" fmla="*/ 38589 w 119660"/>
                <a:gd name="connsiteY10" fmla="*/ 8066 h 124023"/>
                <a:gd name="connsiteX11" fmla="*/ 38589 w 119660"/>
                <a:gd name="connsiteY11" fmla="*/ 16767 h 124023"/>
                <a:gd name="connsiteX12" fmla="*/ 46534 w 119660"/>
                <a:gd name="connsiteY12" fmla="*/ 8066 h 124023"/>
                <a:gd name="connsiteX13" fmla="*/ 64505 w 119660"/>
                <a:gd name="connsiteY13" fmla="*/ 688 h 124023"/>
                <a:gd name="connsiteX14" fmla="*/ 81719 w 119660"/>
                <a:gd name="connsiteY14" fmla="*/ 310 h 124023"/>
                <a:gd name="connsiteX15" fmla="*/ 103851 w 119660"/>
                <a:gd name="connsiteY15" fmla="*/ 9201 h 124023"/>
                <a:gd name="connsiteX16" fmla="*/ 116336 w 119660"/>
                <a:gd name="connsiteY16" fmla="*/ 30765 h 124023"/>
                <a:gd name="connsiteX17" fmla="*/ 119173 w 119660"/>
                <a:gd name="connsiteY17" fmla="*/ 52141 h 124023"/>
                <a:gd name="connsiteX18" fmla="*/ 119551 w 119660"/>
                <a:gd name="connsiteY18" fmla="*/ 117213 h 124023"/>
                <a:gd name="connsiteX19" fmla="*/ 113120 w 119660"/>
                <a:gd name="connsiteY19" fmla="*/ 124023 h 124023"/>
                <a:gd name="connsiteX20" fmla="*/ 85124 w 119660"/>
                <a:gd name="connsiteY20" fmla="*/ 124023 h 124023"/>
                <a:gd name="connsiteX21" fmla="*/ 80395 w 119660"/>
                <a:gd name="connsiteY21" fmla="*/ 119483 h 124023"/>
                <a:gd name="connsiteX22" fmla="*/ 80395 w 119660"/>
                <a:gd name="connsiteY22" fmla="*/ 116835 h 124023"/>
                <a:gd name="connsiteX23" fmla="*/ 80395 w 119660"/>
                <a:gd name="connsiteY23" fmla="*/ 61410 h 124023"/>
                <a:gd name="connsiteX24" fmla="*/ 78125 w 119660"/>
                <a:gd name="connsiteY24" fmla="*/ 45709 h 124023"/>
                <a:gd name="connsiteX25" fmla="*/ 63937 w 119660"/>
                <a:gd name="connsiteY25" fmla="*/ 33981 h 124023"/>
                <a:gd name="connsiteX26" fmla="*/ 49561 w 119660"/>
                <a:gd name="connsiteY26" fmla="*/ 36440 h 124023"/>
                <a:gd name="connsiteX27" fmla="*/ 40670 w 119660"/>
                <a:gd name="connsiteY27" fmla="*/ 49114 h 124023"/>
                <a:gd name="connsiteX28" fmla="*/ 38779 w 119660"/>
                <a:gd name="connsiteY28" fmla="*/ 57248 h 124023"/>
                <a:gd name="connsiteX29" fmla="*/ 37833 w 119660"/>
                <a:gd name="connsiteY29" fmla="*/ 58194 h 124023"/>
                <a:gd name="connsiteX30" fmla="*/ 38589 w 119660"/>
                <a:gd name="connsiteY30" fmla="*/ 59140 h 124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9660" h="124023">
                  <a:moveTo>
                    <a:pt x="38589" y="58762"/>
                  </a:moveTo>
                  <a:cubicBezTo>
                    <a:pt x="38589" y="77678"/>
                    <a:pt x="38589" y="96783"/>
                    <a:pt x="38589" y="115700"/>
                  </a:cubicBezTo>
                  <a:cubicBezTo>
                    <a:pt x="38589" y="117213"/>
                    <a:pt x="38589" y="118726"/>
                    <a:pt x="38211" y="120240"/>
                  </a:cubicBezTo>
                  <a:cubicBezTo>
                    <a:pt x="37644" y="122321"/>
                    <a:pt x="35184" y="124023"/>
                    <a:pt x="32536" y="124023"/>
                  </a:cubicBezTo>
                  <a:cubicBezTo>
                    <a:pt x="23835" y="124023"/>
                    <a:pt x="15133" y="124023"/>
                    <a:pt x="6242" y="124023"/>
                  </a:cubicBezTo>
                  <a:cubicBezTo>
                    <a:pt x="2081" y="124023"/>
                    <a:pt x="0" y="121564"/>
                    <a:pt x="0" y="117402"/>
                  </a:cubicBezTo>
                  <a:cubicBezTo>
                    <a:pt x="0" y="81461"/>
                    <a:pt x="0" y="45520"/>
                    <a:pt x="0" y="9579"/>
                  </a:cubicBezTo>
                  <a:cubicBezTo>
                    <a:pt x="0" y="3904"/>
                    <a:pt x="1892" y="1823"/>
                    <a:pt x="7567" y="1823"/>
                  </a:cubicBezTo>
                  <a:cubicBezTo>
                    <a:pt x="14566" y="1823"/>
                    <a:pt x="21754" y="1823"/>
                    <a:pt x="28753" y="1823"/>
                  </a:cubicBezTo>
                  <a:cubicBezTo>
                    <a:pt x="30645" y="1823"/>
                    <a:pt x="32536" y="2012"/>
                    <a:pt x="34428" y="2202"/>
                  </a:cubicBezTo>
                  <a:cubicBezTo>
                    <a:pt x="36509" y="2580"/>
                    <a:pt x="38589" y="5228"/>
                    <a:pt x="38589" y="8066"/>
                  </a:cubicBezTo>
                  <a:cubicBezTo>
                    <a:pt x="38589" y="10714"/>
                    <a:pt x="38589" y="13551"/>
                    <a:pt x="38589" y="16767"/>
                  </a:cubicBezTo>
                  <a:cubicBezTo>
                    <a:pt x="41049" y="13173"/>
                    <a:pt x="43508" y="10525"/>
                    <a:pt x="46534" y="8066"/>
                  </a:cubicBezTo>
                  <a:cubicBezTo>
                    <a:pt x="51831" y="3715"/>
                    <a:pt x="57884" y="1634"/>
                    <a:pt x="64505" y="688"/>
                  </a:cubicBezTo>
                  <a:cubicBezTo>
                    <a:pt x="70180" y="-258"/>
                    <a:pt x="76044" y="-68"/>
                    <a:pt x="81719" y="310"/>
                  </a:cubicBezTo>
                  <a:cubicBezTo>
                    <a:pt x="89853" y="1067"/>
                    <a:pt x="97608" y="3526"/>
                    <a:pt x="103851" y="9201"/>
                  </a:cubicBezTo>
                  <a:cubicBezTo>
                    <a:pt x="110282" y="15065"/>
                    <a:pt x="114255" y="22442"/>
                    <a:pt x="116336" y="30765"/>
                  </a:cubicBezTo>
                  <a:cubicBezTo>
                    <a:pt x="118038" y="37764"/>
                    <a:pt x="118795" y="44763"/>
                    <a:pt x="119173" y="52141"/>
                  </a:cubicBezTo>
                  <a:cubicBezTo>
                    <a:pt x="120119" y="73895"/>
                    <a:pt x="119362" y="95459"/>
                    <a:pt x="119551" y="117213"/>
                  </a:cubicBezTo>
                  <a:cubicBezTo>
                    <a:pt x="119551" y="121375"/>
                    <a:pt x="117092" y="123834"/>
                    <a:pt x="113120" y="124023"/>
                  </a:cubicBezTo>
                  <a:cubicBezTo>
                    <a:pt x="103851" y="124023"/>
                    <a:pt x="94393" y="124023"/>
                    <a:pt x="85124" y="124023"/>
                  </a:cubicBezTo>
                  <a:cubicBezTo>
                    <a:pt x="83232" y="124023"/>
                    <a:pt x="80584" y="121375"/>
                    <a:pt x="80395" y="119483"/>
                  </a:cubicBezTo>
                  <a:cubicBezTo>
                    <a:pt x="80395" y="118537"/>
                    <a:pt x="80395" y="117591"/>
                    <a:pt x="80395" y="116835"/>
                  </a:cubicBezTo>
                  <a:cubicBezTo>
                    <a:pt x="80395" y="98297"/>
                    <a:pt x="80395" y="79759"/>
                    <a:pt x="80395" y="61410"/>
                  </a:cubicBezTo>
                  <a:cubicBezTo>
                    <a:pt x="80395" y="56113"/>
                    <a:pt x="80016" y="50817"/>
                    <a:pt x="78125" y="45709"/>
                  </a:cubicBezTo>
                  <a:cubicBezTo>
                    <a:pt x="75665" y="39089"/>
                    <a:pt x="71315" y="34927"/>
                    <a:pt x="63937" y="33981"/>
                  </a:cubicBezTo>
                  <a:cubicBezTo>
                    <a:pt x="58830" y="33224"/>
                    <a:pt x="53912" y="33603"/>
                    <a:pt x="49561" y="36440"/>
                  </a:cubicBezTo>
                  <a:cubicBezTo>
                    <a:pt x="44832" y="39467"/>
                    <a:pt x="42373" y="44007"/>
                    <a:pt x="40670" y="49114"/>
                  </a:cubicBezTo>
                  <a:cubicBezTo>
                    <a:pt x="39724" y="51763"/>
                    <a:pt x="38779" y="54411"/>
                    <a:pt x="38779" y="57248"/>
                  </a:cubicBezTo>
                  <a:cubicBezTo>
                    <a:pt x="38779" y="57816"/>
                    <a:pt x="38022" y="57627"/>
                    <a:pt x="37833" y="58194"/>
                  </a:cubicBezTo>
                  <a:cubicBezTo>
                    <a:pt x="37833" y="58572"/>
                    <a:pt x="38211" y="58951"/>
                    <a:pt x="38589" y="59140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3155F1B3-1016-595A-497B-E9CA6FF0295D}"/>
                </a:ext>
              </a:extLst>
            </p:cNvPr>
            <p:cNvSpPr/>
            <p:nvPr/>
          </p:nvSpPr>
          <p:spPr>
            <a:xfrm>
              <a:off x="7856230" y="6241228"/>
              <a:ext cx="38589" cy="122388"/>
            </a:xfrm>
            <a:custGeom>
              <a:avLst/>
              <a:gdLst>
                <a:gd name="connsiteX0" fmla="*/ 189 w 38589"/>
                <a:gd name="connsiteY0" fmla="*/ 61289 h 122388"/>
                <a:gd name="connsiteX1" fmla="*/ 189 w 38589"/>
                <a:gd name="connsiteY1" fmla="*/ 6621 h 122388"/>
                <a:gd name="connsiteX2" fmla="*/ 6432 w 38589"/>
                <a:gd name="connsiteY2" fmla="*/ 0 h 122388"/>
                <a:gd name="connsiteX3" fmla="*/ 31401 w 38589"/>
                <a:gd name="connsiteY3" fmla="*/ 0 h 122388"/>
                <a:gd name="connsiteX4" fmla="*/ 38589 w 38589"/>
                <a:gd name="connsiteY4" fmla="*/ 7188 h 122388"/>
                <a:gd name="connsiteX5" fmla="*/ 38589 w 38589"/>
                <a:gd name="connsiteY5" fmla="*/ 9458 h 122388"/>
                <a:gd name="connsiteX6" fmla="*/ 38589 w 38589"/>
                <a:gd name="connsiteY6" fmla="*/ 113877 h 122388"/>
                <a:gd name="connsiteX7" fmla="*/ 36130 w 38589"/>
                <a:gd name="connsiteY7" fmla="*/ 120876 h 122388"/>
                <a:gd name="connsiteX8" fmla="*/ 32347 w 38589"/>
                <a:gd name="connsiteY8" fmla="*/ 122389 h 122388"/>
                <a:gd name="connsiteX9" fmla="*/ 6053 w 38589"/>
                <a:gd name="connsiteY9" fmla="*/ 122389 h 122388"/>
                <a:gd name="connsiteX10" fmla="*/ 0 w 38589"/>
                <a:gd name="connsiteY10" fmla="*/ 116147 h 122388"/>
                <a:gd name="connsiteX11" fmla="*/ 0 w 38589"/>
                <a:gd name="connsiteY11" fmla="*/ 61289 h 12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89" h="122388">
                  <a:moveTo>
                    <a:pt x="189" y="61289"/>
                  </a:moveTo>
                  <a:lnTo>
                    <a:pt x="189" y="6621"/>
                  </a:lnTo>
                  <a:cubicBezTo>
                    <a:pt x="189" y="2648"/>
                    <a:pt x="2459" y="189"/>
                    <a:pt x="6432" y="0"/>
                  </a:cubicBezTo>
                  <a:cubicBezTo>
                    <a:pt x="14755" y="0"/>
                    <a:pt x="23078" y="0"/>
                    <a:pt x="31401" y="0"/>
                  </a:cubicBezTo>
                  <a:cubicBezTo>
                    <a:pt x="36509" y="0"/>
                    <a:pt x="38211" y="1892"/>
                    <a:pt x="38589" y="7188"/>
                  </a:cubicBezTo>
                  <a:cubicBezTo>
                    <a:pt x="38589" y="7945"/>
                    <a:pt x="38589" y="8702"/>
                    <a:pt x="38589" y="9458"/>
                  </a:cubicBezTo>
                  <a:lnTo>
                    <a:pt x="38589" y="113877"/>
                  </a:lnTo>
                  <a:cubicBezTo>
                    <a:pt x="38589" y="116525"/>
                    <a:pt x="38589" y="118984"/>
                    <a:pt x="36130" y="120876"/>
                  </a:cubicBezTo>
                  <a:cubicBezTo>
                    <a:pt x="34995" y="121821"/>
                    <a:pt x="33671" y="122389"/>
                    <a:pt x="32347" y="122389"/>
                  </a:cubicBezTo>
                  <a:cubicBezTo>
                    <a:pt x="23645" y="122389"/>
                    <a:pt x="14944" y="122389"/>
                    <a:pt x="6053" y="122389"/>
                  </a:cubicBezTo>
                  <a:cubicBezTo>
                    <a:pt x="2837" y="122389"/>
                    <a:pt x="0" y="119551"/>
                    <a:pt x="0" y="116147"/>
                  </a:cubicBezTo>
                  <a:lnTo>
                    <a:pt x="0" y="61289"/>
                  </a:ln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39B0709-FE49-5D7E-0792-D593FB27217B}"/>
                </a:ext>
              </a:extLst>
            </p:cNvPr>
            <p:cNvSpPr/>
            <p:nvPr/>
          </p:nvSpPr>
          <p:spPr>
            <a:xfrm>
              <a:off x="7850745" y="6181384"/>
              <a:ext cx="49595" cy="49818"/>
            </a:xfrm>
            <a:custGeom>
              <a:avLst/>
              <a:gdLst>
                <a:gd name="connsiteX0" fmla="*/ 49561 w 49595"/>
                <a:gd name="connsiteY0" fmla="*/ 25038 h 49818"/>
                <a:gd name="connsiteX1" fmla="*/ 24780 w 49595"/>
                <a:gd name="connsiteY1" fmla="*/ 49818 h 49818"/>
                <a:gd name="connsiteX2" fmla="*/ 0 w 49595"/>
                <a:gd name="connsiteY2" fmla="*/ 24849 h 49818"/>
                <a:gd name="connsiteX3" fmla="*/ 27240 w 49595"/>
                <a:gd name="connsiteY3" fmla="*/ 68 h 49818"/>
                <a:gd name="connsiteX4" fmla="*/ 49561 w 49595"/>
                <a:gd name="connsiteY4" fmla="*/ 25038 h 49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95" h="49818">
                  <a:moveTo>
                    <a:pt x="49561" y="25038"/>
                  </a:moveTo>
                  <a:cubicBezTo>
                    <a:pt x="49939" y="38847"/>
                    <a:pt x="37644" y="49818"/>
                    <a:pt x="24780" y="49818"/>
                  </a:cubicBezTo>
                  <a:cubicBezTo>
                    <a:pt x="10593" y="49818"/>
                    <a:pt x="0" y="38658"/>
                    <a:pt x="0" y="24849"/>
                  </a:cubicBezTo>
                  <a:cubicBezTo>
                    <a:pt x="0" y="12175"/>
                    <a:pt x="9837" y="-1067"/>
                    <a:pt x="27240" y="68"/>
                  </a:cubicBezTo>
                  <a:cubicBezTo>
                    <a:pt x="38400" y="825"/>
                    <a:pt x="50318" y="11040"/>
                    <a:pt x="49561" y="25038"/>
                  </a:cubicBezTo>
                </a:path>
              </a:pathLst>
            </a:custGeom>
            <a:solidFill>
              <a:srgbClr val="FFFFFF"/>
            </a:solidFill>
            <a:ln w="181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27D6AE77-B2BA-C3EE-4A0D-7864953291BC}"/>
              </a:ext>
            </a:extLst>
          </p:cNvPr>
          <p:cNvSpPr/>
          <p:nvPr/>
        </p:nvSpPr>
        <p:spPr>
          <a:xfrm>
            <a:off x="7837882" y="6539405"/>
            <a:ext cx="207240" cy="144121"/>
          </a:xfrm>
          <a:custGeom>
            <a:avLst/>
            <a:gdLst>
              <a:gd name="connsiteX0" fmla="*/ 82854 w 207240"/>
              <a:gd name="connsiteY0" fmla="*/ 103283 h 144121"/>
              <a:gd name="connsiteX1" fmla="*/ 109715 w 207240"/>
              <a:gd name="connsiteY1" fmla="*/ 87583 h 144121"/>
              <a:gd name="connsiteX2" fmla="*/ 134495 w 207240"/>
              <a:gd name="connsiteY2" fmla="*/ 73396 h 144121"/>
              <a:gd name="connsiteX3" fmla="*/ 134495 w 207240"/>
              <a:gd name="connsiteY3" fmla="*/ 71315 h 144121"/>
              <a:gd name="connsiteX4" fmla="*/ 126361 w 207240"/>
              <a:gd name="connsiteY4" fmla="*/ 66586 h 144121"/>
              <a:gd name="connsiteX5" fmla="*/ 110282 w 207240"/>
              <a:gd name="connsiteY5" fmla="*/ 57317 h 144121"/>
              <a:gd name="connsiteX6" fmla="*/ 90988 w 207240"/>
              <a:gd name="connsiteY6" fmla="*/ 46156 h 144121"/>
              <a:gd name="connsiteX7" fmla="*/ 82854 w 207240"/>
              <a:gd name="connsiteY7" fmla="*/ 41805 h 144121"/>
              <a:gd name="connsiteX8" fmla="*/ 82854 w 207240"/>
              <a:gd name="connsiteY8" fmla="*/ 103473 h 144121"/>
              <a:gd name="connsiteX9" fmla="*/ 0 w 207240"/>
              <a:gd name="connsiteY9" fmla="*/ 87204 h 144121"/>
              <a:gd name="connsiteX10" fmla="*/ 0 w 207240"/>
              <a:gd name="connsiteY10" fmla="*/ 57317 h 144121"/>
              <a:gd name="connsiteX11" fmla="*/ 378 w 207240"/>
              <a:gd name="connsiteY11" fmla="*/ 55614 h 144121"/>
              <a:gd name="connsiteX12" fmla="*/ 757 w 207240"/>
              <a:gd name="connsiteY12" fmla="*/ 48615 h 144121"/>
              <a:gd name="connsiteX13" fmla="*/ 2459 w 207240"/>
              <a:gd name="connsiteY13" fmla="*/ 31212 h 144121"/>
              <a:gd name="connsiteX14" fmla="*/ 5675 w 207240"/>
              <a:gd name="connsiteY14" fmla="*/ 18727 h 144121"/>
              <a:gd name="connsiteX15" fmla="*/ 15133 w 207240"/>
              <a:gd name="connsiteY15" fmla="*/ 7567 h 144121"/>
              <a:gd name="connsiteX16" fmla="*/ 31401 w 207240"/>
              <a:gd name="connsiteY16" fmla="*/ 2837 h 144121"/>
              <a:gd name="connsiteX17" fmla="*/ 49939 w 207240"/>
              <a:gd name="connsiteY17" fmla="*/ 1135 h 144121"/>
              <a:gd name="connsiteX18" fmla="*/ 69991 w 207240"/>
              <a:gd name="connsiteY18" fmla="*/ 378 h 144121"/>
              <a:gd name="connsiteX19" fmla="*/ 94203 w 207240"/>
              <a:gd name="connsiteY19" fmla="*/ 0 h 144121"/>
              <a:gd name="connsiteX20" fmla="*/ 120686 w 207240"/>
              <a:gd name="connsiteY20" fmla="*/ 0 h 144121"/>
              <a:gd name="connsiteX21" fmla="*/ 135630 w 207240"/>
              <a:gd name="connsiteY21" fmla="*/ 568 h 144121"/>
              <a:gd name="connsiteX22" fmla="*/ 155114 w 207240"/>
              <a:gd name="connsiteY22" fmla="*/ 1513 h 144121"/>
              <a:gd name="connsiteX23" fmla="*/ 167788 w 207240"/>
              <a:gd name="connsiteY23" fmla="*/ 2270 h 144121"/>
              <a:gd name="connsiteX24" fmla="*/ 182165 w 207240"/>
              <a:gd name="connsiteY24" fmla="*/ 3972 h 144121"/>
              <a:gd name="connsiteX25" fmla="*/ 197109 w 207240"/>
              <a:gd name="connsiteY25" fmla="*/ 12296 h 144121"/>
              <a:gd name="connsiteX26" fmla="*/ 203729 w 207240"/>
              <a:gd name="connsiteY26" fmla="*/ 26483 h 144121"/>
              <a:gd name="connsiteX27" fmla="*/ 205243 w 207240"/>
              <a:gd name="connsiteY27" fmla="*/ 36698 h 144121"/>
              <a:gd name="connsiteX28" fmla="*/ 206756 w 207240"/>
              <a:gd name="connsiteY28" fmla="*/ 54668 h 144121"/>
              <a:gd name="connsiteX29" fmla="*/ 207134 w 207240"/>
              <a:gd name="connsiteY29" fmla="*/ 69045 h 144121"/>
              <a:gd name="connsiteX30" fmla="*/ 206756 w 207240"/>
              <a:gd name="connsiteY30" fmla="*/ 80016 h 144121"/>
              <a:gd name="connsiteX31" fmla="*/ 206567 w 207240"/>
              <a:gd name="connsiteY31" fmla="*/ 90231 h 144121"/>
              <a:gd name="connsiteX32" fmla="*/ 205243 w 207240"/>
              <a:gd name="connsiteY32" fmla="*/ 107256 h 144121"/>
              <a:gd name="connsiteX33" fmla="*/ 202027 w 207240"/>
              <a:gd name="connsiteY33" fmla="*/ 124091 h 144121"/>
              <a:gd name="connsiteX34" fmla="*/ 184245 w 207240"/>
              <a:gd name="connsiteY34" fmla="*/ 140170 h 144121"/>
              <a:gd name="connsiteX35" fmla="*/ 162681 w 207240"/>
              <a:gd name="connsiteY35" fmla="*/ 142819 h 144121"/>
              <a:gd name="connsiteX36" fmla="*/ 148872 w 207240"/>
              <a:gd name="connsiteY36" fmla="*/ 143575 h 144121"/>
              <a:gd name="connsiteX37" fmla="*/ 136576 w 207240"/>
              <a:gd name="connsiteY37" fmla="*/ 143954 h 144121"/>
              <a:gd name="connsiteX38" fmla="*/ 115768 w 207240"/>
              <a:gd name="connsiteY38" fmla="*/ 143954 h 144121"/>
              <a:gd name="connsiteX39" fmla="*/ 83232 w 207240"/>
              <a:gd name="connsiteY39" fmla="*/ 143954 h 144121"/>
              <a:gd name="connsiteX40" fmla="*/ 66396 w 207240"/>
              <a:gd name="connsiteY40" fmla="*/ 143575 h 144121"/>
              <a:gd name="connsiteX41" fmla="*/ 48804 w 207240"/>
              <a:gd name="connsiteY41" fmla="*/ 142819 h 144121"/>
              <a:gd name="connsiteX42" fmla="*/ 29888 w 207240"/>
              <a:gd name="connsiteY42" fmla="*/ 141305 h 144121"/>
              <a:gd name="connsiteX43" fmla="*/ 18727 w 207240"/>
              <a:gd name="connsiteY43" fmla="*/ 138279 h 144121"/>
              <a:gd name="connsiteX44" fmla="*/ 5864 w 207240"/>
              <a:gd name="connsiteY44" fmla="*/ 125226 h 144121"/>
              <a:gd name="connsiteX45" fmla="*/ 2837 w 207240"/>
              <a:gd name="connsiteY45" fmla="*/ 112742 h 144121"/>
              <a:gd name="connsiteX46" fmla="*/ 1324 w 207240"/>
              <a:gd name="connsiteY46" fmla="*/ 99878 h 144121"/>
              <a:gd name="connsiteX47" fmla="*/ 757 w 207240"/>
              <a:gd name="connsiteY47" fmla="*/ 88907 h 144121"/>
              <a:gd name="connsiteX48" fmla="*/ 378 w 207240"/>
              <a:gd name="connsiteY48" fmla="*/ 86637 h 144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07240" h="144121">
                <a:moveTo>
                  <a:pt x="82854" y="103283"/>
                </a:moveTo>
                <a:cubicBezTo>
                  <a:pt x="91934" y="97987"/>
                  <a:pt x="100824" y="92690"/>
                  <a:pt x="109715" y="87583"/>
                </a:cubicBezTo>
                <a:cubicBezTo>
                  <a:pt x="117849" y="82854"/>
                  <a:pt x="126172" y="78125"/>
                  <a:pt x="134495" y="73396"/>
                </a:cubicBezTo>
                <a:cubicBezTo>
                  <a:pt x="135819" y="72639"/>
                  <a:pt x="136387" y="72071"/>
                  <a:pt x="134495" y="71315"/>
                </a:cubicBezTo>
                <a:cubicBezTo>
                  <a:pt x="131658" y="69801"/>
                  <a:pt x="129010" y="68288"/>
                  <a:pt x="126361" y="66586"/>
                </a:cubicBezTo>
                <a:cubicBezTo>
                  <a:pt x="121065" y="63370"/>
                  <a:pt x="115579" y="60343"/>
                  <a:pt x="110282" y="57317"/>
                </a:cubicBezTo>
                <a:cubicBezTo>
                  <a:pt x="103851" y="53533"/>
                  <a:pt x="97419" y="49750"/>
                  <a:pt x="90988" y="46156"/>
                </a:cubicBezTo>
                <a:cubicBezTo>
                  <a:pt x="88339" y="44643"/>
                  <a:pt x="85880" y="42940"/>
                  <a:pt x="82854" y="41805"/>
                </a:cubicBezTo>
                <a:lnTo>
                  <a:pt x="82854" y="103473"/>
                </a:lnTo>
                <a:close/>
                <a:moveTo>
                  <a:pt x="0" y="87204"/>
                </a:moveTo>
                <a:lnTo>
                  <a:pt x="0" y="57317"/>
                </a:lnTo>
                <a:cubicBezTo>
                  <a:pt x="0" y="57317"/>
                  <a:pt x="378" y="56182"/>
                  <a:pt x="378" y="55614"/>
                </a:cubicBezTo>
                <a:cubicBezTo>
                  <a:pt x="378" y="53344"/>
                  <a:pt x="378" y="50885"/>
                  <a:pt x="757" y="48615"/>
                </a:cubicBezTo>
                <a:cubicBezTo>
                  <a:pt x="1135" y="42751"/>
                  <a:pt x="1513" y="37076"/>
                  <a:pt x="2459" y="31212"/>
                </a:cubicBezTo>
                <a:cubicBezTo>
                  <a:pt x="3216" y="26861"/>
                  <a:pt x="3594" y="22700"/>
                  <a:pt x="5675" y="18727"/>
                </a:cubicBezTo>
                <a:cubicBezTo>
                  <a:pt x="7945" y="14187"/>
                  <a:pt x="11161" y="10404"/>
                  <a:pt x="15133" y="7567"/>
                </a:cubicBezTo>
                <a:cubicBezTo>
                  <a:pt x="20051" y="3972"/>
                  <a:pt x="25726" y="3594"/>
                  <a:pt x="31401" y="2837"/>
                </a:cubicBezTo>
                <a:cubicBezTo>
                  <a:pt x="37644" y="2081"/>
                  <a:pt x="43697" y="1513"/>
                  <a:pt x="49939" y="1135"/>
                </a:cubicBezTo>
                <a:cubicBezTo>
                  <a:pt x="56560" y="757"/>
                  <a:pt x="63370" y="568"/>
                  <a:pt x="69991" y="378"/>
                </a:cubicBezTo>
                <a:cubicBezTo>
                  <a:pt x="78125" y="0"/>
                  <a:pt x="86259" y="189"/>
                  <a:pt x="94203" y="0"/>
                </a:cubicBezTo>
                <a:cubicBezTo>
                  <a:pt x="103094" y="0"/>
                  <a:pt x="111985" y="0"/>
                  <a:pt x="120686" y="0"/>
                </a:cubicBezTo>
                <a:cubicBezTo>
                  <a:pt x="125605" y="0"/>
                  <a:pt x="130523" y="189"/>
                  <a:pt x="135630" y="568"/>
                </a:cubicBezTo>
                <a:cubicBezTo>
                  <a:pt x="142062" y="946"/>
                  <a:pt x="148493" y="946"/>
                  <a:pt x="155114" y="1513"/>
                </a:cubicBezTo>
                <a:cubicBezTo>
                  <a:pt x="159276" y="1702"/>
                  <a:pt x="163627" y="2081"/>
                  <a:pt x="167788" y="2270"/>
                </a:cubicBezTo>
                <a:cubicBezTo>
                  <a:pt x="172517" y="2459"/>
                  <a:pt x="177436" y="3027"/>
                  <a:pt x="182165" y="3972"/>
                </a:cubicBezTo>
                <a:cubicBezTo>
                  <a:pt x="188029" y="5107"/>
                  <a:pt x="193136" y="7756"/>
                  <a:pt x="197109" y="12296"/>
                </a:cubicBezTo>
                <a:cubicBezTo>
                  <a:pt x="200513" y="16457"/>
                  <a:pt x="202973" y="20997"/>
                  <a:pt x="203729" y="26483"/>
                </a:cubicBezTo>
                <a:cubicBezTo>
                  <a:pt x="204108" y="29888"/>
                  <a:pt x="204675" y="33293"/>
                  <a:pt x="205243" y="36698"/>
                </a:cubicBezTo>
                <a:cubicBezTo>
                  <a:pt x="205999" y="42751"/>
                  <a:pt x="206188" y="48804"/>
                  <a:pt x="206756" y="54668"/>
                </a:cubicBezTo>
                <a:cubicBezTo>
                  <a:pt x="207134" y="59397"/>
                  <a:pt x="206756" y="64316"/>
                  <a:pt x="207134" y="69045"/>
                </a:cubicBezTo>
                <a:cubicBezTo>
                  <a:pt x="207513" y="72639"/>
                  <a:pt x="206756" y="76422"/>
                  <a:pt x="206756" y="80016"/>
                </a:cubicBezTo>
                <a:cubicBezTo>
                  <a:pt x="206756" y="83421"/>
                  <a:pt x="206756" y="86826"/>
                  <a:pt x="206567" y="90231"/>
                </a:cubicBezTo>
                <a:cubicBezTo>
                  <a:pt x="206188" y="95906"/>
                  <a:pt x="205810" y="101581"/>
                  <a:pt x="205243" y="107256"/>
                </a:cubicBezTo>
                <a:cubicBezTo>
                  <a:pt x="204675" y="112931"/>
                  <a:pt x="204108" y="118606"/>
                  <a:pt x="202027" y="124091"/>
                </a:cubicBezTo>
                <a:cubicBezTo>
                  <a:pt x="198811" y="132604"/>
                  <a:pt x="192947" y="137900"/>
                  <a:pt x="184245" y="140170"/>
                </a:cubicBezTo>
                <a:cubicBezTo>
                  <a:pt x="177246" y="142062"/>
                  <a:pt x="169869" y="142251"/>
                  <a:pt x="162681" y="142819"/>
                </a:cubicBezTo>
                <a:cubicBezTo>
                  <a:pt x="158141" y="143197"/>
                  <a:pt x="153601" y="143386"/>
                  <a:pt x="148872" y="143575"/>
                </a:cubicBezTo>
                <a:cubicBezTo>
                  <a:pt x="144710" y="143954"/>
                  <a:pt x="140738" y="143764"/>
                  <a:pt x="136576" y="143954"/>
                </a:cubicBezTo>
                <a:cubicBezTo>
                  <a:pt x="129577" y="144332"/>
                  <a:pt x="122767" y="143954"/>
                  <a:pt x="115768" y="143954"/>
                </a:cubicBezTo>
                <a:cubicBezTo>
                  <a:pt x="104986" y="143954"/>
                  <a:pt x="94014" y="143954"/>
                  <a:pt x="83232" y="143954"/>
                </a:cubicBezTo>
                <a:cubicBezTo>
                  <a:pt x="77557" y="143954"/>
                  <a:pt x="71882" y="143954"/>
                  <a:pt x="66396" y="143575"/>
                </a:cubicBezTo>
                <a:cubicBezTo>
                  <a:pt x="60532" y="143386"/>
                  <a:pt x="54668" y="143197"/>
                  <a:pt x="48804" y="142819"/>
                </a:cubicBezTo>
                <a:cubicBezTo>
                  <a:pt x="42373" y="142440"/>
                  <a:pt x="36130" y="141873"/>
                  <a:pt x="29888" y="141305"/>
                </a:cubicBezTo>
                <a:cubicBezTo>
                  <a:pt x="25915" y="140927"/>
                  <a:pt x="22321" y="139981"/>
                  <a:pt x="18727" y="138279"/>
                </a:cubicBezTo>
                <a:cubicBezTo>
                  <a:pt x="12863" y="135630"/>
                  <a:pt x="8512" y="131280"/>
                  <a:pt x="5864" y="125226"/>
                </a:cubicBezTo>
                <a:cubicBezTo>
                  <a:pt x="4162" y="121254"/>
                  <a:pt x="3405" y="117092"/>
                  <a:pt x="2837" y="112742"/>
                </a:cubicBezTo>
                <a:cubicBezTo>
                  <a:pt x="2270" y="108391"/>
                  <a:pt x="1702" y="104040"/>
                  <a:pt x="1324" y="99878"/>
                </a:cubicBezTo>
                <a:cubicBezTo>
                  <a:pt x="1135" y="96284"/>
                  <a:pt x="567" y="92501"/>
                  <a:pt x="757" y="88907"/>
                </a:cubicBezTo>
                <a:cubicBezTo>
                  <a:pt x="757" y="88150"/>
                  <a:pt x="1135" y="87394"/>
                  <a:pt x="378" y="86637"/>
                </a:cubicBezTo>
              </a:path>
            </a:pathLst>
          </a:custGeom>
          <a:solidFill>
            <a:srgbClr val="FFFFFF"/>
          </a:solidFill>
          <a:ln w="1818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Freeform: Shape 52">
            <a:extLst>
              <a:ext uri="{FF2B5EF4-FFF2-40B4-BE49-F238E27FC236}">
                <a16:creationId xmlns:a16="http://schemas.microsoft.com/office/drawing/2014/main" id="{AE1B4045-F8F3-B16E-A6F2-44860B754CED}"/>
              </a:ext>
            </a:extLst>
          </p:cNvPr>
          <p:cNvSpPr/>
          <p:nvPr userDrawn="1"/>
        </p:nvSpPr>
        <p:spPr>
          <a:xfrm>
            <a:off x="1" y="5288190"/>
            <a:ext cx="6622605" cy="989394"/>
          </a:xfrm>
          <a:custGeom>
            <a:avLst/>
            <a:gdLst>
              <a:gd name="connsiteX0" fmla="*/ 0 w 8411229"/>
              <a:gd name="connsiteY0" fmla="*/ 0 h 1256608"/>
              <a:gd name="connsiteX1" fmla="*/ 7782925 w 8411229"/>
              <a:gd name="connsiteY1" fmla="*/ 0 h 1256608"/>
              <a:gd name="connsiteX2" fmla="*/ 8411229 w 8411229"/>
              <a:gd name="connsiteY2" fmla="*/ 628304 h 1256608"/>
              <a:gd name="connsiteX3" fmla="*/ 8411228 w 8411229"/>
              <a:gd name="connsiteY3" fmla="*/ 628304 h 1256608"/>
              <a:gd name="connsiteX4" fmla="*/ 7782924 w 8411229"/>
              <a:gd name="connsiteY4" fmla="*/ 1256608 h 1256608"/>
              <a:gd name="connsiteX5" fmla="*/ 0 w 8411229"/>
              <a:gd name="connsiteY5" fmla="*/ 1256607 h 1256608"/>
              <a:gd name="connsiteX6" fmla="*/ 0 w 8411229"/>
              <a:gd name="connsiteY6" fmla="*/ 0 h 125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11229" h="1256608">
                <a:moveTo>
                  <a:pt x="0" y="0"/>
                </a:moveTo>
                <a:lnTo>
                  <a:pt x="7782925" y="0"/>
                </a:lnTo>
                <a:cubicBezTo>
                  <a:pt x="8129928" y="0"/>
                  <a:pt x="8411229" y="281301"/>
                  <a:pt x="8411229" y="628304"/>
                </a:cubicBezTo>
                <a:lnTo>
                  <a:pt x="8411228" y="628304"/>
                </a:lnTo>
                <a:cubicBezTo>
                  <a:pt x="8411228" y="975307"/>
                  <a:pt x="8129927" y="1256608"/>
                  <a:pt x="7782924" y="1256608"/>
                </a:cubicBezTo>
                <a:lnTo>
                  <a:pt x="0" y="125660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8CC6EC"/>
              </a:gs>
              <a:gs pos="100000">
                <a:srgbClr val="CAE1F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98377C2-385B-3792-EF10-89175F0E59B0}"/>
              </a:ext>
            </a:extLst>
          </p:cNvPr>
          <p:cNvGrpSpPr/>
          <p:nvPr userDrawn="1"/>
        </p:nvGrpSpPr>
        <p:grpSpPr>
          <a:xfrm>
            <a:off x="1658470" y="5401099"/>
            <a:ext cx="4539979" cy="750087"/>
            <a:chOff x="1658470" y="5725511"/>
            <a:chExt cx="4539979" cy="7500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355E854-3B72-E6FE-4B7D-EC6DA94B6F24}"/>
                </a:ext>
              </a:extLst>
            </p:cNvPr>
            <p:cNvSpPr/>
            <p:nvPr userDrawn="1"/>
          </p:nvSpPr>
          <p:spPr>
            <a:xfrm>
              <a:off x="3348277" y="5818254"/>
              <a:ext cx="147443" cy="82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992A0B24-158C-B84D-2749-CDEDACCB29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58470" y="5725511"/>
              <a:ext cx="4539979" cy="750087"/>
            </a:xfrm>
            <a:prstGeom prst="rect">
              <a:avLst/>
            </a:prstGeom>
          </p:spPr>
        </p:pic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EC59643B-A50B-B8E1-9F56-163CCA12A3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1681" y="5597839"/>
            <a:ext cx="1160138" cy="40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6081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B43816-B6B9-D484-1446-84B66BAD60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C587FA4-1FA6-B43C-F308-FE1E4B681555}"/>
              </a:ext>
            </a:extLst>
          </p:cNvPr>
          <p:cNvSpPr/>
          <p:nvPr userDrawn="1"/>
        </p:nvSpPr>
        <p:spPr>
          <a:xfrm>
            <a:off x="2987118" y="-7594"/>
            <a:ext cx="9204882" cy="686559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DC9BE5C-F613-92F8-BA46-9DA95DA7F26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FC9416D-7210-E141-4C32-1CC5F3A9EA06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660534B-F956-0D02-2DEB-46FF61ABEF10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F79F5A59-2097-896F-209A-60EF9B855CB4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6A775B3-13B0-B56B-652E-1B6A35A37C20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4E39DD0-6C89-BE61-CBCA-4B131A512CAF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09E3128-7CB5-E1A3-735D-0CF918C7446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5EF933E-133A-13BA-DFF6-16A9E551DFD9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32867A-F54D-1F0F-D626-3C2D423D9F9A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9AA632C-9E65-1B6D-56EB-CDE6AD53958A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CFABD5C-57F4-F71D-9C66-55DC2F362981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8F39323-1485-B574-0582-82E26C8A52A0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754899B-D88E-0CE9-FC64-33EBEE04DE3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FB0F1A6-1975-2DDE-A029-66FE02AC3A9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AC43AAF1-8134-70E8-5032-A4FCF846192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767E454-D8AA-725A-752E-FCC0A349B887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886FEB8-EDC7-2560-E250-4F3F6C4008C3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0876A56-6267-06BB-E021-8FDF3D27A924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C360F94-7BE1-5A81-79A7-B3F39A088317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7AA0EB0-6111-17E4-DDBD-9113B9EC9AB1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DD6A51B-6C7E-4ED0-0EE1-F4FACA413BC5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2778B95-72B2-2B0F-4E00-E3BFDE35A2B4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E9C246-224F-F173-BBF8-74DF53689D39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F294A4C9-88D2-6E17-99F1-3EE795AA833F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7707493-9751-C3F4-FCB7-188A05F23312}"/>
              </a:ext>
            </a:extLst>
          </p:cNvPr>
          <p:cNvSpPr txBox="1"/>
          <p:nvPr userDrawn="1"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15377C-C8CE-360B-4945-648FE0C31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16" y="2309150"/>
            <a:ext cx="2266058" cy="1212088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D6F98B7-8139-E0D8-9EB0-FD2B8C0659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3714" y="3635149"/>
            <a:ext cx="2266058" cy="69378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B9B24A-BC3A-6C3E-874E-FC73DCEF667E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6F12D8A-9031-AFA8-33AA-50F5EF970D54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2FE9D4-ABBA-C273-A62B-82AF8B252A92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31A958F-ED4B-D303-F131-9D247A28A0BB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B3FFB51-84EC-4603-5AE0-080C73B81015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E949749-DCF9-3553-98D7-4668D63D6DDC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DACEFEA-9B05-70D0-5FCE-1DA642A74A9D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57E1A35-7EF6-787C-912E-E9B67F1447BC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BB586-D950-C0EC-9D71-30CF42FAD796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EA955C6-DDE9-C02B-FE82-0565C6CBDCBD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E4D4F6E-62F4-00E6-3A54-49B72E2B65AE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0621E43-AE39-E271-D035-99107930E995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851A4B7-AA30-65CC-CE96-6C2295161A65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9818452-14AC-168F-2003-6FAFA6730E04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D6C6A14-9BD3-33D2-CFDF-A19EC39F454A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C6AEAF4-446C-B8D8-A63C-582024977176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2BF03BF-1030-50B6-3062-BAB2D7D0826F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AA033DF-BCF6-E3E5-0FAA-EEECA3E262B3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9C23C88-2E21-388A-0776-A68E37974618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5BC43A5-80E3-D72A-EC8B-D7937DAB623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17534CD-7670-2855-14DC-814FAC3C7CF8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71B7988-3E17-F6CD-1888-73C6280E7BC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7D938B8-8C5B-F1B3-4D3D-40A5F18027F8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BF436D96-BF30-912B-450D-834FEC982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7843" y="2413752"/>
            <a:ext cx="7628859" cy="3339933"/>
          </a:xfrm>
        </p:spPr>
        <p:txBody>
          <a:bodyPr/>
          <a:lstStyle>
            <a:lvl1pPr>
              <a:defRPr sz="2000">
                <a:solidFill>
                  <a:srgbClr val="283583"/>
                </a:solidFill>
              </a:defRPr>
            </a:lvl1pPr>
            <a:lvl2pPr>
              <a:defRPr sz="1800">
                <a:solidFill>
                  <a:srgbClr val="283583"/>
                </a:solidFill>
              </a:defRPr>
            </a:lvl2pPr>
            <a:lvl3pPr>
              <a:defRPr sz="1600">
                <a:solidFill>
                  <a:srgbClr val="283583"/>
                </a:solidFill>
              </a:defRPr>
            </a:lvl3pPr>
            <a:lvl4pPr>
              <a:defRPr sz="1400">
                <a:solidFill>
                  <a:srgbClr val="283583"/>
                </a:solidFill>
              </a:defRPr>
            </a:lvl4pPr>
            <a:lvl5pPr>
              <a:defRPr sz="1200">
                <a:solidFill>
                  <a:srgbClr val="28358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1879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F92EEA5-9E5C-4147-9744-8F12DC13A01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8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B1EB4DC-D48A-6343-84A7-DAFEC5311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930" y="2834059"/>
            <a:ext cx="2950139" cy="118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17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88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2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51" tIns="32151" rIns="32151" bIns="32151"/>
          <a:lstStyle/>
          <a:p>
            <a:endParaRPr lang="en-GB" sz="1055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3" y="174524"/>
            <a:ext cx="9519026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3" y="126146"/>
            <a:ext cx="1857805" cy="786113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7D977B-8AB9-2B4D-BCD8-AC95E3977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674" y="1102362"/>
            <a:ext cx="11522191" cy="53459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27258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ck slide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79F2613-9972-6F4A-BB52-2B231134563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8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5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E09829-29DA-C54F-B888-9CEF5CFB1B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943" y="177966"/>
            <a:ext cx="1779105" cy="70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1750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90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3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4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4" y="126148"/>
            <a:ext cx="1857805" cy="786113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7D977B-8AB9-2B4D-BCD8-AC95E3977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677" y="1102362"/>
            <a:ext cx="11522191" cy="53459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76387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90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3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4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4E3AAF-6C02-5145-B82B-0EBEB0215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4" y="126148"/>
            <a:ext cx="1857805" cy="78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0402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light blue bl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">
            <a:extLst>
              <a:ext uri="{FF2B5EF4-FFF2-40B4-BE49-F238E27FC236}">
                <a16:creationId xmlns:a16="http://schemas.microsoft.com/office/drawing/2014/main" id="{49A7FB80-06F7-B24F-986B-CD31D8062B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627" y="-69517"/>
            <a:ext cx="12224857" cy="4897745"/>
          </a:xfrm>
          <a:prstGeom prst="rect">
            <a:avLst/>
          </a:prstGeom>
        </p:spPr>
      </p:pic>
      <p:sp>
        <p:nvSpPr>
          <p:cNvPr id="8" name="Line">
            <a:extLst>
              <a:ext uri="{FF2B5EF4-FFF2-40B4-BE49-F238E27FC236}">
                <a16:creationId xmlns:a16="http://schemas.microsoft.com/office/drawing/2014/main" id="{C71B0945-3ADC-6342-9DAF-27BF0D44FC1D}"/>
              </a:ext>
            </a:extLst>
          </p:cNvPr>
          <p:cNvSpPr/>
          <p:nvPr userDrawn="1"/>
        </p:nvSpPr>
        <p:spPr>
          <a:xfrm>
            <a:off x="1166256" y="811390"/>
            <a:ext cx="11042973" cy="1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id="{5E674C22-1733-3D4F-AA6D-D4FEBB445132}"/>
              </a:ext>
            </a:extLst>
          </p:cNvPr>
          <p:cNvSpPr/>
          <p:nvPr userDrawn="1"/>
        </p:nvSpPr>
        <p:spPr>
          <a:xfrm rot="10800000">
            <a:off x="-6940" y="811388"/>
            <a:ext cx="675083" cy="0"/>
          </a:xfrm>
          <a:prstGeom prst="line">
            <a:avLst/>
          </a:prstGeom>
          <a:ln w="12700">
            <a:solidFill>
              <a:schemeClr val="accent1"/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E499057E-09A9-6145-8409-203E67D826AE}"/>
              </a:ext>
            </a:extLst>
          </p:cNvPr>
          <p:cNvSpPr/>
          <p:nvPr userDrawn="1"/>
        </p:nvSpPr>
        <p:spPr>
          <a:xfrm>
            <a:off x="-10244" y="6606516"/>
            <a:ext cx="12219472" cy="0"/>
          </a:xfrm>
          <a:prstGeom prst="line">
            <a:avLst/>
          </a:prstGeom>
          <a:ln w="15875">
            <a:solidFill>
              <a:srgbClr val="00AEEF">
                <a:alpha val="66667"/>
              </a:srgbClr>
            </a:solidFill>
            <a:miter lim="400000"/>
          </a:ln>
        </p:spPr>
        <p:txBody>
          <a:bodyPr lIns="32148" tIns="32148" rIns="32148" bIns="32148"/>
          <a:lstStyle/>
          <a:p>
            <a:endParaRPr lang="en-GB" sz="1266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426173-BAA0-F040-8C5B-DBE87D1A9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2604" y="174524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1969">
                <a:solidFill>
                  <a:srgbClr val="283A8A"/>
                </a:solidFill>
              </a:defRPr>
            </a:lvl1pPr>
          </a:lstStyle>
          <a:p>
            <a:r>
              <a:rPr lang="en-GB" noProof="0"/>
              <a:t>SLIDE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6E69796-0744-C247-84A2-FC66287F1D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84" y="126148"/>
            <a:ext cx="1857805" cy="78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5833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8267" y="1524001"/>
            <a:ext cx="10724935" cy="4603751"/>
          </a:xfrm>
        </p:spPr>
        <p:txBody>
          <a:bodyPr/>
          <a:lstStyle/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  <a:p>
            <a:pPr lvl="1"/>
            <a:r>
              <a:rPr lang="es-ES_tradnl" err="1"/>
              <a:t>Secon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2"/>
            <a:r>
              <a:rPr lang="es-ES_tradnl" err="1"/>
              <a:t>Third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3"/>
            <a:r>
              <a:rPr lang="es-ES_tradnl" err="1"/>
              <a:t>Four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s-ES_tradnl"/>
          </a:p>
          <a:p>
            <a:pPr lvl="4"/>
            <a:r>
              <a:rPr lang="es-ES_tradnl" err="1"/>
              <a:t>Fifth</a:t>
            </a:r>
            <a:r>
              <a:rPr lang="es-ES_tradnl"/>
              <a:t> </a:t>
            </a:r>
            <a:r>
              <a:rPr lang="es-ES_tradnl" err="1"/>
              <a:t>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2" y="195656"/>
            <a:ext cx="9817100" cy="57207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rgbClr val="225590"/>
                </a:solidFill>
              </a:defRPr>
            </a:lvl1pPr>
          </a:lstStyle>
          <a:p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6748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1" y="1524000"/>
            <a:ext cx="10515601" cy="4838700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ext</a:t>
            </a:r>
            <a:r>
              <a:rPr lang="es-ES_tradnl"/>
              <a:t> </a:t>
            </a:r>
            <a:r>
              <a:rPr lang="es-ES_tradnl" err="1"/>
              <a:t>styles</a:t>
            </a:r>
            <a:endParaRPr lang="es-ES_tradnl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628900" y="195656"/>
            <a:ext cx="9220200" cy="572076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s-ES_tradnl" err="1"/>
              <a:t>Click</a:t>
            </a:r>
            <a:r>
              <a:rPr lang="es-ES_tradnl"/>
              <a:t> </a:t>
            </a:r>
            <a:r>
              <a:rPr lang="es-ES_tradnl" err="1"/>
              <a:t>to</a:t>
            </a:r>
            <a:r>
              <a:rPr lang="es-ES_tradnl"/>
              <a:t> </a:t>
            </a:r>
            <a:r>
              <a:rPr lang="es-ES_tradnl" err="1"/>
              <a:t>edit</a:t>
            </a:r>
            <a:r>
              <a:rPr lang="es-ES_tradnl"/>
              <a:t> </a:t>
            </a:r>
            <a:r>
              <a:rPr lang="es-ES_tradnl" err="1"/>
              <a:t>Master</a:t>
            </a:r>
            <a:r>
              <a:rPr lang="es-ES_tradnl"/>
              <a:t> </a:t>
            </a:r>
            <a:r>
              <a:rPr lang="es-ES_tradnl" err="1"/>
              <a:t>title</a:t>
            </a:r>
            <a:r>
              <a:rPr lang="es-ES_tradnl"/>
              <a:t> </a:t>
            </a:r>
            <a:r>
              <a:rPr lang="es-ES_tradnl" err="1"/>
              <a:t>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258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10.jpe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26.jpeg"/><Relationship Id="rId4" Type="http://schemas.openxmlformats.org/officeDocument/2006/relationships/slideLayout" Target="../slideLayouts/slideLayout6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image" Target="../media/image15.png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6390" y="441325"/>
            <a:ext cx="7632700" cy="12239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097089"/>
            <a:ext cx="11306169" cy="41036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B66124B-A661-D5A9-C532-18C996EA6AE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260899" y="266700"/>
            <a:ext cx="2463935" cy="131890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D64E06F-EF28-50C5-9C9E-07D58141219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260900" y="266700"/>
            <a:ext cx="2463933" cy="131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83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2" r:id="rId3"/>
    <p:sldLayoutId id="2147483705" r:id="rId4"/>
    <p:sldLayoutId id="2147483707" r:id="rId5"/>
    <p:sldLayoutId id="2147483708" r:id="rId6"/>
    <p:sldLayoutId id="214748371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2593">
          <p15:clr>
            <a:srgbClr val="F26B43"/>
          </p15:clr>
        </p15:guide>
        <p15:guide id="3" pos="2865">
          <p15:clr>
            <a:srgbClr val="F26B43"/>
          </p15:clr>
        </p15:guide>
        <p15:guide id="4" pos="3704">
          <p15:clr>
            <a:srgbClr val="F26B43"/>
          </p15:clr>
        </p15:guide>
        <p15:guide id="5" pos="3976">
          <p15:clr>
            <a:srgbClr val="F26B43"/>
          </p15:clr>
        </p15:guide>
        <p15:guide id="6" pos="4815">
          <p15:clr>
            <a:srgbClr val="F26B43"/>
          </p15:clr>
        </p15:guide>
        <p15:guide id="7" pos="5087">
          <p15:clr>
            <a:srgbClr val="F26B43"/>
          </p15:clr>
        </p15:guide>
        <p15:guide id="8" pos="7401">
          <p15:clr>
            <a:srgbClr val="F26B43"/>
          </p15:clr>
        </p15:guide>
        <p15:guide id="9" orient="horz" pos="278">
          <p15:clr>
            <a:srgbClr val="F26B43"/>
          </p15:clr>
        </p15:guide>
        <p15:guide id="10" orient="horz" pos="1049">
          <p15:clr>
            <a:srgbClr val="F26B43"/>
          </p15:clr>
        </p15:guide>
        <p15:guide id="11" orient="horz" pos="1321">
          <p15:clr>
            <a:srgbClr val="F26B43"/>
          </p15:clr>
        </p15:guide>
        <p15:guide id="12" orient="horz" pos="3906">
          <p15:clr>
            <a:srgbClr val="F26B43"/>
          </p15:clr>
        </p15:guide>
        <p15:guide id="13" orient="horz" pos="4178">
          <p15:clr>
            <a:srgbClr val="F26B43"/>
          </p15:clr>
        </p15:guide>
        <p15:guide id="14" orient="horz" pos="404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60A1-F3F6-DA13-B85C-5CCA9B1943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0ACB5-B387-C7F2-575D-FC229A14C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3122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 with low confidence">
            <a:extLst>
              <a:ext uri="{FF2B5EF4-FFF2-40B4-BE49-F238E27FC236}">
                <a16:creationId xmlns:a16="http://schemas.microsoft.com/office/drawing/2014/main" id="{160771A7-8ED2-5E24-D87E-F6A78EA8E6AE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29" y="163631"/>
            <a:ext cx="1328491" cy="71441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18A2DAC-47B0-393D-8308-CE8F1C660A76}"/>
              </a:ext>
            </a:extLst>
          </p:cNvPr>
          <p:cNvGrpSpPr/>
          <p:nvPr userDrawn="1"/>
        </p:nvGrpSpPr>
        <p:grpSpPr>
          <a:xfrm>
            <a:off x="9765647" y="6585438"/>
            <a:ext cx="2635903" cy="272074"/>
            <a:chOff x="9765647" y="6477383"/>
            <a:chExt cx="2635903" cy="2720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31BBD8-3E53-3765-7ADE-BD74248D425E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462D03-3FED-04BB-2D0A-32067C2A35D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982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0E6F8E7-C5B4-B427-C960-F5A8E01726E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6" y="1522"/>
            <a:ext cx="12183879" cy="685343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60A1-F3F6-DA13-B85C-5CCA9B1943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0ACB5-B387-C7F2-575D-FC229A14C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3122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18A2DAC-47B0-393D-8308-CE8F1C660A76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31BBD8-3E53-3765-7ADE-BD74248D425E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462D03-3FED-04BB-2D0A-32067C2A35D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69AE25-6C11-8C5A-0CB7-5984D420B559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3D71243-2DC3-2E91-C617-2A9FE4B96840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2A0E3CF-B39F-9906-5EAC-ED5BBB7451E3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FD5FD9-CDAD-542A-E510-6BC9FFAD298A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21653B7-DA0B-ECFE-4D57-AA612AB1B002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3192CB4-FCE9-27DB-1F47-011D59D26D1D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BDA8FF9-2805-A272-36A7-7F1143E82CC2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F6F46C6-C61C-94BF-8AE2-F9439BB68782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87CBE73-5191-ECC9-97BD-FC2328565379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CB5EC85-5F2F-0928-FA52-213207527BB9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BF5784C-2EF9-F425-1AAD-2E90C74C8387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39F6EC2-BF3A-F105-B24E-63E63F412023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BF30974-8872-4157-B59E-AC268AE29C2A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844662A-883C-96D9-281D-BB764FE8BD3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FD1FE24-98DC-E6AD-3D3A-D91CE6F5A225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049E97E-0C36-FFD1-4A9B-1E6F6060FE75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95E39FC-E082-A12C-B04A-B2CE13507324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6954CF1-2C03-D04A-A751-B7040535C03C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45F7C86-D912-51D5-EB92-3ECD97596F4A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DDECC74-F9FF-3E2D-9062-3EE56549334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69FFBD-1BB6-D23F-A0EA-005DC70880FA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DA6BFDA-3D5B-57A4-9522-7BE4AF9D1C27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E7C5350-579C-6A65-8821-0A52A57A732A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9254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FA5AD92C-AD60-5070-58DC-6637AB2AC0B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05CF451-648C-B792-175E-CEAC28E9334D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17D2048-3B7E-C041-B32F-A8FB8372CD1B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721C17E-A4A2-09C6-4AA0-BB70C4F13B27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EA8DAA2-AFC2-6C49-0406-EF794279A1CA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62968FD-33AD-4527-41BE-B91BDE23DC73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3BBD956-F9F2-5D9F-9173-DBBA75190C57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3F7BBD9-BC7D-3B83-2E52-0191A28BE6D1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A3EB7E2-3393-4786-24CF-EB7805D9E3F8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B9403B6-7C84-205E-2E80-E1EC35E58352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4E7076D-B5F1-C37B-FD73-B8D2FE38BE40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D86D982-3D5B-D21F-51A5-DF2020F48296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CA824B2-34D7-C56E-5B5E-A36337325D1A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D2C55B2-D7E7-87E7-75EC-FDD8C9599F08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8A6AEA7-2805-4718-C020-66C44BC9412B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6BF7DAA-3367-8F63-392B-E7005B28D2F3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5A9FC21-DFB6-6C41-FCBE-A5FE61AEFA0D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23DE1A-393B-CC5D-D4A8-DAB3C34AE9DA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B8D65BD-F10A-156B-7B6C-1EAB2430EEB2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123BC6E-BAA9-BF7B-574C-4FE807843664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4667761-1E27-F498-3254-749D388AE3ED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BD38130-6734-D2C1-11E4-89AE866B0552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FDE7465-C643-E16A-D54B-8522722AD9EF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D4941BE-0925-0931-07CB-400D4DDCD4A8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18A2DAC-47B0-393D-8308-CE8F1C660A76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31BBD8-3E53-3765-7ADE-BD74248D425E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462D03-3FED-04BB-2D0A-32067C2A35D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60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C7AEF51-B0B4-CE19-1B7A-AEA4BF0DD568}"/>
              </a:ext>
            </a:extLst>
          </p:cNvPr>
          <p:cNvSpPr/>
          <p:nvPr userDrawn="1"/>
        </p:nvSpPr>
        <p:spPr>
          <a:xfrm>
            <a:off x="9765646" y="6477588"/>
            <a:ext cx="2426354" cy="271870"/>
          </a:xfrm>
          <a:custGeom>
            <a:avLst/>
            <a:gdLst>
              <a:gd name="connsiteX0" fmla="*/ 135935 w 2426354"/>
              <a:gd name="connsiteY0" fmla="*/ 0 h 271870"/>
              <a:gd name="connsiteX1" fmla="*/ 2426354 w 2426354"/>
              <a:gd name="connsiteY1" fmla="*/ 0 h 271870"/>
              <a:gd name="connsiteX2" fmla="*/ 2426354 w 2426354"/>
              <a:gd name="connsiteY2" fmla="*/ 271869 h 271870"/>
              <a:gd name="connsiteX3" fmla="*/ 135936 w 2426354"/>
              <a:gd name="connsiteY3" fmla="*/ 271870 h 271870"/>
              <a:gd name="connsiteX4" fmla="*/ 1 w 2426354"/>
              <a:gd name="connsiteY4" fmla="*/ 135935 h 271870"/>
              <a:gd name="connsiteX5" fmla="*/ 0 w 2426354"/>
              <a:gd name="connsiteY5" fmla="*/ 135935 h 271870"/>
              <a:gd name="connsiteX6" fmla="*/ 135935 w 2426354"/>
              <a:gd name="connsiteY6" fmla="*/ 0 h 271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26354" h="271870">
                <a:moveTo>
                  <a:pt x="135935" y="0"/>
                </a:moveTo>
                <a:lnTo>
                  <a:pt x="2426354" y="0"/>
                </a:lnTo>
                <a:lnTo>
                  <a:pt x="2426354" y="271869"/>
                </a:lnTo>
                <a:lnTo>
                  <a:pt x="135936" y="271870"/>
                </a:lnTo>
                <a:cubicBezTo>
                  <a:pt x="60861" y="271870"/>
                  <a:pt x="1" y="211010"/>
                  <a:pt x="1" y="135935"/>
                </a:cubicBezTo>
                <a:lnTo>
                  <a:pt x="0" y="135935"/>
                </a:lnTo>
                <a:cubicBezTo>
                  <a:pt x="0" y="60860"/>
                  <a:pt x="60860" y="0"/>
                  <a:pt x="135935" y="0"/>
                </a:cubicBezTo>
                <a:close/>
              </a:path>
            </a:pathLst>
          </a:custGeom>
          <a:gradFill>
            <a:gsLst>
              <a:gs pos="0">
                <a:srgbClr val="283583"/>
              </a:gs>
              <a:gs pos="100000">
                <a:srgbClr val="27AAE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60A1-F3F6-DA13-B85C-5CCA9B1943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0ACB5-B387-C7F2-575D-FC229A14C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3122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 with low confidence">
            <a:extLst>
              <a:ext uri="{FF2B5EF4-FFF2-40B4-BE49-F238E27FC236}">
                <a16:creationId xmlns:a16="http://schemas.microsoft.com/office/drawing/2014/main" id="{160771A7-8ED2-5E24-D87E-F6A78EA8E6A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29" y="163631"/>
            <a:ext cx="1328491" cy="7144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9462D03-3FED-04BB-2D0A-32067C2A35D6}"/>
              </a:ext>
            </a:extLst>
          </p:cNvPr>
          <p:cNvSpPr txBox="1"/>
          <p:nvPr/>
        </p:nvSpPr>
        <p:spPr>
          <a:xfrm>
            <a:off x="9889433" y="6477383"/>
            <a:ext cx="2114550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100" dirty="0" err="1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MEDICINESPATENTPOOL.ORG</a:t>
            </a:r>
            <a:r>
              <a:rPr lang="en-US" sz="1000" spc="100" dirty="0">
                <a:solidFill>
                  <a:schemeClr val="bg1"/>
                </a:solidFill>
                <a:latin typeface="PT Sans" panose="020B0503020203020204" pitchFamily="34" charset="0"/>
                <a:ea typeface="PT Sans" panose="020B0503020203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8980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A257441-819B-B06E-0846-620BCB3A926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7594"/>
            <a:ext cx="12191999" cy="686559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18A2DAC-47B0-393D-8308-CE8F1C660A76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31BBD8-3E53-3765-7ADE-BD74248D425E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462D03-3FED-04BB-2D0A-32067C2A35D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 dirty="0" err="1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</a:t>
              </a:r>
              <a:r>
                <a:rPr lang="en-US" sz="1000" spc="100" dirty="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0E4DABB-2F49-5D31-1941-F66B345389F6}"/>
              </a:ext>
            </a:extLst>
          </p:cNvPr>
          <p:cNvGrpSpPr/>
          <p:nvPr userDrawn="1"/>
        </p:nvGrpSpPr>
        <p:grpSpPr>
          <a:xfrm>
            <a:off x="265202" y="163631"/>
            <a:ext cx="1365427" cy="714418"/>
            <a:chOff x="442593" y="368967"/>
            <a:chExt cx="3021218" cy="158076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48A8BDD-DADD-A0E8-123F-B845B9201199}"/>
                </a:ext>
              </a:extLst>
            </p:cNvPr>
            <p:cNvSpPr/>
            <p:nvPr/>
          </p:nvSpPr>
          <p:spPr>
            <a:xfrm>
              <a:off x="1950207" y="796324"/>
              <a:ext cx="246968" cy="171633"/>
            </a:xfrm>
            <a:custGeom>
              <a:avLst/>
              <a:gdLst>
                <a:gd name="connsiteX0" fmla="*/ 212066 w 246968"/>
                <a:gd name="connsiteY0" fmla="*/ 171404 h 171633"/>
                <a:gd name="connsiteX1" fmla="*/ 212066 w 246968"/>
                <a:gd name="connsiteY1" fmla="*/ 68078 h 171633"/>
                <a:gd name="connsiteX2" fmla="*/ 177048 w 246968"/>
                <a:gd name="connsiteY2" fmla="*/ 30295 h 171633"/>
                <a:gd name="connsiteX3" fmla="*/ 140993 w 246968"/>
                <a:gd name="connsiteY3" fmla="*/ 66465 h 171633"/>
                <a:gd name="connsiteX4" fmla="*/ 140993 w 246968"/>
                <a:gd name="connsiteY4" fmla="*/ 171519 h 171633"/>
                <a:gd name="connsiteX5" fmla="*/ 105975 w 246968"/>
                <a:gd name="connsiteY5" fmla="*/ 171519 h 171633"/>
                <a:gd name="connsiteX6" fmla="*/ 105975 w 246968"/>
                <a:gd name="connsiteY6" fmla="*/ 68193 h 171633"/>
                <a:gd name="connsiteX7" fmla="*/ 70957 w 246968"/>
                <a:gd name="connsiteY7" fmla="*/ 30410 h 171633"/>
                <a:gd name="connsiteX8" fmla="*/ 35018 w 246968"/>
                <a:gd name="connsiteY8" fmla="*/ 68193 h 171633"/>
                <a:gd name="connsiteX9" fmla="*/ 35018 w 246968"/>
                <a:gd name="connsiteY9" fmla="*/ 171519 h 171633"/>
                <a:gd name="connsiteX10" fmla="*/ 0 w 246968"/>
                <a:gd name="connsiteY10" fmla="*/ 171519 h 171633"/>
                <a:gd name="connsiteX11" fmla="*/ 0 w 246968"/>
                <a:gd name="connsiteY11" fmla="*/ 1958 h 171633"/>
                <a:gd name="connsiteX12" fmla="*/ 34327 w 246968"/>
                <a:gd name="connsiteY12" fmla="*/ 1958 h 171633"/>
                <a:gd name="connsiteX13" fmla="*/ 34327 w 246968"/>
                <a:gd name="connsiteY13" fmla="*/ 19006 h 171633"/>
                <a:gd name="connsiteX14" fmla="*/ 80633 w 246968"/>
                <a:gd name="connsiteY14" fmla="*/ 0 h 171633"/>
                <a:gd name="connsiteX15" fmla="*/ 130050 w 246968"/>
                <a:gd name="connsiteY15" fmla="*/ 24766 h 171633"/>
                <a:gd name="connsiteX16" fmla="*/ 184535 w 246968"/>
                <a:gd name="connsiteY16" fmla="*/ 0 h 171633"/>
                <a:gd name="connsiteX17" fmla="*/ 228423 w 246968"/>
                <a:gd name="connsiteY17" fmla="*/ 15436 h 171633"/>
                <a:gd name="connsiteX18" fmla="*/ 246969 w 246968"/>
                <a:gd name="connsiteY18" fmla="*/ 63240 h 171633"/>
                <a:gd name="connsiteX19" fmla="*/ 246969 w 246968"/>
                <a:gd name="connsiteY19" fmla="*/ 171634 h 171633"/>
                <a:gd name="connsiteX20" fmla="*/ 211951 w 246968"/>
                <a:gd name="connsiteY20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6968" h="171633">
                  <a:moveTo>
                    <a:pt x="212066" y="171404"/>
                  </a:moveTo>
                  <a:lnTo>
                    <a:pt x="212066" y="68078"/>
                  </a:lnTo>
                  <a:cubicBezTo>
                    <a:pt x="212066" y="41699"/>
                    <a:pt x="196630" y="30295"/>
                    <a:pt x="177048" y="30295"/>
                  </a:cubicBezTo>
                  <a:cubicBezTo>
                    <a:pt x="157465" y="30295"/>
                    <a:pt x="140993" y="42045"/>
                    <a:pt x="140993" y="66465"/>
                  </a:cubicBezTo>
                  <a:lnTo>
                    <a:pt x="140993" y="171519"/>
                  </a:lnTo>
                  <a:lnTo>
                    <a:pt x="105975" y="171519"/>
                  </a:lnTo>
                  <a:lnTo>
                    <a:pt x="105975" y="68193"/>
                  </a:lnTo>
                  <a:cubicBezTo>
                    <a:pt x="105975" y="41814"/>
                    <a:pt x="90540" y="30410"/>
                    <a:pt x="70957" y="30410"/>
                  </a:cubicBezTo>
                  <a:cubicBezTo>
                    <a:pt x="51375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5961" y="6681"/>
                    <a:pt x="63124" y="0"/>
                    <a:pt x="80633" y="0"/>
                  </a:cubicBezTo>
                  <a:cubicBezTo>
                    <a:pt x="102289" y="0"/>
                    <a:pt x="118992" y="8409"/>
                    <a:pt x="130050" y="24766"/>
                  </a:cubicBezTo>
                  <a:cubicBezTo>
                    <a:pt x="144103" y="8063"/>
                    <a:pt x="161612" y="0"/>
                    <a:pt x="184535" y="0"/>
                  </a:cubicBezTo>
                  <a:cubicBezTo>
                    <a:pt x="202390" y="0"/>
                    <a:pt x="218171" y="5644"/>
                    <a:pt x="228423" y="15436"/>
                  </a:cubicBezTo>
                  <a:cubicBezTo>
                    <a:pt x="241785" y="28106"/>
                    <a:pt x="246969" y="44233"/>
                    <a:pt x="246969" y="63240"/>
                  </a:cubicBezTo>
                  <a:lnTo>
                    <a:pt x="246969" y="171634"/>
                  </a:lnTo>
                  <a:lnTo>
                    <a:pt x="211951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8546E77-F86C-D5F6-A228-C11F754DC8F8}"/>
                </a:ext>
              </a:extLst>
            </p:cNvPr>
            <p:cNvSpPr/>
            <p:nvPr/>
          </p:nvSpPr>
          <p:spPr>
            <a:xfrm>
              <a:off x="2238414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2 w 147443"/>
                <a:gd name="connsiteY1" fmla="*/ 28452 h 173592"/>
                <a:gd name="connsiteX2" fmla="*/ 39280 w 147443"/>
                <a:gd name="connsiteY2" fmla="*/ 49878 h 173592"/>
                <a:gd name="connsiteX3" fmla="*/ 34787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7 w 147443"/>
                <a:gd name="connsiteY6" fmla="*/ 96760 h 173592"/>
                <a:gd name="connsiteX7" fmla="*/ 79021 w 147443"/>
                <a:gd name="connsiteY7" fmla="*/ 144219 h 173592"/>
                <a:gd name="connsiteX8" fmla="*/ 121180 w 147443"/>
                <a:gd name="connsiteY8" fmla="*/ 126825 h 173592"/>
                <a:gd name="connsiteX9" fmla="*/ 143412 w 147443"/>
                <a:gd name="connsiteY9" fmla="*/ 147214 h 173592"/>
                <a:gd name="connsiteX10" fmla="*/ 78214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4" y="28452"/>
                    <a:pt x="73952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7" y="72916"/>
                  </a:cubicBezTo>
                  <a:lnTo>
                    <a:pt x="113002" y="72916"/>
                  </a:lnTo>
                  <a:cubicBezTo>
                    <a:pt x="112656" y="62548"/>
                    <a:pt x="111620" y="57480"/>
                    <a:pt x="108164" y="49878"/>
                  </a:cubicBezTo>
                  <a:moveTo>
                    <a:pt x="34787" y="96760"/>
                  </a:moveTo>
                  <a:cubicBezTo>
                    <a:pt x="34787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0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4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09B868B-524B-79B7-9F0A-5D31E9390537}"/>
                </a:ext>
              </a:extLst>
            </p:cNvPr>
            <p:cNvSpPr/>
            <p:nvPr/>
          </p:nvSpPr>
          <p:spPr>
            <a:xfrm>
              <a:off x="2424216" y="729398"/>
              <a:ext cx="142375" cy="240287"/>
            </a:xfrm>
            <a:custGeom>
              <a:avLst/>
              <a:gdLst>
                <a:gd name="connsiteX0" fmla="*/ 71303 w 142375"/>
                <a:gd name="connsiteY0" fmla="*/ 97106 h 240287"/>
                <a:gd name="connsiteX1" fmla="*/ 34903 w 142375"/>
                <a:gd name="connsiteY1" fmla="*/ 153319 h 240287"/>
                <a:gd name="connsiteX2" fmla="*/ 71303 w 142375"/>
                <a:gd name="connsiteY2" fmla="*/ 209877 h 240287"/>
                <a:gd name="connsiteX3" fmla="*/ 107243 w 142375"/>
                <a:gd name="connsiteY3" fmla="*/ 153319 h 240287"/>
                <a:gd name="connsiteX4" fmla="*/ 71303 w 142375"/>
                <a:gd name="connsiteY4" fmla="*/ 97106 h 240287"/>
                <a:gd name="connsiteX5" fmla="*/ 108049 w 142375"/>
                <a:gd name="connsiteY5" fmla="*/ 238329 h 240287"/>
                <a:gd name="connsiteX6" fmla="*/ 108049 w 142375"/>
                <a:gd name="connsiteY6" fmla="*/ 220244 h 240287"/>
                <a:gd name="connsiteX7" fmla="*/ 62088 w 142375"/>
                <a:gd name="connsiteY7" fmla="*/ 240288 h 240287"/>
                <a:gd name="connsiteX8" fmla="*/ 19583 w 142375"/>
                <a:gd name="connsiteY8" fmla="*/ 225198 h 240287"/>
                <a:gd name="connsiteX9" fmla="*/ 0 w 142375"/>
                <a:gd name="connsiteY9" fmla="*/ 153319 h 240287"/>
                <a:gd name="connsiteX10" fmla="*/ 19583 w 142375"/>
                <a:gd name="connsiteY10" fmla="*/ 81785 h 240287"/>
                <a:gd name="connsiteX11" fmla="*/ 61742 w 142375"/>
                <a:gd name="connsiteY11" fmla="*/ 66695 h 240287"/>
                <a:gd name="connsiteX12" fmla="*/ 107358 w 142375"/>
                <a:gd name="connsiteY12" fmla="*/ 85702 h 240287"/>
                <a:gd name="connsiteX13" fmla="*/ 107358 w 142375"/>
                <a:gd name="connsiteY13" fmla="*/ 0 h 240287"/>
                <a:gd name="connsiteX14" fmla="*/ 142376 w 142375"/>
                <a:gd name="connsiteY14" fmla="*/ 0 h 240287"/>
                <a:gd name="connsiteX15" fmla="*/ 142376 w 142375"/>
                <a:gd name="connsiteY15" fmla="*/ 238214 h 240287"/>
                <a:gd name="connsiteX16" fmla="*/ 108049 w 142375"/>
                <a:gd name="connsiteY16" fmla="*/ 238214 h 24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287">
                  <a:moveTo>
                    <a:pt x="71303" y="97106"/>
                  </a:moveTo>
                  <a:cubicBezTo>
                    <a:pt x="39741" y="97106"/>
                    <a:pt x="34903" y="123139"/>
                    <a:pt x="34903" y="153319"/>
                  </a:cubicBezTo>
                  <a:cubicBezTo>
                    <a:pt x="34903" y="183499"/>
                    <a:pt x="39741" y="209877"/>
                    <a:pt x="71303" y="209877"/>
                  </a:cubicBezTo>
                  <a:cubicBezTo>
                    <a:pt x="102865" y="209877"/>
                    <a:pt x="107243" y="183499"/>
                    <a:pt x="107243" y="153319"/>
                  </a:cubicBezTo>
                  <a:cubicBezTo>
                    <a:pt x="107243" y="123139"/>
                    <a:pt x="102750" y="97106"/>
                    <a:pt x="71303" y="97106"/>
                  </a:cubicBezTo>
                  <a:moveTo>
                    <a:pt x="108049" y="238329"/>
                  </a:moveTo>
                  <a:lnTo>
                    <a:pt x="108049" y="220244"/>
                  </a:lnTo>
                  <a:cubicBezTo>
                    <a:pt x="95032" y="235680"/>
                    <a:pt x="80979" y="240288"/>
                    <a:pt x="62088" y="240288"/>
                  </a:cubicBezTo>
                  <a:cubicBezTo>
                    <a:pt x="44579" y="240288"/>
                    <a:pt x="29143" y="234643"/>
                    <a:pt x="19583" y="225198"/>
                  </a:cubicBezTo>
                  <a:cubicBezTo>
                    <a:pt x="2074" y="208149"/>
                    <a:pt x="0" y="179006"/>
                    <a:pt x="0" y="153319"/>
                  </a:cubicBezTo>
                  <a:cubicBezTo>
                    <a:pt x="0" y="127631"/>
                    <a:pt x="2074" y="98834"/>
                    <a:pt x="19583" y="81785"/>
                  </a:cubicBezTo>
                  <a:cubicBezTo>
                    <a:pt x="29143" y="72455"/>
                    <a:pt x="44233" y="66695"/>
                    <a:pt x="61742" y="66695"/>
                  </a:cubicBezTo>
                  <a:cubicBezTo>
                    <a:pt x="80288" y="66695"/>
                    <a:pt x="94687" y="71073"/>
                    <a:pt x="107358" y="85702"/>
                  </a:cubicBezTo>
                  <a:lnTo>
                    <a:pt x="107358" y="0"/>
                  </a:lnTo>
                  <a:lnTo>
                    <a:pt x="142376" y="0"/>
                  </a:lnTo>
                  <a:lnTo>
                    <a:pt x="142376" y="238214"/>
                  </a:lnTo>
                  <a:lnTo>
                    <a:pt x="10804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BBC968-5D79-9E12-3B1E-FFFC573ECB78}"/>
                </a:ext>
              </a:extLst>
            </p:cNvPr>
            <p:cNvSpPr/>
            <p:nvPr/>
          </p:nvSpPr>
          <p:spPr>
            <a:xfrm>
              <a:off x="2617621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41529F2-CD0C-0E4E-F697-92DE22A297B2}"/>
                </a:ext>
              </a:extLst>
            </p:cNvPr>
            <p:cNvSpPr/>
            <p:nvPr/>
          </p:nvSpPr>
          <p:spPr>
            <a:xfrm>
              <a:off x="2700213" y="796094"/>
              <a:ext cx="134772" cy="173707"/>
            </a:xfrm>
            <a:custGeom>
              <a:avLst/>
              <a:gdLst>
                <a:gd name="connsiteX0" fmla="*/ 77523 w 134772"/>
                <a:gd name="connsiteY0" fmla="*/ 173592 h 173707"/>
                <a:gd name="connsiteX1" fmla="*/ 0 w 134772"/>
                <a:gd name="connsiteY1" fmla="*/ 86623 h 173707"/>
                <a:gd name="connsiteX2" fmla="*/ 77523 w 134772"/>
                <a:gd name="connsiteY2" fmla="*/ 0 h 173707"/>
                <a:gd name="connsiteX3" fmla="*/ 134773 w 134772"/>
                <a:gd name="connsiteY3" fmla="*/ 23729 h 173707"/>
                <a:gd name="connsiteX4" fmla="*/ 110813 w 134772"/>
                <a:gd name="connsiteY4" fmla="*/ 46422 h 173707"/>
                <a:gd name="connsiteX5" fmla="*/ 77523 w 134772"/>
                <a:gd name="connsiteY5" fmla="*/ 30410 h 173707"/>
                <a:gd name="connsiteX6" fmla="*/ 45270 w 134772"/>
                <a:gd name="connsiteY6" fmla="*/ 45500 h 173707"/>
                <a:gd name="connsiteX7" fmla="*/ 35018 w 134772"/>
                <a:gd name="connsiteY7" fmla="*/ 86623 h 173707"/>
                <a:gd name="connsiteX8" fmla="*/ 45270 w 134772"/>
                <a:gd name="connsiteY8" fmla="*/ 128092 h 173707"/>
                <a:gd name="connsiteX9" fmla="*/ 77523 w 134772"/>
                <a:gd name="connsiteY9" fmla="*/ 143182 h 173707"/>
                <a:gd name="connsiteX10" fmla="*/ 110813 w 134772"/>
                <a:gd name="connsiteY10" fmla="*/ 127170 h 173707"/>
                <a:gd name="connsiteX11" fmla="*/ 134773 w 134772"/>
                <a:gd name="connsiteY11" fmla="*/ 149633 h 173707"/>
                <a:gd name="connsiteX12" fmla="*/ 77523 w 134772"/>
                <a:gd name="connsiteY12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4772" h="173707">
                  <a:moveTo>
                    <a:pt x="77523" y="173592"/>
                  </a:moveTo>
                  <a:cubicBezTo>
                    <a:pt x="38474" y="173592"/>
                    <a:pt x="0" y="150209"/>
                    <a:pt x="0" y="86623"/>
                  </a:cubicBezTo>
                  <a:cubicBezTo>
                    <a:pt x="0" y="23038"/>
                    <a:pt x="38358" y="0"/>
                    <a:pt x="77523" y="0"/>
                  </a:cubicBezTo>
                  <a:cubicBezTo>
                    <a:pt x="101483" y="0"/>
                    <a:pt x="118301" y="6681"/>
                    <a:pt x="134773" y="23729"/>
                  </a:cubicBezTo>
                  <a:lnTo>
                    <a:pt x="110813" y="46422"/>
                  </a:lnTo>
                  <a:cubicBezTo>
                    <a:pt x="99870" y="34672"/>
                    <a:pt x="91231" y="30410"/>
                    <a:pt x="77523" y="30410"/>
                  </a:cubicBezTo>
                  <a:cubicBezTo>
                    <a:pt x="63816" y="30410"/>
                    <a:pt x="52872" y="35709"/>
                    <a:pt x="45270" y="45500"/>
                  </a:cubicBezTo>
                  <a:cubicBezTo>
                    <a:pt x="37782" y="54831"/>
                    <a:pt x="35018" y="66926"/>
                    <a:pt x="35018" y="86623"/>
                  </a:cubicBezTo>
                  <a:cubicBezTo>
                    <a:pt x="35018" y="106321"/>
                    <a:pt x="37782" y="118762"/>
                    <a:pt x="45270" y="128092"/>
                  </a:cubicBezTo>
                  <a:cubicBezTo>
                    <a:pt x="52757" y="137768"/>
                    <a:pt x="64161" y="143182"/>
                    <a:pt x="77523" y="143182"/>
                  </a:cubicBezTo>
                  <a:cubicBezTo>
                    <a:pt x="90885" y="143182"/>
                    <a:pt x="99755" y="138805"/>
                    <a:pt x="110813" y="127170"/>
                  </a:cubicBezTo>
                  <a:lnTo>
                    <a:pt x="134773" y="149633"/>
                  </a:lnTo>
                  <a:cubicBezTo>
                    <a:pt x="118301" y="166681"/>
                    <a:pt x="101483" y="173707"/>
                    <a:pt x="77523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6C8C5C9-E28C-F174-4567-2279CCC2923E}"/>
                </a:ext>
              </a:extLst>
            </p:cNvPr>
            <p:cNvSpPr/>
            <p:nvPr/>
          </p:nvSpPr>
          <p:spPr>
            <a:xfrm>
              <a:off x="2871040" y="728477"/>
              <a:ext cx="36976" cy="239135"/>
            </a:xfrm>
            <a:custGeom>
              <a:avLst/>
              <a:gdLst>
                <a:gd name="connsiteX0" fmla="*/ 1037 w 36976"/>
                <a:gd name="connsiteY0" fmla="*/ 69575 h 239135"/>
                <a:gd name="connsiteX1" fmla="*/ 36055 w 36976"/>
                <a:gd name="connsiteY1" fmla="*/ 69575 h 239135"/>
                <a:gd name="connsiteX2" fmla="*/ 36055 w 36976"/>
                <a:gd name="connsiteY2" fmla="*/ 239136 h 239135"/>
                <a:gd name="connsiteX3" fmla="*/ 1037 w 36976"/>
                <a:gd name="connsiteY3" fmla="*/ 239136 h 239135"/>
                <a:gd name="connsiteX4" fmla="*/ 1037 w 36976"/>
                <a:gd name="connsiteY4" fmla="*/ 69575 h 239135"/>
                <a:gd name="connsiteX5" fmla="*/ 0 w 36976"/>
                <a:gd name="connsiteY5" fmla="*/ 0 h 239135"/>
                <a:gd name="connsiteX6" fmla="*/ 36976 w 36976"/>
                <a:gd name="connsiteY6" fmla="*/ 0 h 239135"/>
                <a:gd name="connsiteX7" fmla="*/ 36976 w 36976"/>
                <a:gd name="connsiteY7" fmla="*/ 36170 h 239135"/>
                <a:gd name="connsiteX8" fmla="*/ 0 w 36976"/>
                <a:gd name="connsiteY8" fmla="*/ 36170 h 239135"/>
                <a:gd name="connsiteX9" fmla="*/ 0 w 36976"/>
                <a:gd name="connsiteY9" fmla="*/ 0 h 23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976" h="239135">
                  <a:moveTo>
                    <a:pt x="1037" y="69575"/>
                  </a:moveTo>
                  <a:lnTo>
                    <a:pt x="36055" y="69575"/>
                  </a:lnTo>
                  <a:lnTo>
                    <a:pt x="36055" y="239136"/>
                  </a:lnTo>
                  <a:lnTo>
                    <a:pt x="1037" y="239136"/>
                  </a:lnTo>
                  <a:lnTo>
                    <a:pt x="1037" y="69575"/>
                  </a:lnTo>
                  <a:close/>
                  <a:moveTo>
                    <a:pt x="0" y="0"/>
                  </a:moveTo>
                  <a:lnTo>
                    <a:pt x="36976" y="0"/>
                  </a:lnTo>
                  <a:lnTo>
                    <a:pt x="36976" y="36170"/>
                  </a:lnTo>
                  <a:lnTo>
                    <a:pt x="0" y="36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73DC115-9EC5-4480-3411-B33F6B0C1428}"/>
                </a:ext>
              </a:extLst>
            </p:cNvPr>
            <p:cNvSpPr/>
            <p:nvPr/>
          </p:nvSpPr>
          <p:spPr>
            <a:xfrm>
              <a:off x="2958931" y="796209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6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7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E794380-300F-910F-FBB9-10C1B24F8D02}"/>
                </a:ext>
              </a:extLst>
            </p:cNvPr>
            <p:cNvSpPr/>
            <p:nvPr/>
          </p:nvSpPr>
          <p:spPr>
            <a:xfrm>
              <a:off x="3141277" y="796094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207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920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B7F440C-899D-4720-6A34-F5F573354E0E}"/>
                </a:ext>
              </a:extLst>
            </p:cNvPr>
            <p:cNvSpPr/>
            <p:nvPr/>
          </p:nvSpPr>
          <p:spPr>
            <a:xfrm>
              <a:off x="3318441" y="796094"/>
              <a:ext cx="145370" cy="173707"/>
            </a:xfrm>
            <a:custGeom>
              <a:avLst/>
              <a:gdLst>
                <a:gd name="connsiteX0" fmla="*/ 73031 w 145370"/>
                <a:gd name="connsiteY0" fmla="*/ 173592 h 173707"/>
                <a:gd name="connsiteX1" fmla="*/ 0 w 145370"/>
                <a:gd name="connsiteY1" fmla="*/ 149172 h 173707"/>
                <a:gd name="connsiteX2" fmla="*/ 22923 w 145370"/>
                <a:gd name="connsiteY2" fmla="*/ 126710 h 173707"/>
                <a:gd name="connsiteX3" fmla="*/ 73031 w 145370"/>
                <a:gd name="connsiteY3" fmla="*/ 144449 h 173707"/>
                <a:gd name="connsiteX4" fmla="*/ 111044 w 145370"/>
                <a:gd name="connsiteY4" fmla="*/ 121065 h 173707"/>
                <a:gd name="connsiteX5" fmla="*/ 87775 w 145370"/>
                <a:gd name="connsiteY5" fmla="*/ 101022 h 173707"/>
                <a:gd name="connsiteX6" fmla="*/ 60014 w 145370"/>
                <a:gd name="connsiteY6" fmla="*/ 98718 h 173707"/>
                <a:gd name="connsiteX7" fmla="*/ 8639 w 145370"/>
                <a:gd name="connsiteY7" fmla="*/ 51836 h 173707"/>
                <a:gd name="connsiteX8" fmla="*/ 74068 w 145370"/>
                <a:gd name="connsiteY8" fmla="*/ 0 h 173707"/>
                <a:gd name="connsiteX9" fmla="*/ 138574 w 145370"/>
                <a:gd name="connsiteY9" fmla="*/ 19122 h 173707"/>
                <a:gd name="connsiteX10" fmla="*/ 116688 w 145370"/>
                <a:gd name="connsiteY10" fmla="*/ 40893 h 173707"/>
                <a:gd name="connsiteX11" fmla="*/ 73837 w 145370"/>
                <a:gd name="connsiteY11" fmla="*/ 28567 h 173707"/>
                <a:gd name="connsiteX12" fmla="*/ 42275 w 145370"/>
                <a:gd name="connsiteY12" fmla="*/ 50338 h 173707"/>
                <a:gd name="connsiteX13" fmla="*/ 66235 w 145370"/>
                <a:gd name="connsiteY13" fmla="*/ 69690 h 173707"/>
                <a:gd name="connsiteX14" fmla="*/ 93650 w 145370"/>
                <a:gd name="connsiteY14" fmla="*/ 71994 h 173707"/>
                <a:gd name="connsiteX15" fmla="*/ 145371 w 145370"/>
                <a:gd name="connsiteY15" fmla="*/ 119798 h 173707"/>
                <a:gd name="connsiteX16" fmla="*/ 73031 w 145370"/>
                <a:gd name="connsiteY16" fmla="*/ 173707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5370" h="173707">
                  <a:moveTo>
                    <a:pt x="73031" y="173592"/>
                  </a:moveTo>
                  <a:cubicBezTo>
                    <a:pt x="44579" y="173592"/>
                    <a:pt x="20504" y="168869"/>
                    <a:pt x="0" y="149172"/>
                  </a:cubicBezTo>
                  <a:lnTo>
                    <a:pt x="22923" y="126710"/>
                  </a:lnTo>
                  <a:cubicBezTo>
                    <a:pt x="36976" y="140763"/>
                    <a:pt x="55867" y="144449"/>
                    <a:pt x="73031" y="144449"/>
                  </a:cubicBezTo>
                  <a:cubicBezTo>
                    <a:pt x="94341" y="144449"/>
                    <a:pt x="111044" y="137077"/>
                    <a:pt x="111044" y="121065"/>
                  </a:cubicBezTo>
                  <a:cubicBezTo>
                    <a:pt x="111044" y="109661"/>
                    <a:pt x="104478" y="102289"/>
                    <a:pt x="87775" y="101022"/>
                  </a:cubicBezTo>
                  <a:lnTo>
                    <a:pt x="60014" y="98718"/>
                  </a:lnTo>
                  <a:cubicBezTo>
                    <a:pt x="27415" y="96069"/>
                    <a:pt x="8639" y="81670"/>
                    <a:pt x="8639" y="51836"/>
                  </a:cubicBezTo>
                  <a:cubicBezTo>
                    <a:pt x="8639" y="18661"/>
                    <a:pt x="37782" y="0"/>
                    <a:pt x="74068" y="0"/>
                  </a:cubicBezTo>
                  <a:cubicBezTo>
                    <a:pt x="100100" y="0"/>
                    <a:pt x="122447" y="5414"/>
                    <a:pt x="138574" y="19122"/>
                  </a:cubicBezTo>
                  <a:lnTo>
                    <a:pt x="116688" y="40893"/>
                  </a:lnTo>
                  <a:cubicBezTo>
                    <a:pt x="105745" y="31908"/>
                    <a:pt x="90310" y="28567"/>
                    <a:pt x="73837" y="28567"/>
                  </a:cubicBezTo>
                  <a:cubicBezTo>
                    <a:pt x="52872" y="28567"/>
                    <a:pt x="42275" y="37552"/>
                    <a:pt x="42275" y="50338"/>
                  </a:cubicBezTo>
                  <a:cubicBezTo>
                    <a:pt x="42275" y="60360"/>
                    <a:pt x="47804" y="68078"/>
                    <a:pt x="66235" y="69690"/>
                  </a:cubicBezTo>
                  <a:lnTo>
                    <a:pt x="93650" y="71994"/>
                  </a:lnTo>
                  <a:cubicBezTo>
                    <a:pt x="126249" y="74643"/>
                    <a:pt x="145371" y="89733"/>
                    <a:pt x="145371" y="119798"/>
                  </a:cubicBezTo>
                  <a:cubicBezTo>
                    <a:pt x="145371" y="155277"/>
                    <a:pt x="114499" y="173707"/>
                    <a:pt x="73031" y="17370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5B7AC06-195A-94BF-C0D8-4CF92290485D}"/>
                </a:ext>
              </a:extLst>
            </p:cNvPr>
            <p:cNvSpPr/>
            <p:nvPr/>
          </p:nvSpPr>
          <p:spPr>
            <a:xfrm>
              <a:off x="1950437" y="1099851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674"/>
                    <a:pt x="34903" y="86738"/>
                  </a:cubicBezTo>
                  <a:cubicBezTo>
                    <a:pt x="34903" y="116803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26F7F82-EAD2-42DF-CA84-60449F0948B9}"/>
                </a:ext>
              </a:extLst>
            </p:cNvPr>
            <p:cNvSpPr/>
            <p:nvPr/>
          </p:nvSpPr>
          <p:spPr>
            <a:xfrm>
              <a:off x="2126909" y="1099851"/>
              <a:ext cx="141108" cy="173707"/>
            </a:xfrm>
            <a:custGeom>
              <a:avLst/>
              <a:gdLst>
                <a:gd name="connsiteX0" fmla="*/ 105975 w 141108"/>
                <a:gd name="connsiteY0" fmla="*/ 96760 h 173707"/>
                <a:gd name="connsiteX1" fmla="*/ 65198 w 141108"/>
                <a:gd name="connsiteY1" fmla="*/ 96760 h 173707"/>
                <a:gd name="connsiteX2" fmla="*/ 33981 w 141108"/>
                <a:gd name="connsiteY2" fmla="*/ 121181 h 173707"/>
                <a:gd name="connsiteX3" fmla="*/ 65889 w 141108"/>
                <a:gd name="connsiteY3" fmla="*/ 145255 h 173707"/>
                <a:gd name="connsiteX4" fmla="*/ 98488 w 141108"/>
                <a:gd name="connsiteY4" fmla="*/ 135579 h 173707"/>
                <a:gd name="connsiteX5" fmla="*/ 105975 w 141108"/>
                <a:gd name="connsiteY5" fmla="*/ 110468 h 173707"/>
                <a:gd name="connsiteX6" fmla="*/ 105975 w 141108"/>
                <a:gd name="connsiteY6" fmla="*/ 96760 h 173707"/>
                <a:gd name="connsiteX7" fmla="*/ 106667 w 141108"/>
                <a:gd name="connsiteY7" fmla="*/ 171749 h 173707"/>
                <a:gd name="connsiteX8" fmla="*/ 106667 w 141108"/>
                <a:gd name="connsiteY8" fmla="*/ 156314 h 173707"/>
                <a:gd name="connsiteX9" fmla="*/ 60360 w 141108"/>
                <a:gd name="connsiteY9" fmla="*/ 173707 h 173707"/>
                <a:gd name="connsiteX10" fmla="*/ 13708 w 141108"/>
                <a:gd name="connsiteY10" fmla="*/ 158272 h 173707"/>
                <a:gd name="connsiteX11" fmla="*/ 0 w 141108"/>
                <a:gd name="connsiteY11" fmla="*/ 121756 h 173707"/>
                <a:gd name="connsiteX12" fmla="*/ 60014 w 141108"/>
                <a:gd name="connsiteY12" fmla="*/ 72916 h 173707"/>
                <a:gd name="connsiteX13" fmla="*/ 105975 w 141108"/>
                <a:gd name="connsiteY13" fmla="*/ 72916 h 173707"/>
                <a:gd name="connsiteX14" fmla="*/ 105975 w 141108"/>
                <a:gd name="connsiteY14" fmla="*/ 60936 h 173707"/>
                <a:gd name="connsiteX15" fmla="*/ 67963 w 141108"/>
                <a:gd name="connsiteY15" fmla="*/ 29143 h 173707"/>
                <a:gd name="connsiteX16" fmla="*/ 29950 w 141108"/>
                <a:gd name="connsiteY16" fmla="*/ 45500 h 173707"/>
                <a:gd name="connsiteX17" fmla="*/ 7027 w 141108"/>
                <a:gd name="connsiteY17" fmla="*/ 24420 h 173707"/>
                <a:gd name="connsiteX18" fmla="*/ 69460 w 141108"/>
                <a:gd name="connsiteY18" fmla="*/ 0 h 173707"/>
                <a:gd name="connsiteX19" fmla="*/ 141108 w 141108"/>
                <a:gd name="connsiteY19" fmla="*/ 58171 h 173707"/>
                <a:gd name="connsiteX20" fmla="*/ 141108 w 141108"/>
                <a:gd name="connsiteY20" fmla="*/ 171634 h 173707"/>
                <a:gd name="connsiteX21" fmla="*/ 106782 w 141108"/>
                <a:gd name="connsiteY21" fmla="*/ 171634 h 173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1108" h="173707">
                  <a:moveTo>
                    <a:pt x="105975" y="96760"/>
                  </a:moveTo>
                  <a:lnTo>
                    <a:pt x="65198" y="96760"/>
                  </a:lnTo>
                  <a:cubicBezTo>
                    <a:pt x="44579" y="96760"/>
                    <a:pt x="33981" y="105745"/>
                    <a:pt x="33981" y="121181"/>
                  </a:cubicBezTo>
                  <a:cubicBezTo>
                    <a:pt x="33981" y="136616"/>
                    <a:pt x="43888" y="145255"/>
                    <a:pt x="65889" y="145255"/>
                  </a:cubicBezTo>
                  <a:cubicBezTo>
                    <a:pt x="79251" y="145255"/>
                    <a:pt x="89158" y="144219"/>
                    <a:pt x="98488" y="135579"/>
                  </a:cubicBezTo>
                  <a:cubicBezTo>
                    <a:pt x="103672" y="130511"/>
                    <a:pt x="105975" y="122563"/>
                    <a:pt x="105975" y="110468"/>
                  </a:cubicBezTo>
                  <a:lnTo>
                    <a:pt x="105975" y="96760"/>
                  </a:lnTo>
                  <a:close/>
                  <a:moveTo>
                    <a:pt x="106667" y="171749"/>
                  </a:moveTo>
                  <a:lnTo>
                    <a:pt x="106667" y="156314"/>
                  </a:lnTo>
                  <a:cubicBezTo>
                    <a:pt x="93996" y="168754"/>
                    <a:pt x="82016" y="173707"/>
                    <a:pt x="60360" y="173707"/>
                  </a:cubicBezTo>
                  <a:cubicBezTo>
                    <a:pt x="38704" y="173707"/>
                    <a:pt x="24305" y="168639"/>
                    <a:pt x="13708" y="158272"/>
                  </a:cubicBezTo>
                  <a:cubicBezTo>
                    <a:pt x="4838" y="149287"/>
                    <a:pt x="0" y="136155"/>
                    <a:pt x="0" y="121756"/>
                  </a:cubicBezTo>
                  <a:cubicBezTo>
                    <a:pt x="0" y="93304"/>
                    <a:pt x="20274" y="72916"/>
                    <a:pt x="60014" y="72916"/>
                  </a:cubicBezTo>
                  <a:lnTo>
                    <a:pt x="105975" y="72916"/>
                  </a:lnTo>
                  <a:lnTo>
                    <a:pt x="105975" y="60936"/>
                  </a:lnTo>
                  <a:cubicBezTo>
                    <a:pt x="105975" y="39510"/>
                    <a:pt x="95032" y="29143"/>
                    <a:pt x="67963" y="29143"/>
                  </a:cubicBezTo>
                  <a:cubicBezTo>
                    <a:pt x="48726" y="29143"/>
                    <a:pt x="39510" y="33521"/>
                    <a:pt x="29950" y="45500"/>
                  </a:cubicBezTo>
                  <a:lnTo>
                    <a:pt x="7027" y="24420"/>
                  </a:lnTo>
                  <a:cubicBezTo>
                    <a:pt x="23499" y="5644"/>
                    <a:pt x="40662" y="0"/>
                    <a:pt x="69460" y="0"/>
                  </a:cubicBezTo>
                  <a:cubicBezTo>
                    <a:pt x="117149" y="0"/>
                    <a:pt x="141108" y="19698"/>
                    <a:pt x="141108" y="58171"/>
                  </a:cubicBezTo>
                  <a:lnTo>
                    <a:pt x="141108" y="171634"/>
                  </a:lnTo>
                  <a:lnTo>
                    <a:pt x="106782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532A592-F9C5-6C0C-5CB7-8366BFBEF6E4}"/>
                </a:ext>
              </a:extLst>
            </p:cNvPr>
            <p:cNvSpPr/>
            <p:nvPr/>
          </p:nvSpPr>
          <p:spPr>
            <a:xfrm>
              <a:off x="2302460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2 w 88581"/>
                <a:gd name="connsiteY9" fmla="*/ 51490 h 218055"/>
                <a:gd name="connsiteX10" fmla="*/ 88582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2 w 88581"/>
                <a:gd name="connsiteY14" fmla="*/ 188913 h 218055"/>
                <a:gd name="connsiteX15" fmla="*/ 88582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2" y="51490"/>
                  </a:lnTo>
                  <a:lnTo>
                    <a:pt x="88582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2" y="188913"/>
                  </a:lnTo>
                  <a:lnTo>
                    <a:pt x="88582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93385A-9C01-C79E-71C0-9931EC8B2713}"/>
                </a:ext>
              </a:extLst>
            </p:cNvPr>
            <p:cNvSpPr/>
            <p:nvPr/>
          </p:nvSpPr>
          <p:spPr>
            <a:xfrm>
              <a:off x="2422949" y="1099966"/>
              <a:ext cx="147443" cy="173592"/>
            </a:xfrm>
            <a:custGeom>
              <a:avLst/>
              <a:gdLst>
                <a:gd name="connsiteX0" fmla="*/ 108279 w 147443"/>
                <a:gd name="connsiteY0" fmla="*/ 49878 h 173592"/>
                <a:gd name="connsiteX1" fmla="*/ 73953 w 147443"/>
                <a:gd name="connsiteY1" fmla="*/ 28452 h 173592"/>
                <a:gd name="connsiteX2" fmla="*/ 39280 w 147443"/>
                <a:gd name="connsiteY2" fmla="*/ 49878 h 173592"/>
                <a:gd name="connsiteX3" fmla="*/ 34788 w 147443"/>
                <a:gd name="connsiteY3" fmla="*/ 72916 h 173592"/>
                <a:gd name="connsiteX4" fmla="*/ 113002 w 147443"/>
                <a:gd name="connsiteY4" fmla="*/ 72916 h 173592"/>
                <a:gd name="connsiteX5" fmla="*/ 108164 w 147443"/>
                <a:gd name="connsiteY5" fmla="*/ 49878 h 173592"/>
                <a:gd name="connsiteX6" fmla="*/ 34788 w 147443"/>
                <a:gd name="connsiteY6" fmla="*/ 96760 h 173592"/>
                <a:gd name="connsiteX7" fmla="*/ 79021 w 147443"/>
                <a:gd name="connsiteY7" fmla="*/ 144219 h 173592"/>
                <a:gd name="connsiteX8" fmla="*/ 121181 w 147443"/>
                <a:gd name="connsiteY8" fmla="*/ 126825 h 173592"/>
                <a:gd name="connsiteX9" fmla="*/ 143412 w 147443"/>
                <a:gd name="connsiteY9" fmla="*/ 147214 h 173592"/>
                <a:gd name="connsiteX10" fmla="*/ 78215 w 147443"/>
                <a:gd name="connsiteY10" fmla="*/ 173592 h 173592"/>
                <a:gd name="connsiteX11" fmla="*/ 0 w 147443"/>
                <a:gd name="connsiteY11" fmla="*/ 86623 h 173592"/>
                <a:gd name="connsiteX12" fmla="*/ 73722 w 147443"/>
                <a:gd name="connsiteY12" fmla="*/ 0 h 173592"/>
                <a:gd name="connsiteX13" fmla="*/ 147444 w 147443"/>
                <a:gd name="connsiteY13" fmla="*/ 81670 h 173592"/>
                <a:gd name="connsiteX14" fmla="*/ 147444 w 147443"/>
                <a:gd name="connsiteY14" fmla="*/ 96760 h 173592"/>
                <a:gd name="connsiteX15" fmla="*/ 34672 w 147443"/>
                <a:gd name="connsiteY15" fmla="*/ 96760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7443" h="173592">
                  <a:moveTo>
                    <a:pt x="108279" y="49878"/>
                  </a:moveTo>
                  <a:cubicBezTo>
                    <a:pt x="102750" y="37207"/>
                    <a:pt x="90425" y="28452"/>
                    <a:pt x="73953" y="28452"/>
                  </a:cubicBezTo>
                  <a:cubicBezTo>
                    <a:pt x="57480" y="28452"/>
                    <a:pt x="44809" y="37091"/>
                    <a:pt x="39280" y="49878"/>
                  </a:cubicBezTo>
                  <a:cubicBezTo>
                    <a:pt x="35824" y="57595"/>
                    <a:pt x="35133" y="62548"/>
                    <a:pt x="34788" y="72916"/>
                  </a:cubicBezTo>
                  <a:lnTo>
                    <a:pt x="113002" y="72916"/>
                  </a:lnTo>
                  <a:cubicBezTo>
                    <a:pt x="112657" y="62548"/>
                    <a:pt x="111620" y="57480"/>
                    <a:pt x="108164" y="49878"/>
                  </a:cubicBezTo>
                  <a:moveTo>
                    <a:pt x="34788" y="96760"/>
                  </a:moveTo>
                  <a:cubicBezTo>
                    <a:pt x="34788" y="125903"/>
                    <a:pt x="50569" y="144219"/>
                    <a:pt x="79021" y="144219"/>
                  </a:cubicBezTo>
                  <a:cubicBezTo>
                    <a:pt x="98603" y="144219"/>
                    <a:pt x="108855" y="138805"/>
                    <a:pt x="121181" y="126825"/>
                  </a:cubicBezTo>
                  <a:lnTo>
                    <a:pt x="143412" y="147214"/>
                  </a:lnTo>
                  <a:cubicBezTo>
                    <a:pt x="125558" y="164607"/>
                    <a:pt x="108740" y="173592"/>
                    <a:pt x="78215" y="173592"/>
                  </a:cubicBezTo>
                  <a:cubicBezTo>
                    <a:pt x="34672" y="173592"/>
                    <a:pt x="0" y="151130"/>
                    <a:pt x="0" y="86623"/>
                  </a:cubicBezTo>
                  <a:cubicBezTo>
                    <a:pt x="0" y="31793"/>
                    <a:pt x="29143" y="0"/>
                    <a:pt x="73722" y="0"/>
                  </a:cubicBezTo>
                  <a:cubicBezTo>
                    <a:pt x="118301" y="0"/>
                    <a:pt x="147444" y="33405"/>
                    <a:pt x="147444" y="81670"/>
                  </a:cubicBezTo>
                  <a:lnTo>
                    <a:pt x="147444" y="96760"/>
                  </a:lnTo>
                  <a:lnTo>
                    <a:pt x="34672" y="96760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6AA5021-690D-27E0-400F-3D40BDFA4D0C}"/>
                </a:ext>
              </a:extLst>
            </p:cNvPr>
            <p:cNvSpPr/>
            <p:nvPr/>
          </p:nvSpPr>
          <p:spPr>
            <a:xfrm>
              <a:off x="2613359" y="1100082"/>
              <a:ext cx="140993" cy="171633"/>
            </a:xfrm>
            <a:custGeom>
              <a:avLst/>
              <a:gdLst>
                <a:gd name="connsiteX0" fmla="*/ 106090 w 140993"/>
                <a:gd name="connsiteY0" fmla="*/ 171519 h 171633"/>
                <a:gd name="connsiteX1" fmla="*/ 106090 w 140993"/>
                <a:gd name="connsiteY1" fmla="*/ 68193 h 171633"/>
                <a:gd name="connsiteX2" fmla="*/ 71073 w 140993"/>
                <a:gd name="connsiteY2" fmla="*/ 30410 h 171633"/>
                <a:gd name="connsiteX3" fmla="*/ 35018 w 140993"/>
                <a:gd name="connsiteY3" fmla="*/ 68193 h 171633"/>
                <a:gd name="connsiteX4" fmla="*/ 35018 w 140993"/>
                <a:gd name="connsiteY4" fmla="*/ 171519 h 171633"/>
                <a:gd name="connsiteX5" fmla="*/ 0 w 140993"/>
                <a:gd name="connsiteY5" fmla="*/ 171519 h 171633"/>
                <a:gd name="connsiteX6" fmla="*/ 0 w 140993"/>
                <a:gd name="connsiteY6" fmla="*/ 1958 h 171633"/>
                <a:gd name="connsiteX7" fmla="*/ 34327 w 140993"/>
                <a:gd name="connsiteY7" fmla="*/ 1958 h 171633"/>
                <a:gd name="connsiteX8" fmla="*/ 34327 w 140993"/>
                <a:gd name="connsiteY8" fmla="*/ 19006 h 171633"/>
                <a:gd name="connsiteX9" fmla="*/ 80633 w 140993"/>
                <a:gd name="connsiteY9" fmla="*/ 0 h 171633"/>
                <a:gd name="connsiteX10" fmla="*/ 123484 w 140993"/>
                <a:gd name="connsiteY10" fmla="*/ 15436 h 171633"/>
                <a:gd name="connsiteX11" fmla="*/ 140993 w 140993"/>
                <a:gd name="connsiteY11" fmla="*/ 63240 h 171633"/>
                <a:gd name="connsiteX12" fmla="*/ 140993 w 140993"/>
                <a:gd name="connsiteY12" fmla="*/ 171634 h 171633"/>
                <a:gd name="connsiteX13" fmla="*/ 105975 w 140993"/>
                <a:gd name="connsiteY13" fmla="*/ 171634 h 171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0993" h="171633">
                  <a:moveTo>
                    <a:pt x="106090" y="171519"/>
                  </a:moveTo>
                  <a:lnTo>
                    <a:pt x="106090" y="68193"/>
                  </a:lnTo>
                  <a:cubicBezTo>
                    <a:pt x="106090" y="41814"/>
                    <a:pt x="90655" y="30410"/>
                    <a:pt x="71073" y="30410"/>
                  </a:cubicBezTo>
                  <a:cubicBezTo>
                    <a:pt x="51490" y="30410"/>
                    <a:pt x="35018" y="42160"/>
                    <a:pt x="35018" y="68193"/>
                  </a:cubicBezTo>
                  <a:lnTo>
                    <a:pt x="35018" y="171519"/>
                  </a:lnTo>
                  <a:lnTo>
                    <a:pt x="0" y="171519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19006"/>
                  </a:lnTo>
                  <a:cubicBezTo>
                    <a:pt x="46306" y="6335"/>
                    <a:pt x="63124" y="0"/>
                    <a:pt x="80633" y="0"/>
                  </a:cubicBezTo>
                  <a:cubicBezTo>
                    <a:pt x="98142" y="0"/>
                    <a:pt x="113232" y="5644"/>
                    <a:pt x="123484" y="15436"/>
                  </a:cubicBezTo>
                  <a:cubicBezTo>
                    <a:pt x="136846" y="28106"/>
                    <a:pt x="140993" y="44233"/>
                    <a:pt x="140993" y="63240"/>
                  </a:cubicBezTo>
                  <a:lnTo>
                    <a:pt x="140993" y="171634"/>
                  </a:lnTo>
                  <a:lnTo>
                    <a:pt x="105975" y="17163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041D670-870E-34F8-4810-1E3912E5FD18}"/>
                </a:ext>
              </a:extLst>
            </p:cNvPr>
            <p:cNvSpPr/>
            <p:nvPr/>
          </p:nvSpPr>
          <p:spPr>
            <a:xfrm>
              <a:off x="2789025" y="1053660"/>
              <a:ext cx="88581" cy="218055"/>
            </a:xfrm>
            <a:custGeom>
              <a:avLst/>
              <a:gdLst>
                <a:gd name="connsiteX0" fmla="*/ 67617 w 88581"/>
                <a:gd name="connsiteY0" fmla="*/ 217941 h 218055"/>
                <a:gd name="connsiteX1" fmla="*/ 19928 w 88581"/>
                <a:gd name="connsiteY1" fmla="*/ 170828 h 218055"/>
                <a:gd name="connsiteX2" fmla="*/ 19928 w 88581"/>
                <a:gd name="connsiteY2" fmla="*/ 77523 h 218055"/>
                <a:gd name="connsiteX3" fmla="*/ 0 w 88581"/>
                <a:gd name="connsiteY3" fmla="*/ 77523 h 218055"/>
                <a:gd name="connsiteX4" fmla="*/ 0 w 88581"/>
                <a:gd name="connsiteY4" fmla="*/ 51490 h 218055"/>
                <a:gd name="connsiteX5" fmla="*/ 19928 w 88581"/>
                <a:gd name="connsiteY5" fmla="*/ 51490 h 218055"/>
                <a:gd name="connsiteX6" fmla="*/ 19928 w 88581"/>
                <a:gd name="connsiteY6" fmla="*/ 0 h 218055"/>
                <a:gd name="connsiteX7" fmla="*/ 54946 w 88581"/>
                <a:gd name="connsiteY7" fmla="*/ 0 h 218055"/>
                <a:gd name="connsiteX8" fmla="*/ 54946 w 88581"/>
                <a:gd name="connsiteY8" fmla="*/ 51490 h 218055"/>
                <a:gd name="connsiteX9" fmla="*/ 88581 w 88581"/>
                <a:gd name="connsiteY9" fmla="*/ 51490 h 218055"/>
                <a:gd name="connsiteX10" fmla="*/ 88581 w 88581"/>
                <a:gd name="connsiteY10" fmla="*/ 77523 h 218055"/>
                <a:gd name="connsiteX11" fmla="*/ 54946 w 88581"/>
                <a:gd name="connsiteY11" fmla="*/ 77523 h 218055"/>
                <a:gd name="connsiteX12" fmla="*/ 54946 w 88581"/>
                <a:gd name="connsiteY12" fmla="*/ 169215 h 218055"/>
                <a:gd name="connsiteX13" fmla="*/ 74183 w 88581"/>
                <a:gd name="connsiteY13" fmla="*/ 188913 h 218055"/>
                <a:gd name="connsiteX14" fmla="*/ 88581 w 88581"/>
                <a:gd name="connsiteY14" fmla="*/ 188913 h 218055"/>
                <a:gd name="connsiteX15" fmla="*/ 88581 w 88581"/>
                <a:gd name="connsiteY15" fmla="*/ 218056 h 218055"/>
                <a:gd name="connsiteX16" fmla="*/ 67617 w 88581"/>
                <a:gd name="connsiteY16" fmla="*/ 218056 h 218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8581" h="218055">
                  <a:moveTo>
                    <a:pt x="67617" y="217941"/>
                  </a:moveTo>
                  <a:cubicBezTo>
                    <a:pt x="35018" y="217941"/>
                    <a:pt x="19928" y="195248"/>
                    <a:pt x="19928" y="170828"/>
                  </a:cubicBezTo>
                  <a:lnTo>
                    <a:pt x="19928" y="77523"/>
                  </a:lnTo>
                  <a:lnTo>
                    <a:pt x="0" y="77523"/>
                  </a:lnTo>
                  <a:lnTo>
                    <a:pt x="0" y="51490"/>
                  </a:lnTo>
                  <a:lnTo>
                    <a:pt x="19928" y="51490"/>
                  </a:lnTo>
                  <a:lnTo>
                    <a:pt x="19928" y="0"/>
                  </a:lnTo>
                  <a:lnTo>
                    <a:pt x="54946" y="0"/>
                  </a:lnTo>
                  <a:lnTo>
                    <a:pt x="54946" y="51490"/>
                  </a:lnTo>
                  <a:lnTo>
                    <a:pt x="88581" y="51490"/>
                  </a:lnTo>
                  <a:lnTo>
                    <a:pt x="88581" y="77523"/>
                  </a:lnTo>
                  <a:lnTo>
                    <a:pt x="54946" y="77523"/>
                  </a:lnTo>
                  <a:lnTo>
                    <a:pt x="54946" y="169215"/>
                  </a:lnTo>
                  <a:cubicBezTo>
                    <a:pt x="54946" y="181540"/>
                    <a:pt x="61166" y="188913"/>
                    <a:pt x="74183" y="188913"/>
                  </a:cubicBezTo>
                  <a:lnTo>
                    <a:pt x="88581" y="188913"/>
                  </a:lnTo>
                  <a:lnTo>
                    <a:pt x="88581" y="218056"/>
                  </a:lnTo>
                  <a:lnTo>
                    <a:pt x="67617" y="218056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0B61873-C3C2-6A91-0E34-479F246B2033}"/>
                </a:ext>
              </a:extLst>
            </p:cNvPr>
            <p:cNvSpPr/>
            <p:nvPr/>
          </p:nvSpPr>
          <p:spPr>
            <a:xfrm>
              <a:off x="1950437" y="1403839"/>
              <a:ext cx="142375" cy="240172"/>
            </a:xfrm>
            <a:custGeom>
              <a:avLst/>
              <a:gdLst>
                <a:gd name="connsiteX0" fmla="*/ 71303 w 142375"/>
                <a:gd name="connsiteY0" fmla="*/ 30526 h 240172"/>
                <a:gd name="connsiteX1" fmla="*/ 34903 w 142375"/>
                <a:gd name="connsiteY1" fmla="*/ 86738 h 240172"/>
                <a:gd name="connsiteX2" fmla="*/ 71303 w 142375"/>
                <a:gd name="connsiteY2" fmla="*/ 143297 h 240172"/>
                <a:gd name="connsiteX3" fmla="*/ 107242 w 142375"/>
                <a:gd name="connsiteY3" fmla="*/ 86738 h 240172"/>
                <a:gd name="connsiteX4" fmla="*/ 71303 w 142375"/>
                <a:gd name="connsiteY4" fmla="*/ 30526 h 240172"/>
                <a:gd name="connsiteX5" fmla="*/ 122793 w 142375"/>
                <a:gd name="connsiteY5" fmla="*/ 158617 h 240172"/>
                <a:gd name="connsiteX6" fmla="*/ 80633 w 142375"/>
                <a:gd name="connsiteY6" fmla="*/ 173707 h 240172"/>
                <a:gd name="connsiteX7" fmla="*/ 35018 w 142375"/>
                <a:gd name="connsiteY7" fmla="*/ 154240 h 240172"/>
                <a:gd name="connsiteX8" fmla="*/ 35018 w 142375"/>
                <a:gd name="connsiteY8" fmla="*/ 240172 h 240172"/>
                <a:gd name="connsiteX9" fmla="*/ 0 w 142375"/>
                <a:gd name="connsiteY9" fmla="*/ 240172 h 240172"/>
                <a:gd name="connsiteX10" fmla="*/ 0 w 142375"/>
                <a:gd name="connsiteY10" fmla="*/ 1958 h 240172"/>
                <a:gd name="connsiteX11" fmla="*/ 34327 w 142375"/>
                <a:gd name="connsiteY11" fmla="*/ 1958 h 240172"/>
                <a:gd name="connsiteX12" fmla="*/ 34327 w 142375"/>
                <a:gd name="connsiteY12" fmla="*/ 20043 h 240172"/>
                <a:gd name="connsiteX13" fmla="*/ 80288 w 142375"/>
                <a:gd name="connsiteY13" fmla="*/ 0 h 240172"/>
                <a:gd name="connsiteX14" fmla="*/ 122793 w 142375"/>
                <a:gd name="connsiteY14" fmla="*/ 15090 h 240172"/>
                <a:gd name="connsiteX15" fmla="*/ 142376 w 142375"/>
                <a:gd name="connsiteY15" fmla="*/ 86738 h 240172"/>
                <a:gd name="connsiteX16" fmla="*/ 122793 w 142375"/>
                <a:gd name="connsiteY16" fmla="*/ 158617 h 240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2375" h="240172">
                  <a:moveTo>
                    <a:pt x="71303" y="30526"/>
                  </a:moveTo>
                  <a:cubicBezTo>
                    <a:pt x="39741" y="30526"/>
                    <a:pt x="34903" y="56559"/>
                    <a:pt x="34903" y="86738"/>
                  </a:cubicBezTo>
                  <a:cubicBezTo>
                    <a:pt x="34903" y="116918"/>
                    <a:pt x="39741" y="143297"/>
                    <a:pt x="71303" y="143297"/>
                  </a:cubicBezTo>
                  <a:cubicBezTo>
                    <a:pt x="102865" y="143297"/>
                    <a:pt x="107242" y="116918"/>
                    <a:pt x="107242" y="86738"/>
                  </a:cubicBezTo>
                  <a:cubicBezTo>
                    <a:pt x="107242" y="56559"/>
                    <a:pt x="102750" y="30526"/>
                    <a:pt x="71303" y="30526"/>
                  </a:cubicBezTo>
                  <a:moveTo>
                    <a:pt x="122793" y="158617"/>
                  </a:moveTo>
                  <a:cubicBezTo>
                    <a:pt x="113232" y="167948"/>
                    <a:pt x="98142" y="173707"/>
                    <a:pt x="80633" y="173707"/>
                  </a:cubicBezTo>
                  <a:cubicBezTo>
                    <a:pt x="62088" y="173707"/>
                    <a:pt x="47689" y="168985"/>
                    <a:pt x="35018" y="154240"/>
                  </a:cubicBezTo>
                  <a:lnTo>
                    <a:pt x="35018" y="240172"/>
                  </a:lnTo>
                  <a:lnTo>
                    <a:pt x="0" y="240172"/>
                  </a:lnTo>
                  <a:lnTo>
                    <a:pt x="0" y="1958"/>
                  </a:lnTo>
                  <a:lnTo>
                    <a:pt x="34327" y="1958"/>
                  </a:lnTo>
                  <a:lnTo>
                    <a:pt x="34327" y="20043"/>
                  </a:lnTo>
                  <a:cubicBezTo>
                    <a:pt x="47343" y="4608"/>
                    <a:pt x="61397" y="0"/>
                    <a:pt x="80288" y="0"/>
                  </a:cubicBezTo>
                  <a:cubicBezTo>
                    <a:pt x="97797" y="0"/>
                    <a:pt x="113232" y="5644"/>
                    <a:pt x="122793" y="15090"/>
                  </a:cubicBezTo>
                  <a:cubicBezTo>
                    <a:pt x="140302" y="32138"/>
                    <a:pt x="142376" y="60936"/>
                    <a:pt x="142376" y="86738"/>
                  </a:cubicBezTo>
                  <a:cubicBezTo>
                    <a:pt x="142376" y="112541"/>
                    <a:pt x="140302" y="141569"/>
                    <a:pt x="122793" y="158617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B0AEDD4-80CC-BD4D-9A3F-9249ADD2969E}"/>
                </a:ext>
              </a:extLst>
            </p:cNvPr>
            <p:cNvSpPr/>
            <p:nvPr/>
          </p:nvSpPr>
          <p:spPr>
            <a:xfrm>
              <a:off x="2128292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7A4A07F-7654-0D65-713C-3C3FA4331329}"/>
                </a:ext>
              </a:extLst>
            </p:cNvPr>
            <p:cNvSpPr/>
            <p:nvPr/>
          </p:nvSpPr>
          <p:spPr>
            <a:xfrm>
              <a:off x="2308910" y="1403954"/>
              <a:ext cx="145140" cy="173592"/>
            </a:xfrm>
            <a:custGeom>
              <a:avLst/>
              <a:gdLst>
                <a:gd name="connsiteX0" fmla="*/ 98142 w 145140"/>
                <a:gd name="connsiteY0" fmla="*/ 40086 h 173592"/>
                <a:gd name="connsiteX1" fmla="*/ 72455 w 145140"/>
                <a:gd name="connsiteY1" fmla="*/ 30410 h 173592"/>
                <a:gd name="connsiteX2" fmla="*/ 47113 w 145140"/>
                <a:gd name="connsiteY2" fmla="*/ 40086 h 173592"/>
                <a:gd name="connsiteX3" fmla="*/ 35133 w 145140"/>
                <a:gd name="connsiteY3" fmla="*/ 86623 h 173592"/>
                <a:gd name="connsiteX4" fmla="*/ 47113 w 145140"/>
                <a:gd name="connsiteY4" fmla="*/ 133160 h 173592"/>
                <a:gd name="connsiteX5" fmla="*/ 72455 w 145140"/>
                <a:gd name="connsiteY5" fmla="*/ 143182 h 173592"/>
                <a:gd name="connsiteX6" fmla="*/ 98142 w 145140"/>
                <a:gd name="connsiteY6" fmla="*/ 133160 h 173592"/>
                <a:gd name="connsiteX7" fmla="*/ 110122 w 145140"/>
                <a:gd name="connsiteY7" fmla="*/ 86623 h 173592"/>
                <a:gd name="connsiteX8" fmla="*/ 98142 w 145140"/>
                <a:gd name="connsiteY8" fmla="*/ 40086 h 173592"/>
                <a:gd name="connsiteX9" fmla="*/ 124521 w 145140"/>
                <a:gd name="connsiteY9" fmla="*/ 153549 h 173592"/>
                <a:gd name="connsiteX10" fmla="*/ 72340 w 145140"/>
                <a:gd name="connsiteY10" fmla="*/ 173592 h 173592"/>
                <a:gd name="connsiteX11" fmla="*/ 20619 w 145140"/>
                <a:gd name="connsiteY11" fmla="*/ 153549 h 173592"/>
                <a:gd name="connsiteX12" fmla="*/ 0 w 145140"/>
                <a:gd name="connsiteY12" fmla="*/ 86623 h 173592"/>
                <a:gd name="connsiteX13" fmla="*/ 20619 w 145140"/>
                <a:gd name="connsiteY13" fmla="*/ 20043 h 173592"/>
                <a:gd name="connsiteX14" fmla="*/ 72340 w 145140"/>
                <a:gd name="connsiteY14" fmla="*/ 0 h 173592"/>
                <a:gd name="connsiteX15" fmla="*/ 124521 w 145140"/>
                <a:gd name="connsiteY15" fmla="*/ 20043 h 173592"/>
                <a:gd name="connsiteX16" fmla="*/ 145140 w 145140"/>
                <a:gd name="connsiteY16" fmla="*/ 86623 h 173592"/>
                <a:gd name="connsiteX17" fmla="*/ 124521 w 145140"/>
                <a:gd name="connsiteY17" fmla="*/ 153549 h 173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5140" h="173592">
                  <a:moveTo>
                    <a:pt x="98142" y="40086"/>
                  </a:moveTo>
                  <a:cubicBezTo>
                    <a:pt x="91576" y="33751"/>
                    <a:pt x="82707" y="30410"/>
                    <a:pt x="72455" y="30410"/>
                  </a:cubicBezTo>
                  <a:cubicBezTo>
                    <a:pt x="62203" y="30410"/>
                    <a:pt x="53564" y="33751"/>
                    <a:pt x="47113" y="40086"/>
                  </a:cubicBezTo>
                  <a:cubicBezTo>
                    <a:pt x="36515" y="50453"/>
                    <a:pt x="35133" y="68193"/>
                    <a:pt x="35133" y="86623"/>
                  </a:cubicBezTo>
                  <a:cubicBezTo>
                    <a:pt x="35133" y="105054"/>
                    <a:pt x="36515" y="122793"/>
                    <a:pt x="47113" y="133160"/>
                  </a:cubicBezTo>
                  <a:cubicBezTo>
                    <a:pt x="53679" y="139496"/>
                    <a:pt x="62203" y="143182"/>
                    <a:pt x="72455" y="143182"/>
                  </a:cubicBezTo>
                  <a:cubicBezTo>
                    <a:pt x="82707" y="143182"/>
                    <a:pt x="91692" y="139496"/>
                    <a:pt x="98142" y="133160"/>
                  </a:cubicBezTo>
                  <a:cubicBezTo>
                    <a:pt x="108740" y="122793"/>
                    <a:pt x="110122" y="105054"/>
                    <a:pt x="110122" y="86623"/>
                  </a:cubicBezTo>
                  <a:cubicBezTo>
                    <a:pt x="110122" y="68193"/>
                    <a:pt x="108740" y="50453"/>
                    <a:pt x="98142" y="40086"/>
                  </a:cubicBezTo>
                  <a:moveTo>
                    <a:pt x="124521" y="153549"/>
                  </a:moveTo>
                  <a:cubicBezTo>
                    <a:pt x="113232" y="164953"/>
                    <a:pt x="96069" y="173592"/>
                    <a:pt x="72340" y="173592"/>
                  </a:cubicBezTo>
                  <a:cubicBezTo>
                    <a:pt x="48610" y="173592"/>
                    <a:pt x="31908" y="164953"/>
                    <a:pt x="20619" y="153549"/>
                  </a:cubicBezTo>
                  <a:cubicBezTo>
                    <a:pt x="4147" y="136846"/>
                    <a:pt x="0" y="115421"/>
                    <a:pt x="0" y="86623"/>
                  </a:cubicBezTo>
                  <a:cubicBezTo>
                    <a:pt x="0" y="57826"/>
                    <a:pt x="4147" y="36746"/>
                    <a:pt x="20619" y="20043"/>
                  </a:cubicBezTo>
                  <a:cubicBezTo>
                    <a:pt x="31908" y="8639"/>
                    <a:pt x="48726" y="0"/>
                    <a:pt x="72340" y="0"/>
                  </a:cubicBezTo>
                  <a:cubicBezTo>
                    <a:pt x="95954" y="0"/>
                    <a:pt x="113117" y="8639"/>
                    <a:pt x="124521" y="20043"/>
                  </a:cubicBezTo>
                  <a:cubicBezTo>
                    <a:pt x="140993" y="36746"/>
                    <a:pt x="145140" y="58171"/>
                    <a:pt x="145140" y="86623"/>
                  </a:cubicBezTo>
                  <a:cubicBezTo>
                    <a:pt x="145140" y="115075"/>
                    <a:pt x="140993" y="136846"/>
                    <a:pt x="124521" y="153549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977EFB6-6F74-6374-830C-C1B1BFA96CD4}"/>
                </a:ext>
              </a:extLst>
            </p:cNvPr>
            <p:cNvSpPr/>
            <p:nvPr/>
          </p:nvSpPr>
          <p:spPr>
            <a:xfrm>
              <a:off x="2496901" y="1337259"/>
              <a:ext cx="69344" cy="238214"/>
            </a:xfrm>
            <a:custGeom>
              <a:avLst/>
              <a:gdLst>
                <a:gd name="connsiteX0" fmla="*/ 47689 w 69344"/>
                <a:gd name="connsiteY0" fmla="*/ 238214 h 238214"/>
                <a:gd name="connsiteX1" fmla="*/ 0 w 69344"/>
                <a:gd name="connsiteY1" fmla="*/ 191332 h 238214"/>
                <a:gd name="connsiteX2" fmla="*/ 0 w 69344"/>
                <a:gd name="connsiteY2" fmla="*/ 0 h 238214"/>
                <a:gd name="connsiteX3" fmla="*/ 35018 w 69344"/>
                <a:gd name="connsiteY3" fmla="*/ 0 h 238214"/>
                <a:gd name="connsiteX4" fmla="*/ 35018 w 69344"/>
                <a:gd name="connsiteY4" fmla="*/ 189373 h 238214"/>
                <a:gd name="connsiteX5" fmla="*/ 53909 w 69344"/>
                <a:gd name="connsiteY5" fmla="*/ 209071 h 238214"/>
                <a:gd name="connsiteX6" fmla="*/ 69345 w 69344"/>
                <a:gd name="connsiteY6" fmla="*/ 209071 h 238214"/>
                <a:gd name="connsiteX7" fmla="*/ 69345 w 69344"/>
                <a:gd name="connsiteY7" fmla="*/ 238214 h 238214"/>
                <a:gd name="connsiteX8" fmla="*/ 47689 w 69344"/>
                <a:gd name="connsiteY8" fmla="*/ 238214 h 2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344" h="238214">
                  <a:moveTo>
                    <a:pt x="47689" y="238214"/>
                  </a:moveTo>
                  <a:cubicBezTo>
                    <a:pt x="14399" y="238214"/>
                    <a:pt x="0" y="216443"/>
                    <a:pt x="0" y="191332"/>
                  </a:cubicBezTo>
                  <a:lnTo>
                    <a:pt x="0" y="0"/>
                  </a:lnTo>
                  <a:lnTo>
                    <a:pt x="35018" y="0"/>
                  </a:lnTo>
                  <a:lnTo>
                    <a:pt x="35018" y="189373"/>
                  </a:lnTo>
                  <a:cubicBezTo>
                    <a:pt x="35018" y="202390"/>
                    <a:pt x="39856" y="209071"/>
                    <a:pt x="53909" y="209071"/>
                  </a:cubicBezTo>
                  <a:lnTo>
                    <a:pt x="69345" y="209071"/>
                  </a:lnTo>
                  <a:lnTo>
                    <a:pt x="69345" y="238214"/>
                  </a:lnTo>
                  <a:lnTo>
                    <a:pt x="47689" y="238214"/>
                  </a:lnTo>
                  <a:close/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7078CF3-915F-0B77-89CD-7F912A82EECF}"/>
                </a:ext>
              </a:extLst>
            </p:cNvPr>
            <p:cNvSpPr/>
            <p:nvPr/>
          </p:nvSpPr>
          <p:spPr>
            <a:xfrm>
              <a:off x="1142721" y="576886"/>
              <a:ext cx="652669" cy="809581"/>
            </a:xfrm>
            <a:custGeom>
              <a:avLst/>
              <a:gdLst>
                <a:gd name="connsiteX0" fmla="*/ 652094 w 652669"/>
                <a:gd name="connsiteY0" fmla="*/ 592771 h 809581"/>
                <a:gd name="connsiteX1" fmla="*/ 651979 w 652669"/>
                <a:gd name="connsiteY1" fmla="*/ 591964 h 809581"/>
                <a:gd name="connsiteX2" fmla="*/ 648984 w 652669"/>
                <a:gd name="connsiteY2" fmla="*/ 584477 h 809581"/>
                <a:gd name="connsiteX3" fmla="*/ 644952 w 652669"/>
                <a:gd name="connsiteY3" fmla="*/ 578026 h 809581"/>
                <a:gd name="connsiteX4" fmla="*/ 640229 w 652669"/>
                <a:gd name="connsiteY4" fmla="*/ 571921 h 809581"/>
                <a:gd name="connsiteX5" fmla="*/ 635276 w 652669"/>
                <a:gd name="connsiteY5" fmla="*/ 565701 h 809581"/>
                <a:gd name="connsiteX6" fmla="*/ 632857 w 652669"/>
                <a:gd name="connsiteY6" fmla="*/ 562706 h 809581"/>
                <a:gd name="connsiteX7" fmla="*/ 630553 w 652669"/>
                <a:gd name="connsiteY7" fmla="*/ 559826 h 809581"/>
                <a:gd name="connsiteX8" fmla="*/ 628480 w 652669"/>
                <a:gd name="connsiteY8" fmla="*/ 557062 h 809581"/>
                <a:gd name="connsiteX9" fmla="*/ 626637 w 652669"/>
                <a:gd name="connsiteY9" fmla="*/ 554527 h 809581"/>
                <a:gd name="connsiteX10" fmla="*/ 624333 w 652669"/>
                <a:gd name="connsiteY10" fmla="*/ 551072 h 809581"/>
                <a:gd name="connsiteX11" fmla="*/ 626406 w 652669"/>
                <a:gd name="connsiteY11" fmla="*/ 550496 h 809581"/>
                <a:gd name="connsiteX12" fmla="*/ 629401 w 652669"/>
                <a:gd name="connsiteY12" fmla="*/ 549920 h 809581"/>
                <a:gd name="connsiteX13" fmla="*/ 633087 w 652669"/>
                <a:gd name="connsiteY13" fmla="*/ 549459 h 809581"/>
                <a:gd name="connsiteX14" fmla="*/ 637119 w 652669"/>
                <a:gd name="connsiteY14" fmla="*/ 549229 h 809581"/>
                <a:gd name="connsiteX15" fmla="*/ 639653 w 652669"/>
                <a:gd name="connsiteY15" fmla="*/ 549114 h 809581"/>
                <a:gd name="connsiteX16" fmla="*/ 642072 w 652669"/>
                <a:gd name="connsiteY16" fmla="*/ 548883 h 809581"/>
                <a:gd name="connsiteX17" fmla="*/ 644491 w 652669"/>
                <a:gd name="connsiteY17" fmla="*/ 548538 h 809581"/>
                <a:gd name="connsiteX18" fmla="*/ 646795 w 652669"/>
                <a:gd name="connsiteY18" fmla="*/ 547962 h 809581"/>
                <a:gd name="connsiteX19" fmla="*/ 648753 w 652669"/>
                <a:gd name="connsiteY19" fmla="*/ 547040 h 809581"/>
                <a:gd name="connsiteX20" fmla="*/ 650596 w 652669"/>
                <a:gd name="connsiteY20" fmla="*/ 545658 h 809581"/>
                <a:gd name="connsiteX21" fmla="*/ 651979 w 652669"/>
                <a:gd name="connsiteY21" fmla="*/ 543354 h 809581"/>
                <a:gd name="connsiteX22" fmla="*/ 652439 w 652669"/>
                <a:gd name="connsiteY22" fmla="*/ 539668 h 809581"/>
                <a:gd name="connsiteX23" fmla="*/ 652209 w 652669"/>
                <a:gd name="connsiteY23" fmla="*/ 537940 h 809581"/>
                <a:gd name="connsiteX24" fmla="*/ 650712 w 652669"/>
                <a:gd name="connsiteY24" fmla="*/ 533563 h 809581"/>
                <a:gd name="connsiteX25" fmla="*/ 648753 w 652669"/>
                <a:gd name="connsiteY25" fmla="*/ 529992 h 809581"/>
                <a:gd name="connsiteX26" fmla="*/ 646450 w 652669"/>
                <a:gd name="connsiteY26" fmla="*/ 526767 h 809581"/>
                <a:gd name="connsiteX27" fmla="*/ 644030 w 652669"/>
                <a:gd name="connsiteY27" fmla="*/ 523772 h 809581"/>
                <a:gd name="connsiteX28" fmla="*/ 640114 w 652669"/>
                <a:gd name="connsiteY28" fmla="*/ 519510 h 809581"/>
                <a:gd name="connsiteX29" fmla="*/ 635967 w 652669"/>
                <a:gd name="connsiteY29" fmla="*/ 515132 h 809581"/>
                <a:gd name="connsiteX30" fmla="*/ 631820 w 652669"/>
                <a:gd name="connsiteY30" fmla="*/ 510870 h 809581"/>
                <a:gd name="connsiteX31" fmla="*/ 627904 w 652669"/>
                <a:gd name="connsiteY31" fmla="*/ 506839 h 809581"/>
                <a:gd name="connsiteX32" fmla="*/ 626061 w 652669"/>
                <a:gd name="connsiteY32" fmla="*/ 504880 h 809581"/>
                <a:gd name="connsiteX33" fmla="*/ 624448 w 652669"/>
                <a:gd name="connsiteY33" fmla="*/ 503037 h 809581"/>
                <a:gd name="connsiteX34" fmla="*/ 623066 w 652669"/>
                <a:gd name="connsiteY34" fmla="*/ 501425 h 809581"/>
                <a:gd name="connsiteX35" fmla="*/ 621914 w 652669"/>
                <a:gd name="connsiteY35" fmla="*/ 499927 h 809581"/>
                <a:gd name="connsiteX36" fmla="*/ 621453 w 652669"/>
                <a:gd name="connsiteY36" fmla="*/ 499236 h 809581"/>
                <a:gd name="connsiteX37" fmla="*/ 621914 w 652669"/>
                <a:gd name="connsiteY37" fmla="*/ 498775 h 809581"/>
                <a:gd name="connsiteX38" fmla="*/ 622490 w 652669"/>
                <a:gd name="connsiteY38" fmla="*/ 498430 h 809581"/>
                <a:gd name="connsiteX39" fmla="*/ 623296 w 652669"/>
                <a:gd name="connsiteY39" fmla="*/ 497969 h 809581"/>
                <a:gd name="connsiteX40" fmla="*/ 624218 w 652669"/>
                <a:gd name="connsiteY40" fmla="*/ 497623 h 809581"/>
                <a:gd name="connsiteX41" fmla="*/ 627098 w 652669"/>
                <a:gd name="connsiteY41" fmla="*/ 496587 h 809581"/>
                <a:gd name="connsiteX42" fmla="*/ 630323 w 652669"/>
                <a:gd name="connsiteY42" fmla="*/ 495550 h 809581"/>
                <a:gd name="connsiteX43" fmla="*/ 633663 w 652669"/>
                <a:gd name="connsiteY43" fmla="*/ 494513 h 809581"/>
                <a:gd name="connsiteX44" fmla="*/ 637004 w 652669"/>
                <a:gd name="connsiteY44" fmla="*/ 493361 h 809581"/>
                <a:gd name="connsiteX45" fmla="*/ 639999 w 652669"/>
                <a:gd name="connsiteY45" fmla="*/ 491979 h 809581"/>
                <a:gd name="connsiteX46" fmla="*/ 642763 w 652669"/>
                <a:gd name="connsiteY46" fmla="*/ 490251 h 809581"/>
                <a:gd name="connsiteX47" fmla="*/ 644606 w 652669"/>
                <a:gd name="connsiteY47" fmla="*/ 487141 h 809581"/>
                <a:gd name="connsiteX48" fmla="*/ 644952 w 652669"/>
                <a:gd name="connsiteY48" fmla="*/ 481842 h 809581"/>
                <a:gd name="connsiteX49" fmla="*/ 644952 w 652669"/>
                <a:gd name="connsiteY49" fmla="*/ 481842 h 809581"/>
                <a:gd name="connsiteX50" fmla="*/ 643339 w 652669"/>
                <a:gd name="connsiteY50" fmla="*/ 477119 h 809581"/>
                <a:gd name="connsiteX51" fmla="*/ 641036 w 652669"/>
                <a:gd name="connsiteY51" fmla="*/ 473318 h 809581"/>
                <a:gd name="connsiteX52" fmla="*/ 638501 w 652669"/>
                <a:gd name="connsiteY52" fmla="*/ 470208 h 809581"/>
                <a:gd name="connsiteX53" fmla="*/ 635852 w 652669"/>
                <a:gd name="connsiteY53" fmla="*/ 467443 h 809581"/>
                <a:gd name="connsiteX54" fmla="*/ 631590 w 652669"/>
                <a:gd name="connsiteY54" fmla="*/ 463527 h 809581"/>
                <a:gd name="connsiteX55" fmla="*/ 627098 w 652669"/>
                <a:gd name="connsiteY55" fmla="*/ 459726 h 809581"/>
                <a:gd name="connsiteX56" fmla="*/ 622605 w 652669"/>
                <a:gd name="connsiteY56" fmla="*/ 456040 h 809581"/>
                <a:gd name="connsiteX57" fmla="*/ 618343 w 652669"/>
                <a:gd name="connsiteY57" fmla="*/ 452469 h 809581"/>
                <a:gd name="connsiteX58" fmla="*/ 616385 w 652669"/>
                <a:gd name="connsiteY58" fmla="*/ 450741 h 809581"/>
                <a:gd name="connsiteX59" fmla="*/ 614542 w 652669"/>
                <a:gd name="connsiteY59" fmla="*/ 449128 h 809581"/>
                <a:gd name="connsiteX60" fmla="*/ 613044 w 652669"/>
                <a:gd name="connsiteY60" fmla="*/ 447631 h 809581"/>
                <a:gd name="connsiteX61" fmla="*/ 611777 w 652669"/>
                <a:gd name="connsiteY61" fmla="*/ 446364 h 809581"/>
                <a:gd name="connsiteX62" fmla="*/ 611201 w 652669"/>
                <a:gd name="connsiteY62" fmla="*/ 445903 h 809581"/>
                <a:gd name="connsiteX63" fmla="*/ 612583 w 652669"/>
                <a:gd name="connsiteY63" fmla="*/ 444521 h 809581"/>
                <a:gd name="connsiteX64" fmla="*/ 614772 w 652669"/>
                <a:gd name="connsiteY64" fmla="*/ 442793 h 809581"/>
                <a:gd name="connsiteX65" fmla="*/ 617421 w 652669"/>
                <a:gd name="connsiteY65" fmla="*/ 440834 h 809581"/>
                <a:gd name="connsiteX66" fmla="*/ 620416 w 652669"/>
                <a:gd name="connsiteY66" fmla="*/ 439107 h 809581"/>
                <a:gd name="connsiteX67" fmla="*/ 624103 w 652669"/>
                <a:gd name="connsiteY67" fmla="*/ 436688 h 809581"/>
                <a:gd name="connsiteX68" fmla="*/ 627443 w 652669"/>
                <a:gd name="connsiteY68" fmla="*/ 434269 h 809581"/>
                <a:gd name="connsiteX69" fmla="*/ 629862 w 652669"/>
                <a:gd name="connsiteY69" fmla="*/ 430582 h 809581"/>
                <a:gd name="connsiteX70" fmla="*/ 630438 w 652669"/>
                <a:gd name="connsiteY70" fmla="*/ 424593 h 809581"/>
                <a:gd name="connsiteX71" fmla="*/ 630092 w 652669"/>
                <a:gd name="connsiteY71" fmla="*/ 422980 h 809581"/>
                <a:gd name="connsiteX72" fmla="*/ 627904 w 652669"/>
                <a:gd name="connsiteY72" fmla="*/ 418487 h 809581"/>
                <a:gd name="connsiteX73" fmla="*/ 625370 w 652669"/>
                <a:gd name="connsiteY73" fmla="*/ 415032 h 809581"/>
                <a:gd name="connsiteX74" fmla="*/ 622605 w 652669"/>
                <a:gd name="connsiteY74" fmla="*/ 412382 h 809581"/>
                <a:gd name="connsiteX75" fmla="*/ 619840 w 652669"/>
                <a:gd name="connsiteY75" fmla="*/ 409963 h 809581"/>
                <a:gd name="connsiteX76" fmla="*/ 615463 w 652669"/>
                <a:gd name="connsiteY76" fmla="*/ 406853 h 809581"/>
                <a:gd name="connsiteX77" fmla="*/ 610971 w 652669"/>
                <a:gd name="connsiteY77" fmla="*/ 403858 h 809581"/>
                <a:gd name="connsiteX78" fmla="*/ 606363 w 652669"/>
                <a:gd name="connsiteY78" fmla="*/ 400978 h 809581"/>
                <a:gd name="connsiteX79" fmla="*/ 601986 w 652669"/>
                <a:gd name="connsiteY79" fmla="*/ 398099 h 809581"/>
                <a:gd name="connsiteX80" fmla="*/ 600028 w 652669"/>
                <a:gd name="connsiteY80" fmla="*/ 396716 h 809581"/>
                <a:gd name="connsiteX81" fmla="*/ 598185 w 652669"/>
                <a:gd name="connsiteY81" fmla="*/ 395334 h 809581"/>
                <a:gd name="connsiteX82" fmla="*/ 596572 w 652669"/>
                <a:gd name="connsiteY82" fmla="*/ 394182 h 809581"/>
                <a:gd name="connsiteX83" fmla="*/ 595190 w 652669"/>
                <a:gd name="connsiteY83" fmla="*/ 393145 h 809581"/>
                <a:gd name="connsiteX84" fmla="*/ 594614 w 652669"/>
                <a:gd name="connsiteY84" fmla="*/ 392685 h 809581"/>
                <a:gd name="connsiteX85" fmla="*/ 595650 w 652669"/>
                <a:gd name="connsiteY85" fmla="*/ 390957 h 809581"/>
                <a:gd name="connsiteX86" fmla="*/ 597263 w 652669"/>
                <a:gd name="connsiteY86" fmla="*/ 388768 h 809581"/>
                <a:gd name="connsiteX87" fmla="*/ 599452 w 652669"/>
                <a:gd name="connsiteY87" fmla="*/ 386234 h 809581"/>
                <a:gd name="connsiteX88" fmla="*/ 601871 w 652669"/>
                <a:gd name="connsiteY88" fmla="*/ 383700 h 809581"/>
                <a:gd name="connsiteX89" fmla="*/ 604635 w 652669"/>
                <a:gd name="connsiteY89" fmla="*/ 380590 h 809581"/>
                <a:gd name="connsiteX90" fmla="*/ 607170 w 652669"/>
                <a:gd name="connsiteY90" fmla="*/ 377480 h 809581"/>
                <a:gd name="connsiteX91" fmla="*/ 608897 w 652669"/>
                <a:gd name="connsiteY91" fmla="*/ 373563 h 809581"/>
                <a:gd name="connsiteX92" fmla="*/ 609128 w 652669"/>
                <a:gd name="connsiteY92" fmla="*/ 367919 h 809581"/>
                <a:gd name="connsiteX93" fmla="*/ 608206 w 652669"/>
                <a:gd name="connsiteY93" fmla="*/ 364809 h 809581"/>
                <a:gd name="connsiteX94" fmla="*/ 605557 w 652669"/>
                <a:gd name="connsiteY94" fmla="*/ 360431 h 809581"/>
                <a:gd name="connsiteX95" fmla="*/ 602792 w 652669"/>
                <a:gd name="connsiteY95" fmla="*/ 357321 h 809581"/>
                <a:gd name="connsiteX96" fmla="*/ 599913 w 652669"/>
                <a:gd name="connsiteY96" fmla="*/ 355017 h 809581"/>
                <a:gd name="connsiteX97" fmla="*/ 597148 w 652669"/>
                <a:gd name="connsiteY97" fmla="*/ 353059 h 809581"/>
                <a:gd name="connsiteX98" fmla="*/ 592771 w 652669"/>
                <a:gd name="connsiteY98" fmla="*/ 350640 h 809581"/>
                <a:gd name="connsiteX99" fmla="*/ 588163 w 652669"/>
                <a:gd name="connsiteY99" fmla="*/ 348336 h 809581"/>
                <a:gd name="connsiteX100" fmla="*/ 583671 w 652669"/>
                <a:gd name="connsiteY100" fmla="*/ 346148 h 809581"/>
                <a:gd name="connsiteX101" fmla="*/ 579293 w 652669"/>
                <a:gd name="connsiteY101" fmla="*/ 343959 h 809581"/>
                <a:gd name="connsiteX102" fmla="*/ 577335 w 652669"/>
                <a:gd name="connsiteY102" fmla="*/ 342922 h 809581"/>
                <a:gd name="connsiteX103" fmla="*/ 575492 w 652669"/>
                <a:gd name="connsiteY103" fmla="*/ 341886 h 809581"/>
                <a:gd name="connsiteX104" fmla="*/ 573879 w 652669"/>
                <a:gd name="connsiteY104" fmla="*/ 340964 h 809581"/>
                <a:gd name="connsiteX105" fmla="*/ 572497 w 652669"/>
                <a:gd name="connsiteY105" fmla="*/ 340043 h 809581"/>
                <a:gd name="connsiteX106" fmla="*/ 572036 w 652669"/>
                <a:gd name="connsiteY106" fmla="*/ 339812 h 809581"/>
                <a:gd name="connsiteX107" fmla="*/ 572612 w 652669"/>
                <a:gd name="connsiteY107" fmla="*/ 337854 h 809581"/>
                <a:gd name="connsiteX108" fmla="*/ 573649 w 652669"/>
                <a:gd name="connsiteY108" fmla="*/ 335435 h 809581"/>
                <a:gd name="connsiteX109" fmla="*/ 575031 w 652669"/>
                <a:gd name="connsiteY109" fmla="*/ 332670 h 809581"/>
                <a:gd name="connsiteX110" fmla="*/ 576644 w 652669"/>
                <a:gd name="connsiteY110" fmla="*/ 329906 h 809581"/>
                <a:gd name="connsiteX111" fmla="*/ 578717 w 652669"/>
                <a:gd name="connsiteY111" fmla="*/ 326105 h 809581"/>
                <a:gd name="connsiteX112" fmla="*/ 580676 w 652669"/>
                <a:gd name="connsiteY112" fmla="*/ 322303 h 809581"/>
                <a:gd name="connsiteX113" fmla="*/ 581943 w 652669"/>
                <a:gd name="connsiteY113" fmla="*/ 318041 h 809581"/>
                <a:gd name="connsiteX114" fmla="*/ 581943 w 652669"/>
                <a:gd name="connsiteY114" fmla="*/ 312742 h 809581"/>
                <a:gd name="connsiteX115" fmla="*/ 581712 w 652669"/>
                <a:gd name="connsiteY115" fmla="*/ 311591 h 809581"/>
                <a:gd name="connsiteX116" fmla="*/ 581367 w 652669"/>
                <a:gd name="connsiteY116" fmla="*/ 310323 h 809581"/>
                <a:gd name="connsiteX117" fmla="*/ 580791 w 652669"/>
                <a:gd name="connsiteY117" fmla="*/ 308941 h 809581"/>
                <a:gd name="connsiteX118" fmla="*/ 580100 w 652669"/>
                <a:gd name="connsiteY118" fmla="*/ 307559 h 809581"/>
                <a:gd name="connsiteX119" fmla="*/ 576183 w 652669"/>
                <a:gd name="connsiteY119" fmla="*/ 302606 h 809581"/>
                <a:gd name="connsiteX120" fmla="*/ 572497 w 652669"/>
                <a:gd name="connsiteY120" fmla="*/ 299611 h 809581"/>
                <a:gd name="connsiteX121" fmla="*/ 568811 w 652669"/>
                <a:gd name="connsiteY121" fmla="*/ 297653 h 809581"/>
                <a:gd name="connsiteX122" fmla="*/ 565125 w 652669"/>
                <a:gd name="connsiteY122" fmla="*/ 296040 h 809581"/>
                <a:gd name="connsiteX123" fmla="*/ 561093 w 652669"/>
                <a:gd name="connsiteY123" fmla="*/ 294658 h 809581"/>
                <a:gd name="connsiteX124" fmla="*/ 557062 w 652669"/>
                <a:gd name="connsiteY124" fmla="*/ 293390 h 809581"/>
                <a:gd name="connsiteX125" fmla="*/ 553030 w 652669"/>
                <a:gd name="connsiteY125" fmla="*/ 292123 h 809581"/>
                <a:gd name="connsiteX126" fmla="*/ 549344 w 652669"/>
                <a:gd name="connsiteY126" fmla="*/ 290741 h 809581"/>
                <a:gd name="connsiteX127" fmla="*/ 549113 w 652669"/>
                <a:gd name="connsiteY127" fmla="*/ 290741 h 809581"/>
                <a:gd name="connsiteX128" fmla="*/ 548883 w 652669"/>
                <a:gd name="connsiteY128" fmla="*/ 290741 h 809581"/>
                <a:gd name="connsiteX129" fmla="*/ 548653 w 652669"/>
                <a:gd name="connsiteY129" fmla="*/ 290741 h 809581"/>
                <a:gd name="connsiteX130" fmla="*/ 548422 w 652669"/>
                <a:gd name="connsiteY130" fmla="*/ 290741 h 809581"/>
                <a:gd name="connsiteX131" fmla="*/ 548192 w 652669"/>
                <a:gd name="connsiteY131" fmla="*/ 290741 h 809581"/>
                <a:gd name="connsiteX132" fmla="*/ 547962 w 652669"/>
                <a:gd name="connsiteY132" fmla="*/ 290626 h 809581"/>
                <a:gd name="connsiteX133" fmla="*/ 547731 w 652669"/>
                <a:gd name="connsiteY133" fmla="*/ 290626 h 809581"/>
                <a:gd name="connsiteX134" fmla="*/ 547501 w 652669"/>
                <a:gd name="connsiteY134" fmla="*/ 290626 h 809581"/>
                <a:gd name="connsiteX135" fmla="*/ 546464 w 652669"/>
                <a:gd name="connsiteY135" fmla="*/ 290165 h 809581"/>
                <a:gd name="connsiteX136" fmla="*/ 545543 w 652669"/>
                <a:gd name="connsiteY136" fmla="*/ 289704 h 809581"/>
                <a:gd name="connsiteX137" fmla="*/ 544736 w 652669"/>
                <a:gd name="connsiteY137" fmla="*/ 289359 h 809581"/>
                <a:gd name="connsiteX138" fmla="*/ 544045 w 652669"/>
                <a:gd name="connsiteY138" fmla="*/ 289013 h 809581"/>
                <a:gd name="connsiteX139" fmla="*/ 544275 w 652669"/>
                <a:gd name="connsiteY139" fmla="*/ 286825 h 809581"/>
                <a:gd name="connsiteX140" fmla="*/ 544851 w 652669"/>
                <a:gd name="connsiteY140" fmla="*/ 284060 h 809581"/>
                <a:gd name="connsiteX141" fmla="*/ 545658 w 652669"/>
                <a:gd name="connsiteY141" fmla="*/ 280835 h 809581"/>
                <a:gd name="connsiteX142" fmla="*/ 546694 w 652669"/>
                <a:gd name="connsiteY142" fmla="*/ 277494 h 809581"/>
                <a:gd name="connsiteX143" fmla="*/ 547962 w 652669"/>
                <a:gd name="connsiteY143" fmla="*/ 273462 h 809581"/>
                <a:gd name="connsiteX144" fmla="*/ 549113 w 652669"/>
                <a:gd name="connsiteY144" fmla="*/ 269316 h 809581"/>
                <a:gd name="connsiteX145" fmla="*/ 549689 w 652669"/>
                <a:gd name="connsiteY145" fmla="*/ 265054 h 809581"/>
                <a:gd name="connsiteX146" fmla="*/ 549459 w 652669"/>
                <a:gd name="connsiteY146" fmla="*/ 260216 h 809581"/>
                <a:gd name="connsiteX147" fmla="*/ 549113 w 652669"/>
                <a:gd name="connsiteY147" fmla="*/ 258718 h 809581"/>
                <a:gd name="connsiteX148" fmla="*/ 548538 w 652669"/>
                <a:gd name="connsiteY148" fmla="*/ 256990 h 809581"/>
                <a:gd name="connsiteX149" fmla="*/ 547616 w 652669"/>
                <a:gd name="connsiteY149" fmla="*/ 255032 h 809581"/>
                <a:gd name="connsiteX150" fmla="*/ 546464 w 652669"/>
                <a:gd name="connsiteY150" fmla="*/ 253074 h 809581"/>
                <a:gd name="connsiteX151" fmla="*/ 543930 w 652669"/>
                <a:gd name="connsiteY151" fmla="*/ 250079 h 809581"/>
                <a:gd name="connsiteX152" fmla="*/ 541396 w 652669"/>
                <a:gd name="connsiteY152" fmla="*/ 248005 h 809581"/>
                <a:gd name="connsiteX153" fmla="*/ 539092 w 652669"/>
                <a:gd name="connsiteY153" fmla="*/ 246623 h 809581"/>
                <a:gd name="connsiteX154" fmla="*/ 536903 w 652669"/>
                <a:gd name="connsiteY154" fmla="*/ 245702 h 809581"/>
                <a:gd name="connsiteX155" fmla="*/ 530107 w 652669"/>
                <a:gd name="connsiteY155" fmla="*/ 243858 h 809581"/>
                <a:gd name="connsiteX156" fmla="*/ 523080 w 652669"/>
                <a:gd name="connsiteY156" fmla="*/ 242707 h 809581"/>
                <a:gd name="connsiteX157" fmla="*/ 516630 w 652669"/>
                <a:gd name="connsiteY157" fmla="*/ 241785 h 809581"/>
                <a:gd name="connsiteX158" fmla="*/ 511561 w 652669"/>
                <a:gd name="connsiteY158" fmla="*/ 240518 h 809581"/>
                <a:gd name="connsiteX159" fmla="*/ 511561 w 652669"/>
                <a:gd name="connsiteY159" fmla="*/ 240518 h 809581"/>
                <a:gd name="connsiteX160" fmla="*/ 511561 w 652669"/>
                <a:gd name="connsiteY160" fmla="*/ 240518 h 809581"/>
                <a:gd name="connsiteX161" fmla="*/ 511561 w 652669"/>
                <a:gd name="connsiteY161" fmla="*/ 240518 h 809581"/>
                <a:gd name="connsiteX162" fmla="*/ 511446 w 652669"/>
                <a:gd name="connsiteY162" fmla="*/ 240518 h 809581"/>
                <a:gd name="connsiteX163" fmla="*/ 511101 w 652669"/>
                <a:gd name="connsiteY163" fmla="*/ 240518 h 809581"/>
                <a:gd name="connsiteX164" fmla="*/ 511101 w 652669"/>
                <a:gd name="connsiteY164" fmla="*/ 234758 h 809581"/>
                <a:gd name="connsiteX165" fmla="*/ 511907 w 652669"/>
                <a:gd name="connsiteY165" fmla="*/ 227386 h 809581"/>
                <a:gd name="connsiteX166" fmla="*/ 512598 w 652669"/>
                <a:gd name="connsiteY166" fmla="*/ 219208 h 809581"/>
                <a:gd name="connsiteX167" fmla="*/ 512253 w 652669"/>
                <a:gd name="connsiteY167" fmla="*/ 211144 h 809581"/>
                <a:gd name="connsiteX168" fmla="*/ 511792 w 652669"/>
                <a:gd name="connsiteY168" fmla="*/ 209071 h 809581"/>
                <a:gd name="connsiteX169" fmla="*/ 510985 w 652669"/>
                <a:gd name="connsiteY169" fmla="*/ 206767 h 809581"/>
                <a:gd name="connsiteX170" fmla="*/ 509718 w 652669"/>
                <a:gd name="connsiteY170" fmla="*/ 204233 h 809581"/>
                <a:gd name="connsiteX171" fmla="*/ 507875 w 652669"/>
                <a:gd name="connsiteY171" fmla="*/ 201584 h 809581"/>
                <a:gd name="connsiteX172" fmla="*/ 506032 w 652669"/>
                <a:gd name="connsiteY172" fmla="*/ 199625 h 809581"/>
                <a:gd name="connsiteX173" fmla="*/ 504189 w 652669"/>
                <a:gd name="connsiteY173" fmla="*/ 198128 h 809581"/>
                <a:gd name="connsiteX174" fmla="*/ 502461 w 652669"/>
                <a:gd name="connsiteY174" fmla="*/ 196976 h 809581"/>
                <a:gd name="connsiteX175" fmla="*/ 500849 w 652669"/>
                <a:gd name="connsiteY175" fmla="*/ 196285 h 809581"/>
                <a:gd name="connsiteX176" fmla="*/ 493246 w 652669"/>
                <a:gd name="connsiteY176" fmla="*/ 194902 h 809581"/>
                <a:gd name="connsiteX177" fmla="*/ 485413 w 652669"/>
                <a:gd name="connsiteY177" fmla="*/ 194902 h 809581"/>
                <a:gd name="connsiteX178" fmla="*/ 478502 w 652669"/>
                <a:gd name="connsiteY178" fmla="*/ 195363 h 809581"/>
                <a:gd name="connsiteX179" fmla="*/ 473318 w 652669"/>
                <a:gd name="connsiteY179" fmla="*/ 194902 h 809581"/>
                <a:gd name="connsiteX180" fmla="*/ 472857 w 652669"/>
                <a:gd name="connsiteY180" fmla="*/ 192829 h 809581"/>
                <a:gd name="connsiteX181" fmla="*/ 472281 w 652669"/>
                <a:gd name="connsiteY181" fmla="*/ 187415 h 809581"/>
                <a:gd name="connsiteX182" fmla="*/ 471936 w 652669"/>
                <a:gd name="connsiteY182" fmla="*/ 181080 h 809581"/>
                <a:gd name="connsiteX183" fmla="*/ 471590 w 652669"/>
                <a:gd name="connsiteY183" fmla="*/ 174283 h 809581"/>
                <a:gd name="connsiteX184" fmla="*/ 470784 w 652669"/>
                <a:gd name="connsiteY184" fmla="*/ 167602 h 809581"/>
                <a:gd name="connsiteX185" fmla="*/ 470208 w 652669"/>
                <a:gd name="connsiteY185" fmla="*/ 164492 h 809581"/>
                <a:gd name="connsiteX186" fmla="*/ 469171 w 652669"/>
                <a:gd name="connsiteY186" fmla="*/ 161267 h 809581"/>
                <a:gd name="connsiteX187" fmla="*/ 467328 w 652669"/>
                <a:gd name="connsiteY187" fmla="*/ 157696 h 809581"/>
                <a:gd name="connsiteX188" fmla="*/ 464333 w 652669"/>
                <a:gd name="connsiteY188" fmla="*/ 153779 h 809581"/>
                <a:gd name="connsiteX189" fmla="*/ 462951 w 652669"/>
                <a:gd name="connsiteY189" fmla="*/ 152512 h 809581"/>
                <a:gd name="connsiteX190" fmla="*/ 461684 w 652669"/>
                <a:gd name="connsiteY190" fmla="*/ 151476 h 809581"/>
                <a:gd name="connsiteX191" fmla="*/ 460302 w 652669"/>
                <a:gd name="connsiteY191" fmla="*/ 150669 h 809581"/>
                <a:gd name="connsiteX192" fmla="*/ 459034 w 652669"/>
                <a:gd name="connsiteY192" fmla="*/ 150093 h 809581"/>
                <a:gd name="connsiteX193" fmla="*/ 454312 w 652669"/>
                <a:gd name="connsiteY193" fmla="*/ 149057 h 809581"/>
                <a:gd name="connsiteX194" fmla="*/ 450165 w 652669"/>
                <a:gd name="connsiteY194" fmla="*/ 149287 h 809581"/>
                <a:gd name="connsiteX195" fmla="*/ 446248 w 652669"/>
                <a:gd name="connsiteY195" fmla="*/ 150209 h 809581"/>
                <a:gd name="connsiteX196" fmla="*/ 442332 w 652669"/>
                <a:gd name="connsiteY196" fmla="*/ 151245 h 809581"/>
                <a:gd name="connsiteX197" fmla="*/ 439222 w 652669"/>
                <a:gd name="connsiteY197" fmla="*/ 152167 h 809581"/>
                <a:gd name="connsiteX198" fmla="*/ 436227 w 652669"/>
                <a:gd name="connsiteY198" fmla="*/ 152858 h 809581"/>
                <a:gd name="connsiteX199" fmla="*/ 433693 w 652669"/>
                <a:gd name="connsiteY199" fmla="*/ 153203 h 809581"/>
                <a:gd name="connsiteX200" fmla="*/ 431734 w 652669"/>
                <a:gd name="connsiteY200" fmla="*/ 153203 h 809581"/>
                <a:gd name="connsiteX201" fmla="*/ 430928 w 652669"/>
                <a:gd name="connsiteY201" fmla="*/ 150324 h 809581"/>
                <a:gd name="connsiteX202" fmla="*/ 429891 w 652669"/>
                <a:gd name="connsiteY202" fmla="*/ 146292 h 809581"/>
                <a:gd name="connsiteX203" fmla="*/ 428854 w 652669"/>
                <a:gd name="connsiteY203" fmla="*/ 141454 h 809581"/>
                <a:gd name="connsiteX204" fmla="*/ 428048 w 652669"/>
                <a:gd name="connsiteY204" fmla="*/ 136501 h 809581"/>
                <a:gd name="connsiteX205" fmla="*/ 427472 w 652669"/>
                <a:gd name="connsiteY205" fmla="*/ 133276 h 809581"/>
                <a:gd name="connsiteX206" fmla="*/ 426896 w 652669"/>
                <a:gd name="connsiteY206" fmla="*/ 130050 h 809581"/>
                <a:gd name="connsiteX207" fmla="*/ 426205 w 652669"/>
                <a:gd name="connsiteY207" fmla="*/ 126825 h 809581"/>
                <a:gd name="connsiteX208" fmla="*/ 425399 w 652669"/>
                <a:gd name="connsiteY208" fmla="*/ 123715 h 809581"/>
                <a:gd name="connsiteX209" fmla="*/ 424362 w 652669"/>
                <a:gd name="connsiteY209" fmla="*/ 120605 h 809581"/>
                <a:gd name="connsiteX210" fmla="*/ 422865 w 652669"/>
                <a:gd name="connsiteY210" fmla="*/ 117379 h 809581"/>
                <a:gd name="connsiteX211" fmla="*/ 420676 w 652669"/>
                <a:gd name="connsiteY211" fmla="*/ 113924 h 809581"/>
                <a:gd name="connsiteX212" fmla="*/ 417451 w 652669"/>
                <a:gd name="connsiteY212" fmla="*/ 110468 h 809581"/>
                <a:gd name="connsiteX213" fmla="*/ 416529 w 652669"/>
                <a:gd name="connsiteY213" fmla="*/ 109777 h 809581"/>
                <a:gd name="connsiteX214" fmla="*/ 415608 w 652669"/>
                <a:gd name="connsiteY214" fmla="*/ 109201 h 809581"/>
                <a:gd name="connsiteX215" fmla="*/ 414686 w 652669"/>
                <a:gd name="connsiteY215" fmla="*/ 108740 h 809581"/>
                <a:gd name="connsiteX216" fmla="*/ 413880 w 652669"/>
                <a:gd name="connsiteY216" fmla="*/ 108279 h 809581"/>
                <a:gd name="connsiteX217" fmla="*/ 408581 w 652669"/>
                <a:gd name="connsiteY217" fmla="*/ 107473 h 809581"/>
                <a:gd name="connsiteX218" fmla="*/ 404434 w 652669"/>
                <a:gd name="connsiteY218" fmla="*/ 108394 h 809581"/>
                <a:gd name="connsiteX219" fmla="*/ 400748 w 652669"/>
                <a:gd name="connsiteY219" fmla="*/ 110353 h 809581"/>
                <a:gd name="connsiteX220" fmla="*/ 396947 w 652669"/>
                <a:gd name="connsiteY220" fmla="*/ 112541 h 809581"/>
                <a:gd name="connsiteX221" fmla="*/ 395104 w 652669"/>
                <a:gd name="connsiteY221" fmla="*/ 113578 h 809581"/>
                <a:gd name="connsiteX222" fmla="*/ 393376 w 652669"/>
                <a:gd name="connsiteY222" fmla="*/ 114615 h 809581"/>
                <a:gd name="connsiteX223" fmla="*/ 391648 w 652669"/>
                <a:gd name="connsiteY223" fmla="*/ 115536 h 809581"/>
                <a:gd name="connsiteX224" fmla="*/ 390035 w 652669"/>
                <a:gd name="connsiteY224" fmla="*/ 116227 h 809581"/>
                <a:gd name="connsiteX225" fmla="*/ 389344 w 652669"/>
                <a:gd name="connsiteY225" fmla="*/ 116458 h 809581"/>
                <a:gd name="connsiteX226" fmla="*/ 388653 w 652669"/>
                <a:gd name="connsiteY226" fmla="*/ 116573 h 809581"/>
                <a:gd name="connsiteX227" fmla="*/ 387962 w 652669"/>
                <a:gd name="connsiteY227" fmla="*/ 116688 h 809581"/>
                <a:gd name="connsiteX228" fmla="*/ 387501 w 652669"/>
                <a:gd name="connsiteY228" fmla="*/ 116688 h 809581"/>
                <a:gd name="connsiteX229" fmla="*/ 386234 w 652669"/>
                <a:gd name="connsiteY229" fmla="*/ 113808 h 809581"/>
                <a:gd name="connsiteX230" fmla="*/ 384737 w 652669"/>
                <a:gd name="connsiteY230" fmla="*/ 109661 h 809581"/>
                <a:gd name="connsiteX231" fmla="*/ 383009 w 652669"/>
                <a:gd name="connsiteY231" fmla="*/ 104708 h 809581"/>
                <a:gd name="connsiteX232" fmla="*/ 381396 w 652669"/>
                <a:gd name="connsiteY232" fmla="*/ 99525 h 809581"/>
                <a:gd name="connsiteX233" fmla="*/ 380359 w 652669"/>
                <a:gd name="connsiteY233" fmla="*/ 96184 h 809581"/>
                <a:gd name="connsiteX234" fmla="*/ 379207 w 652669"/>
                <a:gd name="connsiteY234" fmla="*/ 92844 h 809581"/>
                <a:gd name="connsiteX235" fmla="*/ 378055 w 652669"/>
                <a:gd name="connsiteY235" fmla="*/ 89618 h 809581"/>
                <a:gd name="connsiteX236" fmla="*/ 376673 w 652669"/>
                <a:gd name="connsiteY236" fmla="*/ 86393 h 809581"/>
                <a:gd name="connsiteX237" fmla="*/ 375176 w 652669"/>
                <a:gd name="connsiteY237" fmla="*/ 83283 h 809581"/>
                <a:gd name="connsiteX238" fmla="*/ 373333 w 652669"/>
                <a:gd name="connsiteY238" fmla="*/ 80057 h 809581"/>
                <a:gd name="connsiteX239" fmla="*/ 370798 w 652669"/>
                <a:gd name="connsiteY239" fmla="*/ 76832 h 809581"/>
                <a:gd name="connsiteX240" fmla="*/ 367228 w 652669"/>
                <a:gd name="connsiteY240" fmla="*/ 73607 h 809581"/>
                <a:gd name="connsiteX241" fmla="*/ 364924 w 652669"/>
                <a:gd name="connsiteY241" fmla="*/ 72340 h 809581"/>
                <a:gd name="connsiteX242" fmla="*/ 359164 w 652669"/>
                <a:gd name="connsiteY242" fmla="*/ 71764 h 809581"/>
                <a:gd name="connsiteX243" fmla="*/ 355133 w 652669"/>
                <a:gd name="connsiteY243" fmla="*/ 73492 h 809581"/>
                <a:gd name="connsiteX244" fmla="*/ 351907 w 652669"/>
                <a:gd name="connsiteY244" fmla="*/ 76487 h 809581"/>
                <a:gd name="connsiteX245" fmla="*/ 348567 w 652669"/>
                <a:gd name="connsiteY245" fmla="*/ 79712 h 809581"/>
                <a:gd name="connsiteX246" fmla="*/ 346954 w 652669"/>
                <a:gd name="connsiteY246" fmla="*/ 81325 h 809581"/>
                <a:gd name="connsiteX247" fmla="*/ 345341 w 652669"/>
                <a:gd name="connsiteY247" fmla="*/ 82822 h 809581"/>
                <a:gd name="connsiteX248" fmla="*/ 343844 w 652669"/>
                <a:gd name="connsiteY248" fmla="*/ 84204 h 809581"/>
                <a:gd name="connsiteX249" fmla="*/ 342462 w 652669"/>
                <a:gd name="connsiteY249" fmla="*/ 85241 h 809581"/>
                <a:gd name="connsiteX250" fmla="*/ 340503 w 652669"/>
                <a:gd name="connsiteY250" fmla="*/ 86278 h 809581"/>
                <a:gd name="connsiteX251" fmla="*/ 338891 w 652669"/>
                <a:gd name="connsiteY251" fmla="*/ 83283 h 809581"/>
                <a:gd name="connsiteX252" fmla="*/ 336817 w 652669"/>
                <a:gd name="connsiteY252" fmla="*/ 79021 h 809581"/>
                <a:gd name="connsiteX253" fmla="*/ 334513 w 652669"/>
                <a:gd name="connsiteY253" fmla="*/ 73952 h 809581"/>
                <a:gd name="connsiteX254" fmla="*/ 332210 w 652669"/>
                <a:gd name="connsiteY254" fmla="*/ 68538 h 809581"/>
                <a:gd name="connsiteX255" fmla="*/ 330712 w 652669"/>
                <a:gd name="connsiteY255" fmla="*/ 65083 h 809581"/>
                <a:gd name="connsiteX256" fmla="*/ 329215 w 652669"/>
                <a:gd name="connsiteY256" fmla="*/ 61742 h 809581"/>
                <a:gd name="connsiteX257" fmla="*/ 327602 w 652669"/>
                <a:gd name="connsiteY257" fmla="*/ 58402 h 809581"/>
                <a:gd name="connsiteX258" fmla="*/ 325874 w 652669"/>
                <a:gd name="connsiteY258" fmla="*/ 55176 h 809581"/>
                <a:gd name="connsiteX259" fmla="*/ 324031 w 652669"/>
                <a:gd name="connsiteY259" fmla="*/ 52181 h 809581"/>
                <a:gd name="connsiteX260" fmla="*/ 321958 w 652669"/>
                <a:gd name="connsiteY260" fmla="*/ 49071 h 809581"/>
                <a:gd name="connsiteX261" fmla="*/ 319193 w 652669"/>
                <a:gd name="connsiteY261" fmla="*/ 46076 h 809581"/>
                <a:gd name="connsiteX262" fmla="*/ 315737 w 652669"/>
                <a:gd name="connsiteY262" fmla="*/ 43427 h 809581"/>
                <a:gd name="connsiteX263" fmla="*/ 314470 w 652669"/>
                <a:gd name="connsiteY263" fmla="*/ 42736 h 809581"/>
                <a:gd name="connsiteX264" fmla="*/ 314240 w 652669"/>
                <a:gd name="connsiteY264" fmla="*/ 42736 h 809581"/>
                <a:gd name="connsiteX265" fmla="*/ 310554 w 652669"/>
                <a:gd name="connsiteY265" fmla="*/ 41814 h 809581"/>
                <a:gd name="connsiteX266" fmla="*/ 307789 w 652669"/>
                <a:gd name="connsiteY266" fmla="*/ 42275 h 809581"/>
                <a:gd name="connsiteX267" fmla="*/ 305831 w 652669"/>
                <a:gd name="connsiteY267" fmla="*/ 43542 h 809581"/>
                <a:gd name="connsiteX268" fmla="*/ 304218 w 652669"/>
                <a:gd name="connsiteY268" fmla="*/ 45155 h 809581"/>
                <a:gd name="connsiteX269" fmla="*/ 302030 w 652669"/>
                <a:gd name="connsiteY269" fmla="*/ 48034 h 809581"/>
                <a:gd name="connsiteX270" fmla="*/ 299956 w 652669"/>
                <a:gd name="connsiteY270" fmla="*/ 51260 h 809581"/>
                <a:gd name="connsiteX271" fmla="*/ 297998 w 652669"/>
                <a:gd name="connsiteY271" fmla="*/ 54600 h 809581"/>
                <a:gd name="connsiteX272" fmla="*/ 296040 w 652669"/>
                <a:gd name="connsiteY272" fmla="*/ 57710 h 809581"/>
                <a:gd name="connsiteX273" fmla="*/ 295233 w 652669"/>
                <a:gd name="connsiteY273" fmla="*/ 59093 h 809581"/>
                <a:gd name="connsiteX274" fmla="*/ 294312 w 652669"/>
                <a:gd name="connsiteY274" fmla="*/ 60245 h 809581"/>
                <a:gd name="connsiteX275" fmla="*/ 293506 w 652669"/>
                <a:gd name="connsiteY275" fmla="*/ 61281 h 809581"/>
                <a:gd name="connsiteX276" fmla="*/ 292699 w 652669"/>
                <a:gd name="connsiteY276" fmla="*/ 61973 h 809581"/>
                <a:gd name="connsiteX277" fmla="*/ 292354 w 652669"/>
                <a:gd name="connsiteY277" fmla="*/ 62203 h 809581"/>
                <a:gd name="connsiteX278" fmla="*/ 290395 w 652669"/>
                <a:gd name="connsiteY278" fmla="*/ 59438 h 809581"/>
                <a:gd name="connsiteX279" fmla="*/ 287746 w 652669"/>
                <a:gd name="connsiteY279" fmla="*/ 55291 h 809581"/>
                <a:gd name="connsiteX280" fmla="*/ 284751 w 652669"/>
                <a:gd name="connsiteY280" fmla="*/ 50338 h 809581"/>
                <a:gd name="connsiteX281" fmla="*/ 281756 w 652669"/>
                <a:gd name="connsiteY281" fmla="*/ 45040 h 809581"/>
                <a:gd name="connsiteX282" fmla="*/ 279798 w 652669"/>
                <a:gd name="connsiteY282" fmla="*/ 41584 h 809581"/>
                <a:gd name="connsiteX283" fmla="*/ 277840 w 652669"/>
                <a:gd name="connsiteY283" fmla="*/ 38243 h 809581"/>
                <a:gd name="connsiteX284" fmla="*/ 275881 w 652669"/>
                <a:gd name="connsiteY284" fmla="*/ 34903 h 809581"/>
                <a:gd name="connsiteX285" fmla="*/ 273808 w 652669"/>
                <a:gd name="connsiteY285" fmla="*/ 31677 h 809581"/>
                <a:gd name="connsiteX286" fmla="*/ 271619 w 652669"/>
                <a:gd name="connsiteY286" fmla="*/ 28682 h 809581"/>
                <a:gd name="connsiteX287" fmla="*/ 269085 w 652669"/>
                <a:gd name="connsiteY287" fmla="*/ 25688 h 809581"/>
                <a:gd name="connsiteX288" fmla="*/ 266090 w 652669"/>
                <a:gd name="connsiteY288" fmla="*/ 22923 h 809581"/>
                <a:gd name="connsiteX289" fmla="*/ 262174 w 652669"/>
                <a:gd name="connsiteY289" fmla="*/ 20504 h 809581"/>
                <a:gd name="connsiteX290" fmla="*/ 261137 w 652669"/>
                <a:gd name="connsiteY290" fmla="*/ 20158 h 809581"/>
                <a:gd name="connsiteX291" fmla="*/ 257451 w 652669"/>
                <a:gd name="connsiteY291" fmla="*/ 19698 h 809581"/>
                <a:gd name="connsiteX292" fmla="*/ 255032 w 652669"/>
                <a:gd name="connsiteY292" fmla="*/ 20619 h 809581"/>
                <a:gd name="connsiteX293" fmla="*/ 253304 w 652669"/>
                <a:gd name="connsiteY293" fmla="*/ 22347 h 809581"/>
                <a:gd name="connsiteX294" fmla="*/ 251922 w 652669"/>
                <a:gd name="connsiteY294" fmla="*/ 24305 h 809581"/>
                <a:gd name="connsiteX295" fmla="*/ 250309 w 652669"/>
                <a:gd name="connsiteY295" fmla="*/ 27876 h 809581"/>
                <a:gd name="connsiteX296" fmla="*/ 248927 w 652669"/>
                <a:gd name="connsiteY296" fmla="*/ 31908 h 809581"/>
                <a:gd name="connsiteX297" fmla="*/ 247660 w 652669"/>
                <a:gd name="connsiteY297" fmla="*/ 35939 h 809581"/>
                <a:gd name="connsiteX298" fmla="*/ 246393 w 652669"/>
                <a:gd name="connsiteY298" fmla="*/ 39856 h 809581"/>
                <a:gd name="connsiteX299" fmla="*/ 245702 w 652669"/>
                <a:gd name="connsiteY299" fmla="*/ 41584 h 809581"/>
                <a:gd name="connsiteX300" fmla="*/ 245126 w 652669"/>
                <a:gd name="connsiteY300" fmla="*/ 43081 h 809581"/>
                <a:gd name="connsiteX301" fmla="*/ 244434 w 652669"/>
                <a:gd name="connsiteY301" fmla="*/ 44348 h 809581"/>
                <a:gd name="connsiteX302" fmla="*/ 243858 w 652669"/>
                <a:gd name="connsiteY302" fmla="*/ 45270 h 809581"/>
                <a:gd name="connsiteX303" fmla="*/ 243513 w 652669"/>
                <a:gd name="connsiteY303" fmla="*/ 45615 h 809581"/>
                <a:gd name="connsiteX304" fmla="*/ 241209 w 652669"/>
                <a:gd name="connsiteY304" fmla="*/ 42851 h 809581"/>
                <a:gd name="connsiteX305" fmla="*/ 238099 w 652669"/>
                <a:gd name="connsiteY305" fmla="*/ 38819 h 809581"/>
                <a:gd name="connsiteX306" fmla="*/ 234528 w 652669"/>
                <a:gd name="connsiteY306" fmla="*/ 33981 h 809581"/>
                <a:gd name="connsiteX307" fmla="*/ 230957 w 652669"/>
                <a:gd name="connsiteY307" fmla="*/ 28798 h 809581"/>
                <a:gd name="connsiteX308" fmla="*/ 226350 w 652669"/>
                <a:gd name="connsiteY308" fmla="*/ 22347 h 809581"/>
                <a:gd name="connsiteX309" fmla="*/ 221742 w 652669"/>
                <a:gd name="connsiteY309" fmla="*/ 16242 h 809581"/>
                <a:gd name="connsiteX310" fmla="*/ 216558 w 652669"/>
                <a:gd name="connsiteY310" fmla="*/ 10713 h 809581"/>
                <a:gd name="connsiteX311" fmla="*/ 210108 w 652669"/>
                <a:gd name="connsiteY311" fmla="*/ 6105 h 809581"/>
                <a:gd name="connsiteX312" fmla="*/ 207689 w 652669"/>
                <a:gd name="connsiteY312" fmla="*/ 5414 h 809581"/>
                <a:gd name="connsiteX313" fmla="*/ 204003 w 652669"/>
                <a:gd name="connsiteY313" fmla="*/ 5644 h 809581"/>
                <a:gd name="connsiteX314" fmla="*/ 201814 w 652669"/>
                <a:gd name="connsiteY314" fmla="*/ 7142 h 809581"/>
                <a:gd name="connsiteX315" fmla="*/ 200547 w 652669"/>
                <a:gd name="connsiteY315" fmla="*/ 9446 h 809581"/>
                <a:gd name="connsiteX316" fmla="*/ 199740 w 652669"/>
                <a:gd name="connsiteY316" fmla="*/ 11865 h 809581"/>
                <a:gd name="connsiteX317" fmla="*/ 198819 w 652669"/>
                <a:gd name="connsiteY317" fmla="*/ 16127 h 809581"/>
                <a:gd name="connsiteX318" fmla="*/ 198128 w 652669"/>
                <a:gd name="connsiteY318" fmla="*/ 20734 h 809581"/>
                <a:gd name="connsiteX319" fmla="*/ 197667 w 652669"/>
                <a:gd name="connsiteY319" fmla="*/ 25457 h 809581"/>
                <a:gd name="connsiteX320" fmla="*/ 197206 w 652669"/>
                <a:gd name="connsiteY320" fmla="*/ 29950 h 809581"/>
                <a:gd name="connsiteX321" fmla="*/ 196861 w 652669"/>
                <a:gd name="connsiteY321" fmla="*/ 31908 h 809581"/>
                <a:gd name="connsiteX322" fmla="*/ 196515 w 652669"/>
                <a:gd name="connsiteY322" fmla="*/ 33751 h 809581"/>
                <a:gd name="connsiteX323" fmla="*/ 196170 w 652669"/>
                <a:gd name="connsiteY323" fmla="*/ 35248 h 809581"/>
                <a:gd name="connsiteX324" fmla="*/ 195824 w 652669"/>
                <a:gd name="connsiteY324" fmla="*/ 36400 h 809581"/>
                <a:gd name="connsiteX325" fmla="*/ 195594 w 652669"/>
                <a:gd name="connsiteY325" fmla="*/ 36861 h 809581"/>
                <a:gd name="connsiteX326" fmla="*/ 192599 w 652669"/>
                <a:gd name="connsiteY326" fmla="*/ 34096 h 809581"/>
                <a:gd name="connsiteX327" fmla="*/ 188797 w 652669"/>
                <a:gd name="connsiteY327" fmla="*/ 29950 h 809581"/>
                <a:gd name="connsiteX328" fmla="*/ 184420 w 652669"/>
                <a:gd name="connsiteY328" fmla="*/ 24881 h 809581"/>
                <a:gd name="connsiteX329" fmla="*/ 179812 w 652669"/>
                <a:gd name="connsiteY329" fmla="*/ 19582 h 809581"/>
                <a:gd name="connsiteX330" fmla="*/ 175090 w 652669"/>
                <a:gd name="connsiteY330" fmla="*/ 14168 h 809581"/>
                <a:gd name="connsiteX331" fmla="*/ 170482 w 652669"/>
                <a:gd name="connsiteY331" fmla="*/ 9100 h 809581"/>
                <a:gd name="connsiteX332" fmla="*/ 165414 w 652669"/>
                <a:gd name="connsiteY332" fmla="*/ 4608 h 809581"/>
                <a:gd name="connsiteX333" fmla="*/ 159539 w 652669"/>
                <a:gd name="connsiteY333" fmla="*/ 922 h 809581"/>
                <a:gd name="connsiteX334" fmla="*/ 158502 w 652669"/>
                <a:gd name="connsiteY334" fmla="*/ 576 h 809581"/>
                <a:gd name="connsiteX335" fmla="*/ 157465 w 652669"/>
                <a:gd name="connsiteY335" fmla="*/ 230 h 809581"/>
                <a:gd name="connsiteX336" fmla="*/ 156429 w 652669"/>
                <a:gd name="connsiteY336" fmla="*/ 0 h 809581"/>
                <a:gd name="connsiteX337" fmla="*/ 155392 w 652669"/>
                <a:gd name="connsiteY337" fmla="*/ 0 h 809581"/>
                <a:gd name="connsiteX338" fmla="*/ 152052 w 652669"/>
                <a:gd name="connsiteY338" fmla="*/ 1152 h 809581"/>
                <a:gd name="connsiteX339" fmla="*/ 150209 w 652669"/>
                <a:gd name="connsiteY339" fmla="*/ 3341 h 809581"/>
                <a:gd name="connsiteX340" fmla="*/ 149287 w 652669"/>
                <a:gd name="connsiteY340" fmla="*/ 6105 h 809581"/>
                <a:gd name="connsiteX341" fmla="*/ 148826 w 652669"/>
                <a:gd name="connsiteY341" fmla="*/ 8985 h 809581"/>
                <a:gd name="connsiteX342" fmla="*/ 148826 w 652669"/>
                <a:gd name="connsiteY342" fmla="*/ 13823 h 809581"/>
                <a:gd name="connsiteX343" fmla="*/ 149057 w 652669"/>
                <a:gd name="connsiteY343" fmla="*/ 19006 h 809581"/>
                <a:gd name="connsiteX344" fmla="*/ 149402 w 652669"/>
                <a:gd name="connsiteY344" fmla="*/ 24305 h 809581"/>
                <a:gd name="connsiteX345" fmla="*/ 149633 w 652669"/>
                <a:gd name="connsiteY345" fmla="*/ 29374 h 809581"/>
                <a:gd name="connsiteX346" fmla="*/ 149633 w 652669"/>
                <a:gd name="connsiteY346" fmla="*/ 31677 h 809581"/>
                <a:gd name="connsiteX347" fmla="*/ 149633 w 652669"/>
                <a:gd name="connsiteY347" fmla="*/ 33751 h 809581"/>
                <a:gd name="connsiteX348" fmla="*/ 149517 w 652669"/>
                <a:gd name="connsiteY348" fmla="*/ 35479 h 809581"/>
                <a:gd name="connsiteX349" fmla="*/ 149402 w 652669"/>
                <a:gd name="connsiteY349" fmla="*/ 36861 h 809581"/>
                <a:gd name="connsiteX350" fmla="*/ 149402 w 652669"/>
                <a:gd name="connsiteY350" fmla="*/ 37437 h 809581"/>
                <a:gd name="connsiteX351" fmla="*/ 146638 w 652669"/>
                <a:gd name="connsiteY351" fmla="*/ 35364 h 809581"/>
                <a:gd name="connsiteX352" fmla="*/ 143067 w 652669"/>
                <a:gd name="connsiteY352" fmla="*/ 32253 h 809581"/>
                <a:gd name="connsiteX353" fmla="*/ 138920 w 652669"/>
                <a:gd name="connsiteY353" fmla="*/ 28567 h 809581"/>
                <a:gd name="connsiteX354" fmla="*/ 134543 w 652669"/>
                <a:gd name="connsiteY354" fmla="*/ 24420 h 809581"/>
                <a:gd name="connsiteX355" fmla="*/ 128783 w 652669"/>
                <a:gd name="connsiteY355" fmla="*/ 19006 h 809581"/>
                <a:gd name="connsiteX356" fmla="*/ 123024 w 652669"/>
                <a:gd name="connsiteY356" fmla="*/ 13823 h 809581"/>
                <a:gd name="connsiteX357" fmla="*/ 117264 w 652669"/>
                <a:gd name="connsiteY357" fmla="*/ 9330 h 809581"/>
                <a:gd name="connsiteX358" fmla="*/ 111159 w 652669"/>
                <a:gd name="connsiteY358" fmla="*/ 5760 h 809581"/>
                <a:gd name="connsiteX359" fmla="*/ 109661 w 652669"/>
                <a:gd name="connsiteY359" fmla="*/ 5184 h 809581"/>
                <a:gd name="connsiteX360" fmla="*/ 108164 w 652669"/>
                <a:gd name="connsiteY360" fmla="*/ 4838 h 809581"/>
                <a:gd name="connsiteX361" fmla="*/ 106666 w 652669"/>
                <a:gd name="connsiteY361" fmla="*/ 4723 h 809581"/>
                <a:gd name="connsiteX362" fmla="*/ 105169 w 652669"/>
                <a:gd name="connsiteY362" fmla="*/ 4953 h 809581"/>
                <a:gd name="connsiteX363" fmla="*/ 113463 w 652669"/>
                <a:gd name="connsiteY363" fmla="*/ 18430 h 809581"/>
                <a:gd name="connsiteX364" fmla="*/ 112080 w 652669"/>
                <a:gd name="connsiteY364" fmla="*/ 16357 h 809581"/>
                <a:gd name="connsiteX365" fmla="*/ 112080 w 652669"/>
                <a:gd name="connsiteY365" fmla="*/ 18430 h 809581"/>
                <a:gd name="connsiteX366" fmla="*/ 112541 w 652669"/>
                <a:gd name="connsiteY366" fmla="*/ 18546 h 809581"/>
                <a:gd name="connsiteX367" fmla="*/ 114730 w 652669"/>
                <a:gd name="connsiteY367" fmla="*/ 20043 h 809581"/>
                <a:gd name="connsiteX368" fmla="*/ 118416 w 652669"/>
                <a:gd name="connsiteY368" fmla="*/ 23153 h 809581"/>
                <a:gd name="connsiteX369" fmla="*/ 123139 w 652669"/>
                <a:gd name="connsiteY369" fmla="*/ 27415 h 809581"/>
                <a:gd name="connsiteX370" fmla="*/ 128207 w 652669"/>
                <a:gd name="connsiteY370" fmla="*/ 32253 h 809581"/>
                <a:gd name="connsiteX371" fmla="*/ 133967 w 652669"/>
                <a:gd name="connsiteY371" fmla="*/ 37667 h 809581"/>
                <a:gd name="connsiteX372" fmla="*/ 139611 w 652669"/>
                <a:gd name="connsiteY372" fmla="*/ 42851 h 809581"/>
                <a:gd name="connsiteX373" fmla="*/ 145371 w 652669"/>
                <a:gd name="connsiteY373" fmla="*/ 47343 h 809581"/>
                <a:gd name="connsiteX374" fmla="*/ 151476 w 652669"/>
                <a:gd name="connsiteY374" fmla="*/ 50799 h 809581"/>
                <a:gd name="connsiteX375" fmla="*/ 152743 w 652669"/>
                <a:gd name="connsiteY375" fmla="*/ 51260 h 809581"/>
                <a:gd name="connsiteX376" fmla="*/ 154010 w 652669"/>
                <a:gd name="connsiteY376" fmla="*/ 51605 h 809581"/>
                <a:gd name="connsiteX377" fmla="*/ 155277 w 652669"/>
                <a:gd name="connsiteY377" fmla="*/ 51721 h 809581"/>
                <a:gd name="connsiteX378" fmla="*/ 156429 w 652669"/>
                <a:gd name="connsiteY378" fmla="*/ 51721 h 809581"/>
                <a:gd name="connsiteX379" fmla="*/ 159654 w 652669"/>
                <a:gd name="connsiteY379" fmla="*/ 50338 h 809581"/>
                <a:gd name="connsiteX380" fmla="*/ 161267 w 652669"/>
                <a:gd name="connsiteY380" fmla="*/ 47919 h 809581"/>
                <a:gd name="connsiteX381" fmla="*/ 161958 w 652669"/>
                <a:gd name="connsiteY381" fmla="*/ 45040 h 809581"/>
                <a:gd name="connsiteX382" fmla="*/ 162303 w 652669"/>
                <a:gd name="connsiteY382" fmla="*/ 42045 h 809581"/>
                <a:gd name="connsiteX383" fmla="*/ 162303 w 652669"/>
                <a:gd name="connsiteY383" fmla="*/ 37091 h 809581"/>
                <a:gd name="connsiteX384" fmla="*/ 162073 w 652669"/>
                <a:gd name="connsiteY384" fmla="*/ 31793 h 809581"/>
                <a:gd name="connsiteX385" fmla="*/ 161728 w 652669"/>
                <a:gd name="connsiteY385" fmla="*/ 26494 h 809581"/>
                <a:gd name="connsiteX386" fmla="*/ 161497 w 652669"/>
                <a:gd name="connsiteY386" fmla="*/ 21541 h 809581"/>
                <a:gd name="connsiteX387" fmla="*/ 161497 w 652669"/>
                <a:gd name="connsiteY387" fmla="*/ 19352 h 809581"/>
                <a:gd name="connsiteX388" fmla="*/ 161497 w 652669"/>
                <a:gd name="connsiteY388" fmla="*/ 17394 h 809581"/>
                <a:gd name="connsiteX389" fmla="*/ 161612 w 652669"/>
                <a:gd name="connsiteY389" fmla="*/ 15781 h 809581"/>
                <a:gd name="connsiteX390" fmla="*/ 161843 w 652669"/>
                <a:gd name="connsiteY390" fmla="*/ 14514 h 809581"/>
                <a:gd name="connsiteX391" fmla="*/ 164838 w 652669"/>
                <a:gd name="connsiteY391" fmla="*/ 17509 h 809581"/>
                <a:gd name="connsiteX392" fmla="*/ 168524 w 652669"/>
                <a:gd name="connsiteY392" fmla="*/ 21656 h 809581"/>
                <a:gd name="connsiteX393" fmla="*/ 172786 w 652669"/>
                <a:gd name="connsiteY393" fmla="*/ 26494 h 809581"/>
                <a:gd name="connsiteX394" fmla="*/ 177163 w 652669"/>
                <a:gd name="connsiteY394" fmla="*/ 31677 h 809581"/>
                <a:gd name="connsiteX395" fmla="*/ 182001 w 652669"/>
                <a:gd name="connsiteY395" fmla="*/ 37091 h 809581"/>
                <a:gd name="connsiteX396" fmla="*/ 186724 w 652669"/>
                <a:gd name="connsiteY396" fmla="*/ 42160 h 809581"/>
                <a:gd name="connsiteX397" fmla="*/ 191792 w 652669"/>
                <a:gd name="connsiteY397" fmla="*/ 46652 h 809581"/>
                <a:gd name="connsiteX398" fmla="*/ 197552 w 652669"/>
                <a:gd name="connsiteY398" fmla="*/ 50223 h 809581"/>
                <a:gd name="connsiteX399" fmla="*/ 200547 w 652669"/>
                <a:gd name="connsiteY399" fmla="*/ 51029 h 809581"/>
                <a:gd name="connsiteX400" fmla="*/ 204233 w 652669"/>
                <a:gd name="connsiteY400" fmla="*/ 50338 h 809581"/>
                <a:gd name="connsiteX401" fmla="*/ 206421 w 652669"/>
                <a:gd name="connsiteY401" fmla="*/ 48610 h 809581"/>
                <a:gd name="connsiteX402" fmla="*/ 207689 w 652669"/>
                <a:gd name="connsiteY402" fmla="*/ 46191 h 809581"/>
                <a:gd name="connsiteX403" fmla="*/ 208495 w 652669"/>
                <a:gd name="connsiteY403" fmla="*/ 43542 h 809581"/>
                <a:gd name="connsiteX404" fmla="*/ 209301 w 652669"/>
                <a:gd name="connsiteY404" fmla="*/ 39165 h 809581"/>
                <a:gd name="connsiteX405" fmla="*/ 209877 w 652669"/>
                <a:gd name="connsiteY405" fmla="*/ 34442 h 809581"/>
                <a:gd name="connsiteX406" fmla="*/ 210338 w 652669"/>
                <a:gd name="connsiteY406" fmla="*/ 29719 h 809581"/>
                <a:gd name="connsiteX407" fmla="*/ 210799 w 652669"/>
                <a:gd name="connsiteY407" fmla="*/ 25342 h 809581"/>
                <a:gd name="connsiteX408" fmla="*/ 211144 w 652669"/>
                <a:gd name="connsiteY408" fmla="*/ 23384 h 809581"/>
                <a:gd name="connsiteX409" fmla="*/ 211490 w 652669"/>
                <a:gd name="connsiteY409" fmla="*/ 21656 h 809581"/>
                <a:gd name="connsiteX410" fmla="*/ 211835 w 652669"/>
                <a:gd name="connsiteY410" fmla="*/ 20158 h 809581"/>
                <a:gd name="connsiteX411" fmla="*/ 212181 w 652669"/>
                <a:gd name="connsiteY411" fmla="*/ 19006 h 809581"/>
                <a:gd name="connsiteX412" fmla="*/ 214485 w 652669"/>
                <a:gd name="connsiteY412" fmla="*/ 21886 h 809581"/>
                <a:gd name="connsiteX413" fmla="*/ 217480 w 652669"/>
                <a:gd name="connsiteY413" fmla="*/ 25803 h 809581"/>
                <a:gd name="connsiteX414" fmla="*/ 220820 w 652669"/>
                <a:gd name="connsiteY414" fmla="*/ 30410 h 809581"/>
                <a:gd name="connsiteX415" fmla="*/ 224161 w 652669"/>
                <a:gd name="connsiteY415" fmla="*/ 35248 h 809581"/>
                <a:gd name="connsiteX416" fmla="*/ 228884 w 652669"/>
                <a:gd name="connsiteY416" fmla="*/ 41814 h 809581"/>
                <a:gd name="connsiteX417" fmla="*/ 233491 w 652669"/>
                <a:gd name="connsiteY417" fmla="*/ 47919 h 809581"/>
                <a:gd name="connsiteX418" fmla="*/ 238675 w 652669"/>
                <a:gd name="connsiteY418" fmla="*/ 53448 h 809581"/>
                <a:gd name="connsiteX419" fmla="*/ 245241 w 652669"/>
                <a:gd name="connsiteY419" fmla="*/ 57941 h 809581"/>
                <a:gd name="connsiteX420" fmla="*/ 246393 w 652669"/>
                <a:gd name="connsiteY420" fmla="*/ 58402 h 809581"/>
                <a:gd name="connsiteX421" fmla="*/ 250309 w 652669"/>
                <a:gd name="connsiteY421" fmla="*/ 58517 h 809581"/>
                <a:gd name="connsiteX422" fmla="*/ 252958 w 652669"/>
                <a:gd name="connsiteY422" fmla="*/ 57365 h 809581"/>
                <a:gd name="connsiteX423" fmla="*/ 254686 w 652669"/>
                <a:gd name="connsiteY423" fmla="*/ 55522 h 809581"/>
                <a:gd name="connsiteX424" fmla="*/ 255953 w 652669"/>
                <a:gd name="connsiteY424" fmla="*/ 53333 h 809581"/>
                <a:gd name="connsiteX425" fmla="*/ 257566 w 652669"/>
                <a:gd name="connsiteY425" fmla="*/ 49647 h 809581"/>
                <a:gd name="connsiteX426" fmla="*/ 258948 w 652669"/>
                <a:gd name="connsiteY426" fmla="*/ 45615 h 809581"/>
                <a:gd name="connsiteX427" fmla="*/ 260215 w 652669"/>
                <a:gd name="connsiteY427" fmla="*/ 41469 h 809581"/>
                <a:gd name="connsiteX428" fmla="*/ 261367 w 652669"/>
                <a:gd name="connsiteY428" fmla="*/ 37667 h 809581"/>
                <a:gd name="connsiteX429" fmla="*/ 262059 w 652669"/>
                <a:gd name="connsiteY429" fmla="*/ 36055 h 809581"/>
                <a:gd name="connsiteX430" fmla="*/ 262634 w 652669"/>
                <a:gd name="connsiteY430" fmla="*/ 34672 h 809581"/>
                <a:gd name="connsiteX431" fmla="*/ 263210 w 652669"/>
                <a:gd name="connsiteY431" fmla="*/ 33520 h 809581"/>
                <a:gd name="connsiteX432" fmla="*/ 263902 w 652669"/>
                <a:gd name="connsiteY432" fmla="*/ 32714 h 809581"/>
                <a:gd name="connsiteX433" fmla="*/ 264478 w 652669"/>
                <a:gd name="connsiteY433" fmla="*/ 33520 h 809581"/>
                <a:gd name="connsiteX434" fmla="*/ 265169 w 652669"/>
                <a:gd name="connsiteY434" fmla="*/ 34442 h 809581"/>
                <a:gd name="connsiteX435" fmla="*/ 265975 w 652669"/>
                <a:gd name="connsiteY435" fmla="*/ 35594 h 809581"/>
                <a:gd name="connsiteX436" fmla="*/ 266781 w 652669"/>
                <a:gd name="connsiteY436" fmla="*/ 36861 h 809581"/>
                <a:gd name="connsiteX437" fmla="*/ 269316 w 652669"/>
                <a:gd name="connsiteY437" fmla="*/ 41238 h 809581"/>
                <a:gd name="connsiteX438" fmla="*/ 272080 w 652669"/>
                <a:gd name="connsiteY438" fmla="*/ 46076 h 809581"/>
                <a:gd name="connsiteX439" fmla="*/ 274960 w 652669"/>
                <a:gd name="connsiteY439" fmla="*/ 51260 h 809581"/>
                <a:gd name="connsiteX440" fmla="*/ 277955 w 652669"/>
                <a:gd name="connsiteY440" fmla="*/ 56443 h 809581"/>
                <a:gd name="connsiteX441" fmla="*/ 281065 w 652669"/>
                <a:gd name="connsiteY441" fmla="*/ 61397 h 809581"/>
                <a:gd name="connsiteX442" fmla="*/ 284290 w 652669"/>
                <a:gd name="connsiteY442" fmla="*/ 66119 h 809581"/>
                <a:gd name="connsiteX443" fmla="*/ 288322 w 652669"/>
                <a:gd name="connsiteY443" fmla="*/ 70497 h 809581"/>
                <a:gd name="connsiteX444" fmla="*/ 293736 w 652669"/>
                <a:gd name="connsiteY444" fmla="*/ 74183 h 809581"/>
                <a:gd name="connsiteX445" fmla="*/ 297652 w 652669"/>
                <a:gd name="connsiteY445" fmla="*/ 74989 h 809581"/>
                <a:gd name="connsiteX446" fmla="*/ 300417 w 652669"/>
                <a:gd name="connsiteY446" fmla="*/ 74413 h 809581"/>
                <a:gd name="connsiteX447" fmla="*/ 302375 w 652669"/>
                <a:gd name="connsiteY447" fmla="*/ 73031 h 809581"/>
                <a:gd name="connsiteX448" fmla="*/ 303988 w 652669"/>
                <a:gd name="connsiteY448" fmla="*/ 71418 h 809581"/>
                <a:gd name="connsiteX449" fmla="*/ 306292 w 652669"/>
                <a:gd name="connsiteY449" fmla="*/ 68538 h 809581"/>
                <a:gd name="connsiteX450" fmla="*/ 308365 w 652669"/>
                <a:gd name="connsiteY450" fmla="*/ 65313 h 809581"/>
                <a:gd name="connsiteX451" fmla="*/ 310323 w 652669"/>
                <a:gd name="connsiteY451" fmla="*/ 61973 h 809581"/>
                <a:gd name="connsiteX452" fmla="*/ 312166 w 652669"/>
                <a:gd name="connsiteY452" fmla="*/ 58862 h 809581"/>
                <a:gd name="connsiteX453" fmla="*/ 313088 w 652669"/>
                <a:gd name="connsiteY453" fmla="*/ 57480 h 809581"/>
                <a:gd name="connsiteX454" fmla="*/ 313894 w 652669"/>
                <a:gd name="connsiteY454" fmla="*/ 56328 h 809581"/>
                <a:gd name="connsiteX455" fmla="*/ 314701 w 652669"/>
                <a:gd name="connsiteY455" fmla="*/ 55291 h 809581"/>
                <a:gd name="connsiteX456" fmla="*/ 315507 w 652669"/>
                <a:gd name="connsiteY456" fmla="*/ 54600 h 809581"/>
                <a:gd name="connsiteX457" fmla="*/ 315622 w 652669"/>
                <a:gd name="connsiteY457" fmla="*/ 54600 h 809581"/>
                <a:gd name="connsiteX458" fmla="*/ 317580 w 652669"/>
                <a:gd name="connsiteY458" fmla="*/ 58286 h 809581"/>
                <a:gd name="connsiteX459" fmla="*/ 319884 w 652669"/>
                <a:gd name="connsiteY459" fmla="*/ 63124 h 809581"/>
                <a:gd name="connsiteX460" fmla="*/ 322418 w 652669"/>
                <a:gd name="connsiteY460" fmla="*/ 68769 h 809581"/>
                <a:gd name="connsiteX461" fmla="*/ 324953 w 652669"/>
                <a:gd name="connsiteY461" fmla="*/ 74644 h 809581"/>
                <a:gd name="connsiteX462" fmla="*/ 327717 w 652669"/>
                <a:gd name="connsiteY462" fmla="*/ 80633 h 809581"/>
                <a:gd name="connsiteX463" fmla="*/ 330597 w 652669"/>
                <a:gd name="connsiteY463" fmla="*/ 86393 h 809581"/>
                <a:gd name="connsiteX464" fmla="*/ 334398 w 652669"/>
                <a:gd name="connsiteY464" fmla="*/ 91922 h 809581"/>
                <a:gd name="connsiteX465" fmla="*/ 340158 w 652669"/>
                <a:gd name="connsiteY465" fmla="*/ 97106 h 809581"/>
                <a:gd name="connsiteX466" fmla="*/ 341655 w 652669"/>
                <a:gd name="connsiteY466" fmla="*/ 97797 h 809581"/>
                <a:gd name="connsiteX467" fmla="*/ 347645 w 652669"/>
                <a:gd name="connsiteY467" fmla="*/ 98373 h 809581"/>
                <a:gd name="connsiteX468" fmla="*/ 351792 w 652669"/>
                <a:gd name="connsiteY468" fmla="*/ 96530 h 809581"/>
                <a:gd name="connsiteX469" fmla="*/ 355017 w 652669"/>
                <a:gd name="connsiteY469" fmla="*/ 93535 h 809581"/>
                <a:gd name="connsiteX470" fmla="*/ 358358 w 652669"/>
                <a:gd name="connsiteY470" fmla="*/ 90309 h 809581"/>
                <a:gd name="connsiteX471" fmla="*/ 359971 w 652669"/>
                <a:gd name="connsiteY471" fmla="*/ 88697 h 809581"/>
                <a:gd name="connsiteX472" fmla="*/ 361583 w 652669"/>
                <a:gd name="connsiteY472" fmla="*/ 87199 h 809581"/>
                <a:gd name="connsiteX473" fmla="*/ 362966 w 652669"/>
                <a:gd name="connsiteY473" fmla="*/ 85817 h 809581"/>
                <a:gd name="connsiteX474" fmla="*/ 364348 w 652669"/>
                <a:gd name="connsiteY474" fmla="*/ 84780 h 809581"/>
                <a:gd name="connsiteX475" fmla="*/ 365845 w 652669"/>
                <a:gd name="connsiteY475" fmla="*/ 83859 h 809581"/>
                <a:gd name="connsiteX476" fmla="*/ 367343 w 652669"/>
                <a:gd name="connsiteY476" fmla="*/ 87545 h 809581"/>
                <a:gd name="connsiteX477" fmla="*/ 368955 w 652669"/>
                <a:gd name="connsiteY477" fmla="*/ 92383 h 809581"/>
                <a:gd name="connsiteX478" fmla="*/ 370683 w 652669"/>
                <a:gd name="connsiteY478" fmla="*/ 97912 h 809581"/>
                <a:gd name="connsiteX479" fmla="*/ 372411 w 652669"/>
                <a:gd name="connsiteY479" fmla="*/ 103556 h 809581"/>
                <a:gd name="connsiteX480" fmla="*/ 374485 w 652669"/>
                <a:gd name="connsiteY480" fmla="*/ 109431 h 809581"/>
                <a:gd name="connsiteX481" fmla="*/ 376558 w 652669"/>
                <a:gd name="connsiteY481" fmla="*/ 115191 h 809581"/>
                <a:gd name="connsiteX482" fmla="*/ 379783 w 652669"/>
                <a:gd name="connsiteY482" fmla="*/ 120835 h 809581"/>
                <a:gd name="connsiteX483" fmla="*/ 384967 w 652669"/>
                <a:gd name="connsiteY483" fmla="*/ 126594 h 809581"/>
                <a:gd name="connsiteX484" fmla="*/ 385773 w 652669"/>
                <a:gd name="connsiteY484" fmla="*/ 127055 h 809581"/>
                <a:gd name="connsiteX485" fmla="*/ 386580 w 652669"/>
                <a:gd name="connsiteY485" fmla="*/ 127516 h 809581"/>
                <a:gd name="connsiteX486" fmla="*/ 387271 w 652669"/>
                <a:gd name="connsiteY486" fmla="*/ 127862 h 809581"/>
                <a:gd name="connsiteX487" fmla="*/ 387962 w 652669"/>
                <a:gd name="connsiteY487" fmla="*/ 128207 h 809581"/>
                <a:gd name="connsiteX488" fmla="*/ 393376 w 652669"/>
                <a:gd name="connsiteY488" fmla="*/ 129013 h 809581"/>
                <a:gd name="connsiteX489" fmla="*/ 397638 w 652669"/>
                <a:gd name="connsiteY489" fmla="*/ 128092 h 809581"/>
                <a:gd name="connsiteX490" fmla="*/ 401324 w 652669"/>
                <a:gd name="connsiteY490" fmla="*/ 126134 h 809581"/>
                <a:gd name="connsiteX491" fmla="*/ 405125 w 652669"/>
                <a:gd name="connsiteY491" fmla="*/ 123945 h 809581"/>
                <a:gd name="connsiteX492" fmla="*/ 406968 w 652669"/>
                <a:gd name="connsiteY492" fmla="*/ 122793 h 809581"/>
                <a:gd name="connsiteX493" fmla="*/ 408696 w 652669"/>
                <a:gd name="connsiteY493" fmla="*/ 121756 h 809581"/>
                <a:gd name="connsiteX494" fmla="*/ 410309 w 652669"/>
                <a:gd name="connsiteY494" fmla="*/ 120835 h 809581"/>
                <a:gd name="connsiteX495" fmla="*/ 411806 w 652669"/>
                <a:gd name="connsiteY495" fmla="*/ 120029 h 809581"/>
                <a:gd name="connsiteX496" fmla="*/ 413880 w 652669"/>
                <a:gd name="connsiteY496" fmla="*/ 119453 h 809581"/>
                <a:gd name="connsiteX497" fmla="*/ 414916 w 652669"/>
                <a:gd name="connsiteY497" fmla="*/ 123024 h 809581"/>
                <a:gd name="connsiteX498" fmla="*/ 415838 w 652669"/>
                <a:gd name="connsiteY498" fmla="*/ 127631 h 809581"/>
                <a:gd name="connsiteX499" fmla="*/ 416760 w 652669"/>
                <a:gd name="connsiteY499" fmla="*/ 132930 h 809581"/>
                <a:gd name="connsiteX500" fmla="*/ 417681 w 652669"/>
                <a:gd name="connsiteY500" fmla="*/ 138344 h 809581"/>
                <a:gd name="connsiteX501" fmla="*/ 418833 w 652669"/>
                <a:gd name="connsiteY501" fmla="*/ 143988 h 809581"/>
                <a:gd name="connsiteX502" fmla="*/ 420215 w 652669"/>
                <a:gd name="connsiteY502" fmla="*/ 149517 h 809581"/>
                <a:gd name="connsiteX503" fmla="*/ 422634 w 652669"/>
                <a:gd name="connsiteY503" fmla="*/ 155162 h 809581"/>
                <a:gd name="connsiteX504" fmla="*/ 427242 w 652669"/>
                <a:gd name="connsiteY504" fmla="*/ 161267 h 809581"/>
                <a:gd name="connsiteX505" fmla="*/ 428394 w 652669"/>
                <a:gd name="connsiteY505" fmla="*/ 162304 h 809581"/>
                <a:gd name="connsiteX506" fmla="*/ 429430 w 652669"/>
                <a:gd name="connsiteY506" fmla="*/ 163110 h 809581"/>
                <a:gd name="connsiteX507" fmla="*/ 430582 w 652669"/>
                <a:gd name="connsiteY507" fmla="*/ 163686 h 809581"/>
                <a:gd name="connsiteX508" fmla="*/ 431504 w 652669"/>
                <a:gd name="connsiteY508" fmla="*/ 164147 h 809581"/>
                <a:gd name="connsiteX509" fmla="*/ 431619 w 652669"/>
                <a:gd name="connsiteY509" fmla="*/ 164147 h 809581"/>
                <a:gd name="connsiteX510" fmla="*/ 431734 w 652669"/>
                <a:gd name="connsiteY510" fmla="*/ 164147 h 809581"/>
                <a:gd name="connsiteX511" fmla="*/ 431849 w 652669"/>
                <a:gd name="connsiteY511" fmla="*/ 164147 h 809581"/>
                <a:gd name="connsiteX512" fmla="*/ 431965 w 652669"/>
                <a:gd name="connsiteY512" fmla="*/ 164147 h 809581"/>
                <a:gd name="connsiteX513" fmla="*/ 436687 w 652669"/>
                <a:gd name="connsiteY513" fmla="*/ 165183 h 809581"/>
                <a:gd name="connsiteX514" fmla="*/ 440950 w 652669"/>
                <a:gd name="connsiteY514" fmla="*/ 164953 h 809581"/>
                <a:gd name="connsiteX515" fmla="*/ 444981 w 652669"/>
                <a:gd name="connsiteY515" fmla="*/ 164031 h 809581"/>
                <a:gd name="connsiteX516" fmla="*/ 449013 w 652669"/>
                <a:gd name="connsiteY516" fmla="*/ 162880 h 809581"/>
                <a:gd name="connsiteX517" fmla="*/ 451893 w 652669"/>
                <a:gd name="connsiteY517" fmla="*/ 161958 h 809581"/>
                <a:gd name="connsiteX518" fmla="*/ 454657 w 652669"/>
                <a:gd name="connsiteY518" fmla="*/ 161267 h 809581"/>
                <a:gd name="connsiteX519" fmla="*/ 457191 w 652669"/>
                <a:gd name="connsiteY519" fmla="*/ 160806 h 809581"/>
                <a:gd name="connsiteX520" fmla="*/ 459150 w 652669"/>
                <a:gd name="connsiteY520" fmla="*/ 160691 h 809581"/>
                <a:gd name="connsiteX521" fmla="*/ 459495 w 652669"/>
                <a:gd name="connsiteY521" fmla="*/ 162304 h 809581"/>
                <a:gd name="connsiteX522" fmla="*/ 460071 w 652669"/>
                <a:gd name="connsiteY522" fmla="*/ 167602 h 809581"/>
                <a:gd name="connsiteX523" fmla="*/ 460302 w 652669"/>
                <a:gd name="connsiteY523" fmla="*/ 173938 h 809581"/>
                <a:gd name="connsiteX524" fmla="*/ 460647 w 652669"/>
                <a:gd name="connsiteY524" fmla="*/ 180734 h 809581"/>
                <a:gd name="connsiteX525" fmla="*/ 461453 w 652669"/>
                <a:gd name="connsiteY525" fmla="*/ 187415 h 809581"/>
                <a:gd name="connsiteX526" fmla="*/ 462029 w 652669"/>
                <a:gd name="connsiteY526" fmla="*/ 190410 h 809581"/>
                <a:gd name="connsiteX527" fmla="*/ 462951 w 652669"/>
                <a:gd name="connsiteY527" fmla="*/ 193635 h 809581"/>
                <a:gd name="connsiteX528" fmla="*/ 464679 w 652669"/>
                <a:gd name="connsiteY528" fmla="*/ 197091 h 809581"/>
                <a:gd name="connsiteX529" fmla="*/ 467443 w 652669"/>
                <a:gd name="connsiteY529" fmla="*/ 200892 h 809581"/>
                <a:gd name="connsiteX530" fmla="*/ 469171 w 652669"/>
                <a:gd name="connsiteY530" fmla="*/ 202620 h 809581"/>
                <a:gd name="connsiteX531" fmla="*/ 470899 w 652669"/>
                <a:gd name="connsiteY531" fmla="*/ 203887 h 809581"/>
                <a:gd name="connsiteX532" fmla="*/ 472512 w 652669"/>
                <a:gd name="connsiteY532" fmla="*/ 204809 h 809581"/>
                <a:gd name="connsiteX533" fmla="*/ 474009 w 652669"/>
                <a:gd name="connsiteY533" fmla="*/ 205500 h 809581"/>
                <a:gd name="connsiteX534" fmla="*/ 481612 w 652669"/>
                <a:gd name="connsiteY534" fmla="*/ 206882 h 809581"/>
                <a:gd name="connsiteX535" fmla="*/ 489330 w 652669"/>
                <a:gd name="connsiteY535" fmla="*/ 206882 h 809581"/>
                <a:gd name="connsiteX536" fmla="*/ 496126 w 652669"/>
                <a:gd name="connsiteY536" fmla="*/ 206422 h 809581"/>
                <a:gd name="connsiteX537" fmla="*/ 501194 w 652669"/>
                <a:gd name="connsiteY537" fmla="*/ 206767 h 809581"/>
                <a:gd name="connsiteX538" fmla="*/ 501194 w 652669"/>
                <a:gd name="connsiteY538" fmla="*/ 212411 h 809581"/>
                <a:gd name="connsiteX539" fmla="*/ 500388 w 652669"/>
                <a:gd name="connsiteY539" fmla="*/ 219553 h 809581"/>
                <a:gd name="connsiteX540" fmla="*/ 499697 w 652669"/>
                <a:gd name="connsiteY540" fmla="*/ 227617 h 809581"/>
                <a:gd name="connsiteX541" fmla="*/ 500042 w 652669"/>
                <a:gd name="connsiteY541" fmla="*/ 235680 h 809581"/>
                <a:gd name="connsiteX542" fmla="*/ 500388 w 652669"/>
                <a:gd name="connsiteY542" fmla="*/ 237638 h 809581"/>
                <a:gd name="connsiteX543" fmla="*/ 501079 w 652669"/>
                <a:gd name="connsiteY543" fmla="*/ 239827 h 809581"/>
                <a:gd name="connsiteX544" fmla="*/ 502231 w 652669"/>
                <a:gd name="connsiteY544" fmla="*/ 242246 h 809581"/>
                <a:gd name="connsiteX545" fmla="*/ 503844 w 652669"/>
                <a:gd name="connsiteY545" fmla="*/ 244780 h 809581"/>
                <a:gd name="connsiteX546" fmla="*/ 506378 w 652669"/>
                <a:gd name="connsiteY546" fmla="*/ 247545 h 809581"/>
                <a:gd name="connsiteX547" fmla="*/ 508797 w 652669"/>
                <a:gd name="connsiteY547" fmla="*/ 249503 h 809581"/>
                <a:gd name="connsiteX548" fmla="*/ 511101 w 652669"/>
                <a:gd name="connsiteY548" fmla="*/ 250770 h 809581"/>
                <a:gd name="connsiteX549" fmla="*/ 513174 w 652669"/>
                <a:gd name="connsiteY549" fmla="*/ 251691 h 809581"/>
                <a:gd name="connsiteX550" fmla="*/ 519970 w 652669"/>
                <a:gd name="connsiteY550" fmla="*/ 253534 h 809581"/>
                <a:gd name="connsiteX551" fmla="*/ 526997 w 652669"/>
                <a:gd name="connsiteY551" fmla="*/ 254571 h 809581"/>
                <a:gd name="connsiteX552" fmla="*/ 533448 w 652669"/>
                <a:gd name="connsiteY552" fmla="*/ 255493 h 809581"/>
                <a:gd name="connsiteX553" fmla="*/ 538516 w 652669"/>
                <a:gd name="connsiteY553" fmla="*/ 256760 h 809581"/>
                <a:gd name="connsiteX554" fmla="*/ 538516 w 652669"/>
                <a:gd name="connsiteY554" fmla="*/ 256760 h 809581"/>
                <a:gd name="connsiteX555" fmla="*/ 538516 w 652669"/>
                <a:gd name="connsiteY555" fmla="*/ 256760 h 809581"/>
                <a:gd name="connsiteX556" fmla="*/ 538516 w 652669"/>
                <a:gd name="connsiteY556" fmla="*/ 256760 h 809581"/>
                <a:gd name="connsiteX557" fmla="*/ 538516 w 652669"/>
                <a:gd name="connsiteY557" fmla="*/ 256760 h 809581"/>
                <a:gd name="connsiteX558" fmla="*/ 538286 w 652669"/>
                <a:gd name="connsiteY558" fmla="*/ 258833 h 809581"/>
                <a:gd name="connsiteX559" fmla="*/ 537710 w 652669"/>
                <a:gd name="connsiteY559" fmla="*/ 261483 h 809581"/>
                <a:gd name="connsiteX560" fmla="*/ 536903 w 652669"/>
                <a:gd name="connsiteY560" fmla="*/ 264478 h 809581"/>
                <a:gd name="connsiteX561" fmla="*/ 535867 w 652669"/>
                <a:gd name="connsiteY561" fmla="*/ 267588 h 809581"/>
                <a:gd name="connsiteX562" fmla="*/ 534599 w 652669"/>
                <a:gd name="connsiteY562" fmla="*/ 271735 h 809581"/>
                <a:gd name="connsiteX563" fmla="*/ 533563 w 652669"/>
                <a:gd name="connsiteY563" fmla="*/ 275881 h 809581"/>
                <a:gd name="connsiteX564" fmla="*/ 532987 w 652669"/>
                <a:gd name="connsiteY564" fmla="*/ 280259 h 809581"/>
                <a:gd name="connsiteX565" fmla="*/ 533217 w 652669"/>
                <a:gd name="connsiteY565" fmla="*/ 285212 h 809581"/>
                <a:gd name="connsiteX566" fmla="*/ 533563 w 652669"/>
                <a:gd name="connsiteY566" fmla="*/ 286594 h 809581"/>
                <a:gd name="connsiteX567" fmla="*/ 534024 w 652669"/>
                <a:gd name="connsiteY567" fmla="*/ 288207 h 809581"/>
                <a:gd name="connsiteX568" fmla="*/ 534715 w 652669"/>
                <a:gd name="connsiteY568" fmla="*/ 289935 h 809581"/>
                <a:gd name="connsiteX569" fmla="*/ 535751 w 652669"/>
                <a:gd name="connsiteY569" fmla="*/ 291663 h 809581"/>
                <a:gd name="connsiteX570" fmla="*/ 539553 w 652669"/>
                <a:gd name="connsiteY570" fmla="*/ 296270 h 809581"/>
                <a:gd name="connsiteX571" fmla="*/ 543239 w 652669"/>
                <a:gd name="connsiteY571" fmla="*/ 299150 h 809581"/>
                <a:gd name="connsiteX572" fmla="*/ 546925 w 652669"/>
                <a:gd name="connsiteY572" fmla="*/ 300878 h 809581"/>
                <a:gd name="connsiteX573" fmla="*/ 550496 w 652669"/>
                <a:gd name="connsiteY573" fmla="*/ 302490 h 809581"/>
                <a:gd name="connsiteX574" fmla="*/ 554873 w 652669"/>
                <a:gd name="connsiteY574" fmla="*/ 303873 h 809581"/>
                <a:gd name="connsiteX575" fmla="*/ 559250 w 652669"/>
                <a:gd name="connsiteY575" fmla="*/ 305255 h 809581"/>
                <a:gd name="connsiteX576" fmla="*/ 563397 w 652669"/>
                <a:gd name="connsiteY576" fmla="*/ 306522 h 809581"/>
                <a:gd name="connsiteX577" fmla="*/ 567198 w 652669"/>
                <a:gd name="connsiteY577" fmla="*/ 307904 h 809581"/>
                <a:gd name="connsiteX578" fmla="*/ 568465 w 652669"/>
                <a:gd name="connsiteY578" fmla="*/ 308365 h 809581"/>
                <a:gd name="connsiteX579" fmla="*/ 569617 w 652669"/>
                <a:gd name="connsiteY579" fmla="*/ 308826 h 809581"/>
                <a:gd name="connsiteX580" fmla="*/ 570654 w 652669"/>
                <a:gd name="connsiteY580" fmla="*/ 309287 h 809581"/>
                <a:gd name="connsiteX581" fmla="*/ 571460 w 652669"/>
                <a:gd name="connsiteY581" fmla="*/ 309748 h 809581"/>
                <a:gd name="connsiteX582" fmla="*/ 570769 w 652669"/>
                <a:gd name="connsiteY582" fmla="*/ 311591 h 809581"/>
                <a:gd name="connsiteX583" fmla="*/ 569733 w 652669"/>
                <a:gd name="connsiteY583" fmla="*/ 313894 h 809581"/>
                <a:gd name="connsiteX584" fmla="*/ 568465 w 652669"/>
                <a:gd name="connsiteY584" fmla="*/ 316429 h 809581"/>
                <a:gd name="connsiteX585" fmla="*/ 566853 w 652669"/>
                <a:gd name="connsiteY585" fmla="*/ 319078 h 809581"/>
                <a:gd name="connsiteX586" fmla="*/ 564779 w 652669"/>
                <a:gd name="connsiteY586" fmla="*/ 322879 h 809581"/>
                <a:gd name="connsiteX587" fmla="*/ 562821 w 652669"/>
                <a:gd name="connsiteY587" fmla="*/ 326796 h 809581"/>
                <a:gd name="connsiteX588" fmla="*/ 561554 w 652669"/>
                <a:gd name="connsiteY588" fmla="*/ 331173 h 809581"/>
                <a:gd name="connsiteX589" fmla="*/ 561554 w 652669"/>
                <a:gd name="connsiteY589" fmla="*/ 336587 h 809581"/>
                <a:gd name="connsiteX590" fmla="*/ 561784 w 652669"/>
                <a:gd name="connsiteY590" fmla="*/ 337624 h 809581"/>
                <a:gd name="connsiteX591" fmla="*/ 562130 w 652669"/>
                <a:gd name="connsiteY591" fmla="*/ 338776 h 809581"/>
                <a:gd name="connsiteX592" fmla="*/ 562591 w 652669"/>
                <a:gd name="connsiteY592" fmla="*/ 340043 h 809581"/>
                <a:gd name="connsiteX593" fmla="*/ 563282 w 652669"/>
                <a:gd name="connsiteY593" fmla="*/ 341310 h 809581"/>
                <a:gd name="connsiteX594" fmla="*/ 565931 w 652669"/>
                <a:gd name="connsiteY594" fmla="*/ 345341 h 809581"/>
                <a:gd name="connsiteX595" fmla="*/ 568811 w 652669"/>
                <a:gd name="connsiteY595" fmla="*/ 348221 h 809581"/>
                <a:gd name="connsiteX596" fmla="*/ 571691 w 652669"/>
                <a:gd name="connsiteY596" fmla="*/ 350410 h 809581"/>
                <a:gd name="connsiteX597" fmla="*/ 574571 w 652669"/>
                <a:gd name="connsiteY597" fmla="*/ 352368 h 809581"/>
                <a:gd name="connsiteX598" fmla="*/ 579063 w 652669"/>
                <a:gd name="connsiteY598" fmla="*/ 354787 h 809581"/>
                <a:gd name="connsiteX599" fmla="*/ 583671 w 652669"/>
                <a:gd name="connsiteY599" fmla="*/ 357091 h 809581"/>
                <a:gd name="connsiteX600" fmla="*/ 588163 w 652669"/>
                <a:gd name="connsiteY600" fmla="*/ 359164 h 809581"/>
                <a:gd name="connsiteX601" fmla="*/ 592425 w 652669"/>
                <a:gd name="connsiteY601" fmla="*/ 361238 h 809581"/>
                <a:gd name="connsiteX602" fmla="*/ 594268 w 652669"/>
                <a:gd name="connsiteY602" fmla="*/ 362274 h 809581"/>
                <a:gd name="connsiteX603" fmla="*/ 595996 w 652669"/>
                <a:gd name="connsiteY603" fmla="*/ 363196 h 809581"/>
                <a:gd name="connsiteX604" fmla="*/ 597494 w 652669"/>
                <a:gd name="connsiteY604" fmla="*/ 364117 h 809581"/>
                <a:gd name="connsiteX605" fmla="*/ 598761 w 652669"/>
                <a:gd name="connsiteY605" fmla="*/ 364924 h 809581"/>
                <a:gd name="connsiteX606" fmla="*/ 597609 w 652669"/>
                <a:gd name="connsiteY606" fmla="*/ 366652 h 809581"/>
                <a:gd name="connsiteX607" fmla="*/ 595996 w 652669"/>
                <a:gd name="connsiteY607" fmla="*/ 368725 h 809581"/>
                <a:gd name="connsiteX608" fmla="*/ 593923 w 652669"/>
                <a:gd name="connsiteY608" fmla="*/ 371029 h 809581"/>
                <a:gd name="connsiteX609" fmla="*/ 591619 w 652669"/>
                <a:gd name="connsiteY609" fmla="*/ 373333 h 809581"/>
                <a:gd name="connsiteX610" fmla="*/ 588854 w 652669"/>
                <a:gd name="connsiteY610" fmla="*/ 376443 h 809581"/>
                <a:gd name="connsiteX611" fmla="*/ 586205 w 652669"/>
                <a:gd name="connsiteY611" fmla="*/ 379668 h 809581"/>
                <a:gd name="connsiteX612" fmla="*/ 584477 w 652669"/>
                <a:gd name="connsiteY612" fmla="*/ 383585 h 809581"/>
                <a:gd name="connsiteX613" fmla="*/ 584247 w 652669"/>
                <a:gd name="connsiteY613" fmla="*/ 389229 h 809581"/>
                <a:gd name="connsiteX614" fmla="*/ 585168 w 652669"/>
                <a:gd name="connsiteY614" fmla="*/ 392109 h 809581"/>
                <a:gd name="connsiteX615" fmla="*/ 587357 w 652669"/>
                <a:gd name="connsiteY615" fmla="*/ 396371 h 809581"/>
                <a:gd name="connsiteX616" fmla="*/ 590006 w 652669"/>
                <a:gd name="connsiteY616" fmla="*/ 399596 h 809581"/>
                <a:gd name="connsiteX617" fmla="*/ 592771 w 652669"/>
                <a:gd name="connsiteY617" fmla="*/ 402246 h 809581"/>
                <a:gd name="connsiteX618" fmla="*/ 595535 w 652669"/>
                <a:gd name="connsiteY618" fmla="*/ 404549 h 809581"/>
                <a:gd name="connsiteX619" fmla="*/ 599913 w 652669"/>
                <a:gd name="connsiteY619" fmla="*/ 407660 h 809581"/>
                <a:gd name="connsiteX620" fmla="*/ 604520 w 652669"/>
                <a:gd name="connsiteY620" fmla="*/ 410654 h 809581"/>
                <a:gd name="connsiteX621" fmla="*/ 609128 w 652669"/>
                <a:gd name="connsiteY621" fmla="*/ 413534 h 809581"/>
                <a:gd name="connsiteX622" fmla="*/ 613505 w 652669"/>
                <a:gd name="connsiteY622" fmla="*/ 416299 h 809581"/>
                <a:gd name="connsiteX623" fmla="*/ 615348 w 652669"/>
                <a:gd name="connsiteY623" fmla="*/ 417566 h 809581"/>
                <a:gd name="connsiteX624" fmla="*/ 617076 w 652669"/>
                <a:gd name="connsiteY624" fmla="*/ 418833 h 809581"/>
                <a:gd name="connsiteX625" fmla="*/ 618573 w 652669"/>
                <a:gd name="connsiteY625" fmla="*/ 419985 h 809581"/>
                <a:gd name="connsiteX626" fmla="*/ 619725 w 652669"/>
                <a:gd name="connsiteY626" fmla="*/ 421022 h 809581"/>
                <a:gd name="connsiteX627" fmla="*/ 618343 w 652669"/>
                <a:gd name="connsiteY627" fmla="*/ 422404 h 809581"/>
                <a:gd name="connsiteX628" fmla="*/ 616270 w 652669"/>
                <a:gd name="connsiteY628" fmla="*/ 424017 h 809581"/>
                <a:gd name="connsiteX629" fmla="*/ 613735 w 652669"/>
                <a:gd name="connsiteY629" fmla="*/ 425744 h 809581"/>
                <a:gd name="connsiteX630" fmla="*/ 610971 w 652669"/>
                <a:gd name="connsiteY630" fmla="*/ 427357 h 809581"/>
                <a:gd name="connsiteX631" fmla="*/ 607285 w 652669"/>
                <a:gd name="connsiteY631" fmla="*/ 429776 h 809581"/>
                <a:gd name="connsiteX632" fmla="*/ 603829 w 652669"/>
                <a:gd name="connsiteY632" fmla="*/ 432310 h 809581"/>
                <a:gd name="connsiteX633" fmla="*/ 601410 w 652669"/>
                <a:gd name="connsiteY633" fmla="*/ 435996 h 809581"/>
                <a:gd name="connsiteX634" fmla="*/ 600719 w 652669"/>
                <a:gd name="connsiteY634" fmla="*/ 442217 h 809581"/>
                <a:gd name="connsiteX635" fmla="*/ 600949 w 652669"/>
                <a:gd name="connsiteY635" fmla="*/ 443023 h 809581"/>
                <a:gd name="connsiteX636" fmla="*/ 601180 w 652669"/>
                <a:gd name="connsiteY636" fmla="*/ 443945 h 809581"/>
                <a:gd name="connsiteX637" fmla="*/ 603138 w 652669"/>
                <a:gd name="connsiteY637" fmla="*/ 448091 h 809581"/>
                <a:gd name="connsiteX638" fmla="*/ 605442 w 652669"/>
                <a:gd name="connsiteY638" fmla="*/ 451432 h 809581"/>
                <a:gd name="connsiteX639" fmla="*/ 607976 w 652669"/>
                <a:gd name="connsiteY639" fmla="*/ 454312 h 809581"/>
                <a:gd name="connsiteX640" fmla="*/ 610510 w 652669"/>
                <a:gd name="connsiteY640" fmla="*/ 456846 h 809581"/>
                <a:gd name="connsiteX641" fmla="*/ 614772 w 652669"/>
                <a:gd name="connsiteY641" fmla="*/ 460762 h 809581"/>
                <a:gd name="connsiteX642" fmla="*/ 619265 w 652669"/>
                <a:gd name="connsiteY642" fmla="*/ 464564 h 809581"/>
                <a:gd name="connsiteX643" fmla="*/ 623757 w 652669"/>
                <a:gd name="connsiteY643" fmla="*/ 468250 h 809581"/>
                <a:gd name="connsiteX644" fmla="*/ 628019 w 652669"/>
                <a:gd name="connsiteY644" fmla="*/ 471821 h 809581"/>
                <a:gd name="connsiteX645" fmla="*/ 629862 w 652669"/>
                <a:gd name="connsiteY645" fmla="*/ 473433 h 809581"/>
                <a:gd name="connsiteX646" fmla="*/ 631590 w 652669"/>
                <a:gd name="connsiteY646" fmla="*/ 474931 h 809581"/>
                <a:gd name="connsiteX647" fmla="*/ 633087 w 652669"/>
                <a:gd name="connsiteY647" fmla="*/ 476313 h 809581"/>
                <a:gd name="connsiteX648" fmla="*/ 634239 w 652669"/>
                <a:gd name="connsiteY648" fmla="*/ 477465 h 809581"/>
                <a:gd name="connsiteX649" fmla="*/ 632166 w 652669"/>
                <a:gd name="connsiteY649" fmla="*/ 478732 h 809581"/>
                <a:gd name="connsiteX650" fmla="*/ 629171 w 652669"/>
                <a:gd name="connsiteY650" fmla="*/ 479999 h 809581"/>
                <a:gd name="connsiteX651" fmla="*/ 625370 w 652669"/>
                <a:gd name="connsiteY651" fmla="*/ 481151 h 809581"/>
                <a:gd name="connsiteX652" fmla="*/ 621453 w 652669"/>
                <a:gd name="connsiteY652" fmla="*/ 482303 h 809581"/>
                <a:gd name="connsiteX653" fmla="*/ 617652 w 652669"/>
                <a:gd name="connsiteY653" fmla="*/ 483685 h 809581"/>
                <a:gd name="connsiteX654" fmla="*/ 614081 w 652669"/>
                <a:gd name="connsiteY654" fmla="*/ 485298 h 809581"/>
                <a:gd name="connsiteX655" fmla="*/ 611432 w 652669"/>
                <a:gd name="connsiteY655" fmla="*/ 488293 h 809581"/>
                <a:gd name="connsiteX656" fmla="*/ 610395 w 652669"/>
                <a:gd name="connsiteY656" fmla="*/ 493937 h 809581"/>
                <a:gd name="connsiteX657" fmla="*/ 610395 w 652669"/>
                <a:gd name="connsiteY657" fmla="*/ 494744 h 809581"/>
                <a:gd name="connsiteX658" fmla="*/ 611892 w 652669"/>
                <a:gd name="connsiteY658" fmla="*/ 499121 h 809581"/>
                <a:gd name="connsiteX659" fmla="*/ 613966 w 652669"/>
                <a:gd name="connsiteY659" fmla="*/ 502807 h 809581"/>
                <a:gd name="connsiteX660" fmla="*/ 616270 w 652669"/>
                <a:gd name="connsiteY660" fmla="*/ 506032 h 809581"/>
                <a:gd name="connsiteX661" fmla="*/ 618804 w 652669"/>
                <a:gd name="connsiteY661" fmla="*/ 509027 h 809581"/>
                <a:gd name="connsiteX662" fmla="*/ 622720 w 652669"/>
                <a:gd name="connsiteY662" fmla="*/ 513404 h 809581"/>
                <a:gd name="connsiteX663" fmla="*/ 626982 w 652669"/>
                <a:gd name="connsiteY663" fmla="*/ 517782 h 809581"/>
                <a:gd name="connsiteX664" fmla="*/ 631244 w 652669"/>
                <a:gd name="connsiteY664" fmla="*/ 522044 h 809581"/>
                <a:gd name="connsiteX665" fmla="*/ 635276 w 652669"/>
                <a:gd name="connsiteY665" fmla="*/ 526075 h 809581"/>
                <a:gd name="connsiteX666" fmla="*/ 637119 w 652669"/>
                <a:gd name="connsiteY666" fmla="*/ 528034 h 809581"/>
                <a:gd name="connsiteX667" fmla="*/ 638732 w 652669"/>
                <a:gd name="connsiteY667" fmla="*/ 529877 h 809581"/>
                <a:gd name="connsiteX668" fmla="*/ 640114 w 652669"/>
                <a:gd name="connsiteY668" fmla="*/ 531489 h 809581"/>
                <a:gd name="connsiteX669" fmla="*/ 641266 w 652669"/>
                <a:gd name="connsiteY669" fmla="*/ 532872 h 809581"/>
                <a:gd name="connsiteX670" fmla="*/ 641496 w 652669"/>
                <a:gd name="connsiteY670" fmla="*/ 533217 h 809581"/>
                <a:gd name="connsiteX671" fmla="*/ 639077 w 652669"/>
                <a:gd name="connsiteY671" fmla="*/ 534024 h 809581"/>
                <a:gd name="connsiteX672" fmla="*/ 635622 w 652669"/>
                <a:gd name="connsiteY672" fmla="*/ 534484 h 809581"/>
                <a:gd name="connsiteX673" fmla="*/ 631475 w 652669"/>
                <a:gd name="connsiteY673" fmla="*/ 534830 h 809581"/>
                <a:gd name="connsiteX674" fmla="*/ 627098 w 652669"/>
                <a:gd name="connsiteY674" fmla="*/ 535060 h 809581"/>
                <a:gd name="connsiteX675" fmla="*/ 622720 w 652669"/>
                <a:gd name="connsiteY675" fmla="*/ 535636 h 809581"/>
                <a:gd name="connsiteX676" fmla="*/ 618573 w 652669"/>
                <a:gd name="connsiteY676" fmla="*/ 536327 h 809581"/>
                <a:gd name="connsiteX677" fmla="*/ 615348 w 652669"/>
                <a:gd name="connsiteY677" fmla="*/ 538516 h 809581"/>
                <a:gd name="connsiteX678" fmla="*/ 613390 w 652669"/>
                <a:gd name="connsiteY678" fmla="*/ 543584 h 809581"/>
                <a:gd name="connsiteX679" fmla="*/ 613620 w 652669"/>
                <a:gd name="connsiteY679" fmla="*/ 546234 h 809581"/>
                <a:gd name="connsiteX680" fmla="*/ 616615 w 652669"/>
                <a:gd name="connsiteY680" fmla="*/ 553721 h 809581"/>
                <a:gd name="connsiteX681" fmla="*/ 620762 w 652669"/>
                <a:gd name="connsiteY681" fmla="*/ 560172 h 809581"/>
                <a:gd name="connsiteX682" fmla="*/ 625600 w 652669"/>
                <a:gd name="connsiteY682" fmla="*/ 566277 h 809581"/>
                <a:gd name="connsiteX683" fmla="*/ 630668 w 652669"/>
                <a:gd name="connsiteY683" fmla="*/ 572612 h 809581"/>
                <a:gd name="connsiteX684" fmla="*/ 633087 w 652669"/>
                <a:gd name="connsiteY684" fmla="*/ 575607 h 809581"/>
                <a:gd name="connsiteX685" fmla="*/ 635391 w 652669"/>
                <a:gd name="connsiteY685" fmla="*/ 578602 h 809581"/>
                <a:gd name="connsiteX686" fmla="*/ 637580 w 652669"/>
                <a:gd name="connsiteY686" fmla="*/ 581367 h 809581"/>
                <a:gd name="connsiteX687" fmla="*/ 639423 w 652669"/>
                <a:gd name="connsiteY687" fmla="*/ 583901 h 809581"/>
                <a:gd name="connsiteX688" fmla="*/ 641381 w 652669"/>
                <a:gd name="connsiteY688" fmla="*/ 586781 h 809581"/>
                <a:gd name="connsiteX689" fmla="*/ 638617 w 652669"/>
                <a:gd name="connsiteY689" fmla="*/ 586896 h 809581"/>
                <a:gd name="connsiteX690" fmla="*/ 634815 w 652669"/>
                <a:gd name="connsiteY690" fmla="*/ 586551 h 809581"/>
                <a:gd name="connsiteX691" fmla="*/ 630208 w 652669"/>
                <a:gd name="connsiteY691" fmla="*/ 585975 h 809581"/>
                <a:gd name="connsiteX692" fmla="*/ 625370 w 652669"/>
                <a:gd name="connsiteY692" fmla="*/ 585283 h 809581"/>
                <a:gd name="connsiteX693" fmla="*/ 620532 w 652669"/>
                <a:gd name="connsiteY693" fmla="*/ 584823 h 809581"/>
                <a:gd name="connsiteX694" fmla="*/ 615924 w 652669"/>
                <a:gd name="connsiteY694" fmla="*/ 584592 h 809581"/>
                <a:gd name="connsiteX695" fmla="*/ 611892 w 652669"/>
                <a:gd name="connsiteY695" fmla="*/ 585975 h 809581"/>
                <a:gd name="connsiteX696" fmla="*/ 609013 w 652669"/>
                <a:gd name="connsiteY696" fmla="*/ 590237 h 809581"/>
                <a:gd name="connsiteX697" fmla="*/ 609013 w 652669"/>
                <a:gd name="connsiteY697" fmla="*/ 591273 h 809581"/>
                <a:gd name="connsiteX698" fmla="*/ 609013 w 652669"/>
                <a:gd name="connsiteY698" fmla="*/ 592425 h 809581"/>
                <a:gd name="connsiteX699" fmla="*/ 609013 w 652669"/>
                <a:gd name="connsiteY699" fmla="*/ 593577 h 809581"/>
                <a:gd name="connsiteX700" fmla="*/ 609128 w 652669"/>
                <a:gd name="connsiteY700" fmla="*/ 594729 h 809581"/>
                <a:gd name="connsiteX701" fmla="*/ 611547 w 652669"/>
                <a:gd name="connsiteY701" fmla="*/ 601756 h 809581"/>
                <a:gd name="connsiteX702" fmla="*/ 615002 w 652669"/>
                <a:gd name="connsiteY702" fmla="*/ 608322 h 809581"/>
                <a:gd name="connsiteX703" fmla="*/ 619034 w 652669"/>
                <a:gd name="connsiteY703" fmla="*/ 614772 h 809581"/>
                <a:gd name="connsiteX704" fmla="*/ 623296 w 652669"/>
                <a:gd name="connsiteY704" fmla="*/ 621338 h 809581"/>
                <a:gd name="connsiteX705" fmla="*/ 626406 w 652669"/>
                <a:gd name="connsiteY705" fmla="*/ 625830 h 809581"/>
                <a:gd name="connsiteX706" fmla="*/ 629171 w 652669"/>
                <a:gd name="connsiteY706" fmla="*/ 630208 h 809581"/>
                <a:gd name="connsiteX707" fmla="*/ 631475 w 652669"/>
                <a:gd name="connsiteY707" fmla="*/ 634009 h 809581"/>
                <a:gd name="connsiteX708" fmla="*/ 633087 w 652669"/>
                <a:gd name="connsiteY708" fmla="*/ 636889 h 809581"/>
                <a:gd name="connsiteX709" fmla="*/ 632166 w 652669"/>
                <a:gd name="connsiteY709" fmla="*/ 636889 h 809581"/>
                <a:gd name="connsiteX710" fmla="*/ 631244 w 652669"/>
                <a:gd name="connsiteY710" fmla="*/ 636774 h 809581"/>
                <a:gd name="connsiteX711" fmla="*/ 630092 w 652669"/>
                <a:gd name="connsiteY711" fmla="*/ 636543 h 809581"/>
                <a:gd name="connsiteX712" fmla="*/ 628825 w 652669"/>
                <a:gd name="connsiteY712" fmla="*/ 636198 h 809581"/>
                <a:gd name="connsiteX713" fmla="*/ 624794 w 652669"/>
                <a:gd name="connsiteY713" fmla="*/ 634931 h 809581"/>
                <a:gd name="connsiteX714" fmla="*/ 620186 w 652669"/>
                <a:gd name="connsiteY714" fmla="*/ 633433 h 809581"/>
                <a:gd name="connsiteX715" fmla="*/ 615463 w 652669"/>
                <a:gd name="connsiteY715" fmla="*/ 631936 h 809581"/>
                <a:gd name="connsiteX716" fmla="*/ 610856 w 652669"/>
                <a:gd name="connsiteY716" fmla="*/ 630553 h 809581"/>
                <a:gd name="connsiteX717" fmla="*/ 607170 w 652669"/>
                <a:gd name="connsiteY717" fmla="*/ 629747 h 809581"/>
                <a:gd name="connsiteX718" fmla="*/ 603483 w 652669"/>
                <a:gd name="connsiteY718" fmla="*/ 629286 h 809581"/>
                <a:gd name="connsiteX719" fmla="*/ 600258 w 652669"/>
                <a:gd name="connsiteY719" fmla="*/ 630208 h 809581"/>
                <a:gd name="connsiteX720" fmla="*/ 597494 w 652669"/>
                <a:gd name="connsiteY720" fmla="*/ 633318 h 809581"/>
                <a:gd name="connsiteX721" fmla="*/ 597033 w 652669"/>
                <a:gd name="connsiteY721" fmla="*/ 634931 h 809581"/>
                <a:gd name="connsiteX722" fmla="*/ 596918 w 652669"/>
                <a:gd name="connsiteY722" fmla="*/ 636658 h 809581"/>
                <a:gd name="connsiteX723" fmla="*/ 596918 w 652669"/>
                <a:gd name="connsiteY723" fmla="*/ 638386 h 809581"/>
                <a:gd name="connsiteX724" fmla="*/ 597148 w 652669"/>
                <a:gd name="connsiteY724" fmla="*/ 640114 h 809581"/>
                <a:gd name="connsiteX725" fmla="*/ 598991 w 652669"/>
                <a:gd name="connsiteY725" fmla="*/ 646450 h 809581"/>
                <a:gd name="connsiteX726" fmla="*/ 601640 w 652669"/>
                <a:gd name="connsiteY726" fmla="*/ 652785 h 809581"/>
                <a:gd name="connsiteX727" fmla="*/ 604866 w 652669"/>
                <a:gd name="connsiteY727" fmla="*/ 659236 h 809581"/>
                <a:gd name="connsiteX728" fmla="*/ 608206 w 652669"/>
                <a:gd name="connsiteY728" fmla="*/ 665802 h 809581"/>
                <a:gd name="connsiteX729" fmla="*/ 610856 w 652669"/>
                <a:gd name="connsiteY729" fmla="*/ 670870 h 809581"/>
                <a:gd name="connsiteX730" fmla="*/ 613159 w 652669"/>
                <a:gd name="connsiteY730" fmla="*/ 675593 h 809581"/>
                <a:gd name="connsiteX731" fmla="*/ 615118 w 652669"/>
                <a:gd name="connsiteY731" fmla="*/ 679740 h 809581"/>
                <a:gd name="connsiteX732" fmla="*/ 616385 w 652669"/>
                <a:gd name="connsiteY732" fmla="*/ 682850 h 809581"/>
                <a:gd name="connsiteX733" fmla="*/ 616385 w 652669"/>
                <a:gd name="connsiteY733" fmla="*/ 682850 h 809581"/>
                <a:gd name="connsiteX734" fmla="*/ 616385 w 652669"/>
                <a:gd name="connsiteY734" fmla="*/ 682850 h 809581"/>
                <a:gd name="connsiteX735" fmla="*/ 616385 w 652669"/>
                <a:gd name="connsiteY735" fmla="*/ 682850 h 809581"/>
                <a:gd name="connsiteX736" fmla="*/ 616270 w 652669"/>
                <a:gd name="connsiteY736" fmla="*/ 682850 h 809581"/>
                <a:gd name="connsiteX737" fmla="*/ 610395 w 652669"/>
                <a:gd name="connsiteY737" fmla="*/ 680546 h 809581"/>
                <a:gd name="connsiteX738" fmla="*/ 602677 w 652669"/>
                <a:gd name="connsiteY738" fmla="*/ 676630 h 809581"/>
                <a:gd name="connsiteX739" fmla="*/ 594383 w 652669"/>
                <a:gd name="connsiteY739" fmla="*/ 672483 h 809581"/>
                <a:gd name="connsiteX740" fmla="*/ 586666 w 652669"/>
                <a:gd name="connsiteY740" fmla="*/ 669488 h 809581"/>
                <a:gd name="connsiteX741" fmla="*/ 584477 w 652669"/>
                <a:gd name="connsiteY741" fmla="*/ 669027 h 809581"/>
                <a:gd name="connsiteX742" fmla="*/ 582173 w 652669"/>
                <a:gd name="connsiteY742" fmla="*/ 669027 h 809581"/>
                <a:gd name="connsiteX743" fmla="*/ 579985 w 652669"/>
                <a:gd name="connsiteY743" fmla="*/ 669718 h 809581"/>
                <a:gd name="connsiteX744" fmla="*/ 578026 w 652669"/>
                <a:gd name="connsiteY744" fmla="*/ 671446 h 809581"/>
                <a:gd name="connsiteX745" fmla="*/ 577105 w 652669"/>
                <a:gd name="connsiteY745" fmla="*/ 673635 h 809581"/>
                <a:gd name="connsiteX746" fmla="*/ 576759 w 652669"/>
                <a:gd name="connsiteY746" fmla="*/ 676054 h 809581"/>
                <a:gd name="connsiteX747" fmla="*/ 576759 w 652669"/>
                <a:gd name="connsiteY747" fmla="*/ 678473 h 809581"/>
                <a:gd name="connsiteX748" fmla="*/ 577105 w 652669"/>
                <a:gd name="connsiteY748" fmla="*/ 680776 h 809581"/>
                <a:gd name="connsiteX749" fmla="*/ 580215 w 652669"/>
                <a:gd name="connsiteY749" fmla="*/ 691604 h 809581"/>
                <a:gd name="connsiteX750" fmla="*/ 584707 w 652669"/>
                <a:gd name="connsiteY750" fmla="*/ 703354 h 809581"/>
                <a:gd name="connsiteX751" fmla="*/ 588969 w 652669"/>
                <a:gd name="connsiteY751" fmla="*/ 714182 h 809581"/>
                <a:gd name="connsiteX752" fmla="*/ 591504 w 652669"/>
                <a:gd name="connsiteY752" fmla="*/ 722245 h 809581"/>
                <a:gd name="connsiteX753" fmla="*/ 585053 w 652669"/>
                <a:gd name="connsiteY753" fmla="*/ 718444 h 809581"/>
                <a:gd name="connsiteX754" fmla="*/ 576183 w 652669"/>
                <a:gd name="connsiteY754" fmla="*/ 712223 h 809581"/>
                <a:gd name="connsiteX755" fmla="*/ 566507 w 652669"/>
                <a:gd name="connsiteY755" fmla="*/ 705888 h 809581"/>
                <a:gd name="connsiteX756" fmla="*/ 557522 w 652669"/>
                <a:gd name="connsiteY756" fmla="*/ 701626 h 809581"/>
                <a:gd name="connsiteX757" fmla="*/ 555910 w 652669"/>
                <a:gd name="connsiteY757" fmla="*/ 701395 h 809581"/>
                <a:gd name="connsiteX758" fmla="*/ 554297 w 652669"/>
                <a:gd name="connsiteY758" fmla="*/ 701395 h 809581"/>
                <a:gd name="connsiteX759" fmla="*/ 552684 w 652669"/>
                <a:gd name="connsiteY759" fmla="*/ 701856 h 809581"/>
                <a:gd name="connsiteX760" fmla="*/ 551187 w 652669"/>
                <a:gd name="connsiteY760" fmla="*/ 702893 h 809581"/>
                <a:gd name="connsiteX761" fmla="*/ 549344 w 652669"/>
                <a:gd name="connsiteY761" fmla="*/ 706003 h 809581"/>
                <a:gd name="connsiteX762" fmla="*/ 548653 w 652669"/>
                <a:gd name="connsiteY762" fmla="*/ 709459 h 809581"/>
                <a:gd name="connsiteX763" fmla="*/ 548768 w 652669"/>
                <a:gd name="connsiteY763" fmla="*/ 713260 h 809581"/>
                <a:gd name="connsiteX764" fmla="*/ 549229 w 652669"/>
                <a:gd name="connsiteY764" fmla="*/ 716946 h 809581"/>
                <a:gd name="connsiteX765" fmla="*/ 551187 w 652669"/>
                <a:gd name="connsiteY765" fmla="*/ 726046 h 809581"/>
                <a:gd name="connsiteX766" fmla="*/ 553721 w 652669"/>
                <a:gd name="connsiteY766" fmla="*/ 735607 h 809581"/>
                <a:gd name="connsiteX767" fmla="*/ 556140 w 652669"/>
                <a:gd name="connsiteY767" fmla="*/ 744592 h 809581"/>
                <a:gd name="connsiteX768" fmla="*/ 557753 w 652669"/>
                <a:gd name="connsiteY768" fmla="*/ 751964 h 809581"/>
                <a:gd name="connsiteX769" fmla="*/ 557983 w 652669"/>
                <a:gd name="connsiteY769" fmla="*/ 753922 h 809581"/>
                <a:gd name="connsiteX770" fmla="*/ 555449 w 652669"/>
                <a:gd name="connsiteY770" fmla="*/ 752079 h 809581"/>
                <a:gd name="connsiteX771" fmla="*/ 551993 w 652669"/>
                <a:gd name="connsiteY771" fmla="*/ 749430 h 809581"/>
                <a:gd name="connsiteX772" fmla="*/ 548192 w 652669"/>
                <a:gd name="connsiteY772" fmla="*/ 746205 h 809581"/>
                <a:gd name="connsiteX773" fmla="*/ 544160 w 652669"/>
                <a:gd name="connsiteY773" fmla="*/ 742519 h 809581"/>
                <a:gd name="connsiteX774" fmla="*/ 538516 w 652669"/>
                <a:gd name="connsiteY774" fmla="*/ 737565 h 809581"/>
                <a:gd name="connsiteX775" fmla="*/ 533102 w 652669"/>
                <a:gd name="connsiteY775" fmla="*/ 732843 h 809581"/>
                <a:gd name="connsiteX776" fmla="*/ 527573 w 652669"/>
                <a:gd name="connsiteY776" fmla="*/ 728926 h 809581"/>
                <a:gd name="connsiteX777" fmla="*/ 521928 w 652669"/>
                <a:gd name="connsiteY777" fmla="*/ 726392 h 809581"/>
                <a:gd name="connsiteX778" fmla="*/ 520661 w 652669"/>
                <a:gd name="connsiteY778" fmla="*/ 726277 h 809581"/>
                <a:gd name="connsiteX779" fmla="*/ 519394 w 652669"/>
                <a:gd name="connsiteY779" fmla="*/ 726277 h 809581"/>
                <a:gd name="connsiteX780" fmla="*/ 518127 w 652669"/>
                <a:gd name="connsiteY780" fmla="*/ 726507 h 809581"/>
                <a:gd name="connsiteX781" fmla="*/ 516860 w 652669"/>
                <a:gd name="connsiteY781" fmla="*/ 726968 h 809581"/>
                <a:gd name="connsiteX782" fmla="*/ 514326 w 652669"/>
                <a:gd name="connsiteY782" fmla="*/ 729732 h 809581"/>
                <a:gd name="connsiteX783" fmla="*/ 513174 w 652669"/>
                <a:gd name="connsiteY783" fmla="*/ 733188 h 809581"/>
                <a:gd name="connsiteX784" fmla="*/ 512828 w 652669"/>
                <a:gd name="connsiteY784" fmla="*/ 737105 h 809581"/>
                <a:gd name="connsiteX785" fmla="*/ 512828 w 652669"/>
                <a:gd name="connsiteY785" fmla="*/ 741136 h 809581"/>
                <a:gd name="connsiteX786" fmla="*/ 513289 w 652669"/>
                <a:gd name="connsiteY786" fmla="*/ 747472 h 809581"/>
                <a:gd name="connsiteX787" fmla="*/ 514096 w 652669"/>
                <a:gd name="connsiteY787" fmla="*/ 754268 h 809581"/>
                <a:gd name="connsiteX788" fmla="*/ 515017 w 652669"/>
                <a:gd name="connsiteY788" fmla="*/ 761064 h 809581"/>
                <a:gd name="connsiteX789" fmla="*/ 515823 w 652669"/>
                <a:gd name="connsiteY789" fmla="*/ 767515 h 809581"/>
                <a:gd name="connsiteX790" fmla="*/ 516054 w 652669"/>
                <a:gd name="connsiteY790" fmla="*/ 770279 h 809581"/>
                <a:gd name="connsiteX791" fmla="*/ 516284 w 652669"/>
                <a:gd name="connsiteY791" fmla="*/ 772929 h 809581"/>
                <a:gd name="connsiteX792" fmla="*/ 516399 w 652669"/>
                <a:gd name="connsiteY792" fmla="*/ 775117 h 809581"/>
                <a:gd name="connsiteX793" fmla="*/ 516399 w 652669"/>
                <a:gd name="connsiteY793" fmla="*/ 776845 h 809581"/>
                <a:gd name="connsiteX794" fmla="*/ 513289 w 652669"/>
                <a:gd name="connsiteY794" fmla="*/ 774081 h 809581"/>
                <a:gd name="connsiteX795" fmla="*/ 509373 w 652669"/>
                <a:gd name="connsiteY795" fmla="*/ 769934 h 809581"/>
                <a:gd name="connsiteX796" fmla="*/ 504880 w 652669"/>
                <a:gd name="connsiteY796" fmla="*/ 764981 h 809581"/>
                <a:gd name="connsiteX797" fmla="*/ 500157 w 652669"/>
                <a:gd name="connsiteY797" fmla="*/ 759682 h 809581"/>
                <a:gd name="connsiteX798" fmla="*/ 495089 w 652669"/>
                <a:gd name="connsiteY798" fmla="*/ 754153 h 809581"/>
                <a:gd name="connsiteX799" fmla="*/ 490136 w 652669"/>
                <a:gd name="connsiteY799" fmla="*/ 749084 h 809581"/>
                <a:gd name="connsiteX800" fmla="*/ 484952 w 652669"/>
                <a:gd name="connsiteY800" fmla="*/ 744938 h 809581"/>
                <a:gd name="connsiteX801" fmla="*/ 479193 w 652669"/>
                <a:gd name="connsiteY801" fmla="*/ 742058 h 809581"/>
                <a:gd name="connsiteX802" fmla="*/ 478386 w 652669"/>
                <a:gd name="connsiteY802" fmla="*/ 741943 h 809581"/>
                <a:gd name="connsiteX803" fmla="*/ 477465 w 652669"/>
                <a:gd name="connsiteY803" fmla="*/ 741943 h 809581"/>
                <a:gd name="connsiteX804" fmla="*/ 476543 w 652669"/>
                <a:gd name="connsiteY804" fmla="*/ 741943 h 809581"/>
                <a:gd name="connsiteX805" fmla="*/ 475507 w 652669"/>
                <a:gd name="connsiteY805" fmla="*/ 742173 h 809581"/>
                <a:gd name="connsiteX806" fmla="*/ 472397 w 652669"/>
                <a:gd name="connsiteY806" fmla="*/ 744246 h 809581"/>
                <a:gd name="connsiteX807" fmla="*/ 470669 w 652669"/>
                <a:gd name="connsiteY807" fmla="*/ 747241 h 809581"/>
                <a:gd name="connsiteX808" fmla="*/ 469747 w 652669"/>
                <a:gd name="connsiteY808" fmla="*/ 750812 h 809581"/>
                <a:gd name="connsiteX809" fmla="*/ 469056 w 652669"/>
                <a:gd name="connsiteY809" fmla="*/ 754614 h 809581"/>
                <a:gd name="connsiteX810" fmla="*/ 468595 w 652669"/>
                <a:gd name="connsiteY810" fmla="*/ 760834 h 809581"/>
                <a:gd name="connsiteX811" fmla="*/ 468480 w 652669"/>
                <a:gd name="connsiteY811" fmla="*/ 767400 h 809581"/>
                <a:gd name="connsiteX812" fmla="*/ 468480 w 652669"/>
                <a:gd name="connsiteY812" fmla="*/ 774081 h 809581"/>
                <a:gd name="connsiteX813" fmla="*/ 468480 w 652669"/>
                <a:gd name="connsiteY813" fmla="*/ 780416 h 809581"/>
                <a:gd name="connsiteX814" fmla="*/ 468365 w 652669"/>
                <a:gd name="connsiteY814" fmla="*/ 783181 h 809581"/>
                <a:gd name="connsiteX815" fmla="*/ 468250 w 652669"/>
                <a:gd name="connsiteY815" fmla="*/ 785715 h 809581"/>
                <a:gd name="connsiteX816" fmla="*/ 468019 w 652669"/>
                <a:gd name="connsiteY816" fmla="*/ 787904 h 809581"/>
                <a:gd name="connsiteX817" fmla="*/ 467674 w 652669"/>
                <a:gd name="connsiteY817" fmla="*/ 789516 h 809581"/>
                <a:gd name="connsiteX818" fmla="*/ 464794 w 652669"/>
                <a:gd name="connsiteY818" fmla="*/ 786061 h 809581"/>
                <a:gd name="connsiteX819" fmla="*/ 461108 w 652669"/>
                <a:gd name="connsiteY819" fmla="*/ 781223 h 809581"/>
                <a:gd name="connsiteX820" fmla="*/ 456961 w 652669"/>
                <a:gd name="connsiteY820" fmla="*/ 775463 h 809581"/>
                <a:gd name="connsiteX821" fmla="*/ 452699 w 652669"/>
                <a:gd name="connsiteY821" fmla="*/ 769358 h 809581"/>
                <a:gd name="connsiteX822" fmla="*/ 447861 w 652669"/>
                <a:gd name="connsiteY822" fmla="*/ 762677 h 809581"/>
                <a:gd name="connsiteX823" fmla="*/ 443023 w 652669"/>
                <a:gd name="connsiteY823" fmla="*/ 756457 h 809581"/>
                <a:gd name="connsiteX824" fmla="*/ 437609 w 652669"/>
                <a:gd name="connsiteY824" fmla="*/ 751273 h 809581"/>
                <a:gd name="connsiteX825" fmla="*/ 430928 w 652669"/>
                <a:gd name="connsiteY825" fmla="*/ 747587 h 809581"/>
                <a:gd name="connsiteX826" fmla="*/ 428739 w 652669"/>
                <a:gd name="connsiteY826" fmla="*/ 747587 h 809581"/>
                <a:gd name="connsiteX827" fmla="*/ 425168 w 652669"/>
                <a:gd name="connsiteY827" fmla="*/ 748739 h 809581"/>
                <a:gd name="connsiteX828" fmla="*/ 422865 w 652669"/>
                <a:gd name="connsiteY828" fmla="*/ 751158 h 809581"/>
                <a:gd name="connsiteX829" fmla="*/ 421367 w 652669"/>
                <a:gd name="connsiteY829" fmla="*/ 754383 h 809581"/>
                <a:gd name="connsiteX830" fmla="*/ 420215 w 652669"/>
                <a:gd name="connsiteY830" fmla="*/ 757839 h 809581"/>
                <a:gd name="connsiteX831" fmla="*/ 418718 w 652669"/>
                <a:gd name="connsiteY831" fmla="*/ 763598 h 809581"/>
                <a:gd name="connsiteX832" fmla="*/ 417451 w 652669"/>
                <a:gd name="connsiteY832" fmla="*/ 769819 h 809581"/>
                <a:gd name="connsiteX833" fmla="*/ 416414 w 652669"/>
                <a:gd name="connsiteY833" fmla="*/ 776039 h 809581"/>
                <a:gd name="connsiteX834" fmla="*/ 415377 w 652669"/>
                <a:gd name="connsiteY834" fmla="*/ 782029 h 809581"/>
                <a:gd name="connsiteX835" fmla="*/ 414801 w 652669"/>
                <a:gd name="connsiteY835" fmla="*/ 784563 h 809581"/>
                <a:gd name="connsiteX836" fmla="*/ 414110 w 652669"/>
                <a:gd name="connsiteY836" fmla="*/ 786867 h 809581"/>
                <a:gd name="connsiteX837" fmla="*/ 413534 w 652669"/>
                <a:gd name="connsiteY837" fmla="*/ 788825 h 809581"/>
                <a:gd name="connsiteX838" fmla="*/ 412843 w 652669"/>
                <a:gd name="connsiteY838" fmla="*/ 790323 h 809581"/>
                <a:gd name="connsiteX839" fmla="*/ 412152 w 652669"/>
                <a:gd name="connsiteY839" fmla="*/ 789401 h 809581"/>
                <a:gd name="connsiteX840" fmla="*/ 411346 w 652669"/>
                <a:gd name="connsiteY840" fmla="*/ 788249 h 809581"/>
                <a:gd name="connsiteX841" fmla="*/ 410424 w 652669"/>
                <a:gd name="connsiteY841" fmla="*/ 786982 h 809581"/>
                <a:gd name="connsiteX842" fmla="*/ 409502 w 652669"/>
                <a:gd name="connsiteY842" fmla="*/ 785485 h 809581"/>
                <a:gd name="connsiteX843" fmla="*/ 406392 w 652669"/>
                <a:gd name="connsiteY843" fmla="*/ 780186 h 809581"/>
                <a:gd name="connsiteX844" fmla="*/ 403052 w 652669"/>
                <a:gd name="connsiteY844" fmla="*/ 774196 h 809581"/>
                <a:gd name="connsiteX845" fmla="*/ 399596 w 652669"/>
                <a:gd name="connsiteY845" fmla="*/ 767860 h 809581"/>
                <a:gd name="connsiteX846" fmla="*/ 396025 w 652669"/>
                <a:gd name="connsiteY846" fmla="*/ 761640 h 809581"/>
                <a:gd name="connsiteX847" fmla="*/ 392454 w 652669"/>
                <a:gd name="connsiteY847" fmla="*/ 755650 h 809581"/>
                <a:gd name="connsiteX848" fmla="*/ 388653 w 652669"/>
                <a:gd name="connsiteY848" fmla="*/ 750006 h 809581"/>
                <a:gd name="connsiteX849" fmla="*/ 384045 w 652669"/>
                <a:gd name="connsiteY849" fmla="*/ 745283 h 809581"/>
                <a:gd name="connsiteX850" fmla="*/ 377825 w 652669"/>
                <a:gd name="connsiteY850" fmla="*/ 741943 h 809581"/>
                <a:gd name="connsiteX851" fmla="*/ 373448 w 652669"/>
                <a:gd name="connsiteY851" fmla="*/ 742173 h 809581"/>
                <a:gd name="connsiteX852" fmla="*/ 370338 w 652669"/>
                <a:gd name="connsiteY852" fmla="*/ 743901 h 809581"/>
                <a:gd name="connsiteX853" fmla="*/ 368034 w 652669"/>
                <a:gd name="connsiteY853" fmla="*/ 746550 h 809581"/>
                <a:gd name="connsiteX854" fmla="*/ 366191 w 652669"/>
                <a:gd name="connsiteY854" fmla="*/ 749430 h 809581"/>
                <a:gd name="connsiteX855" fmla="*/ 363657 w 652669"/>
                <a:gd name="connsiteY855" fmla="*/ 754498 h 809581"/>
                <a:gd name="connsiteX856" fmla="*/ 361353 w 652669"/>
                <a:gd name="connsiteY856" fmla="*/ 760028 h 809581"/>
                <a:gd name="connsiteX857" fmla="*/ 359164 w 652669"/>
                <a:gd name="connsiteY857" fmla="*/ 765787 h 809581"/>
                <a:gd name="connsiteX858" fmla="*/ 357091 w 652669"/>
                <a:gd name="connsiteY858" fmla="*/ 771086 h 809581"/>
                <a:gd name="connsiteX859" fmla="*/ 356054 w 652669"/>
                <a:gd name="connsiteY859" fmla="*/ 773505 h 809581"/>
                <a:gd name="connsiteX860" fmla="*/ 355017 w 652669"/>
                <a:gd name="connsiteY860" fmla="*/ 775693 h 809581"/>
                <a:gd name="connsiteX861" fmla="*/ 353981 w 652669"/>
                <a:gd name="connsiteY861" fmla="*/ 777421 h 809581"/>
                <a:gd name="connsiteX862" fmla="*/ 353059 w 652669"/>
                <a:gd name="connsiteY862" fmla="*/ 778804 h 809581"/>
                <a:gd name="connsiteX863" fmla="*/ 353059 w 652669"/>
                <a:gd name="connsiteY863" fmla="*/ 778804 h 809581"/>
                <a:gd name="connsiteX864" fmla="*/ 350640 w 652669"/>
                <a:gd name="connsiteY864" fmla="*/ 774311 h 809581"/>
                <a:gd name="connsiteX865" fmla="*/ 347760 w 652669"/>
                <a:gd name="connsiteY865" fmla="*/ 767860 h 809581"/>
                <a:gd name="connsiteX866" fmla="*/ 344650 w 652669"/>
                <a:gd name="connsiteY866" fmla="*/ 760488 h 809581"/>
                <a:gd name="connsiteX867" fmla="*/ 341655 w 652669"/>
                <a:gd name="connsiteY867" fmla="*/ 752771 h 809581"/>
                <a:gd name="connsiteX868" fmla="*/ 338200 w 652669"/>
                <a:gd name="connsiteY868" fmla="*/ 745053 h 809581"/>
                <a:gd name="connsiteX869" fmla="*/ 334744 w 652669"/>
                <a:gd name="connsiteY869" fmla="*/ 737681 h 809581"/>
                <a:gd name="connsiteX870" fmla="*/ 330021 w 652669"/>
                <a:gd name="connsiteY870" fmla="*/ 730999 h 809581"/>
                <a:gd name="connsiteX871" fmla="*/ 322994 w 652669"/>
                <a:gd name="connsiteY871" fmla="*/ 725470 h 809581"/>
                <a:gd name="connsiteX872" fmla="*/ 321151 w 652669"/>
                <a:gd name="connsiteY872" fmla="*/ 725010 h 809581"/>
                <a:gd name="connsiteX873" fmla="*/ 313779 w 652669"/>
                <a:gd name="connsiteY873" fmla="*/ 726277 h 809581"/>
                <a:gd name="connsiteX874" fmla="*/ 308596 w 652669"/>
                <a:gd name="connsiteY874" fmla="*/ 730424 h 809581"/>
                <a:gd name="connsiteX875" fmla="*/ 304449 w 652669"/>
                <a:gd name="connsiteY875" fmla="*/ 736183 h 809581"/>
                <a:gd name="connsiteX876" fmla="*/ 300187 w 652669"/>
                <a:gd name="connsiteY876" fmla="*/ 742288 h 809581"/>
                <a:gd name="connsiteX877" fmla="*/ 298113 w 652669"/>
                <a:gd name="connsiteY877" fmla="*/ 745283 h 809581"/>
                <a:gd name="connsiteX878" fmla="*/ 296155 w 652669"/>
                <a:gd name="connsiteY878" fmla="*/ 748163 h 809581"/>
                <a:gd name="connsiteX879" fmla="*/ 294197 w 652669"/>
                <a:gd name="connsiteY879" fmla="*/ 750697 h 809581"/>
                <a:gd name="connsiteX880" fmla="*/ 292354 w 652669"/>
                <a:gd name="connsiteY880" fmla="*/ 752771 h 809581"/>
                <a:gd name="connsiteX881" fmla="*/ 290395 w 652669"/>
                <a:gd name="connsiteY881" fmla="*/ 754844 h 809581"/>
                <a:gd name="connsiteX882" fmla="*/ 288552 w 652669"/>
                <a:gd name="connsiteY882" fmla="*/ 749776 h 809581"/>
                <a:gd name="connsiteX883" fmla="*/ 286479 w 652669"/>
                <a:gd name="connsiteY883" fmla="*/ 743094 h 809581"/>
                <a:gd name="connsiteX884" fmla="*/ 284406 w 652669"/>
                <a:gd name="connsiteY884" fmla="*/ 735377 h 809581"/>
                <a:gd name="connsiteX885" fmla="*/ 282332 w 652669"/>
                <a:gd name="connsiteY885" fmla="*/ 727429 h 809581"/>
                <a:gd name="connsiteX886" fmla="*/ 280028 w 652669"/>
                <a:gd name="connsiteY886" fmla="*/ 719365 h 809581"/>
                <a:gd name="connsiteX887" fmla="*/ 277609 w 652669"/>
                <a:gd name="connsiteY887" fmla="*/ 711648 h 809581"/>
                <a:gd name="connsiteX888" fmla="*/ 273693 w 652669"/>
                <a:gd name="connsiteY888" fmla="*/ 704390 h 809581"/>
                <a:gd name="connsiteX889" fmla="*/ 267127 w 652669"/>
                <a:gd name="connsiteY889" fmla="*/ 697709 h 809581"/>
                <a:gd name="connsiteX890" fmla="*/ 263095 w 652669"/>
                <a:gd name="connsiteY890" fmla="*/ 696097 h 809581"/>
                <a:gd name="connsiteX891" fmla="*/ 255953 w 652669"/>
                <a:gd name="connsiteY891" fmla="*/ 696673 h 809581"/>
                <a:gd name="connsiteX892" fmla="*/ 250194 w 652669"/>
                <a:gd name="connsiteY892" fmla="*/ 699552 h 809581"/>
                <a:gd name="connsiteX893" fmla="*/ 245010 w 652669"/>
                <a:gd name="connsiteY893" fmla="*/ 703815 h 809581"/>
                <a:gd name="connsiteX894" fmla="*/ 239712 w 652669"/>
                <a:gd name="connsiteY894" fmla="*/ 708422 h 809581"/>
                <a:gd name="connsiteX895" fmla="*/ 237177 w 652669"/>
                <a:gd name="connsiteY895" fmla="*/ 710726 h 809581"/>
                <a:gd name="connsiteX896" fmla="*/ 234643 w 652669"/>
                <a:gd name="connsiteY896" fmla="*/ 712915 h 809581"/>
                <a:gd name="connsiteX897" fmla="*/ 232339 w 652669"/>
                <a:gd name="connsiteY897" fmla="*/ 714873 h 809581"/>
                <a:gd name="connsiteX898" fmla="*/ 230151 w 652669"/>
                <a:gd name="connsiteY898" fmla="*/ 716485 h 809581"/>
                <a:gd name="connsiteX899" fmla="*/ 227041 w 652669"/>
                <a:gd name="connsiteY899" fmla="*/ 718213 h 809581"/>
                <a:gd name="connsiteX900" fmla="*/ 225889 w 652669"/>
                <a:gd name="connsiteY900" fmla="*/ 713145 h 809581"/>
                <a:gd name="connsiteX901" fmla="*/ 224852 w 652669"/>
                <a:gd name="connsiteY901" fmla="*/ 706464 h 809581"/>
                <a:gd name="connsiteX902" fmla="*/ 223931 w 652669"/>
                <a:gd name="connsiteY902" fmla="*/ 698861 h 809581"/>
                <a:gd name="connsiteX903" fmla="*/ 223009 w 652669"/>
                <a:gd name="connsiteY903" fmla="*/ 690913 h 809581"/>
                <a:gd name="connsiteX904" fmla="*/ 221857 w 652669"/>
                <a:gd name="connsiteY904" fmla="*/ 682850 h 809581"/>
                <a:gd name="connsiteX905" fmla="*/ 220475 w 652669"/>
                <a:gd name="connsiteY905" fmla="*/ 675132 h 809581"/>
                <a:gd name="connsiteX906" fmla="*/ 217480 w 652669"/>
                <a:gd name="connsiteY906" fmla="*/ 667414 h 809581"/>
                <a:gd name="connsiteX907" fmla="*/ 211490 w 652669"/>
                <a:gd name="connsiteY907" fmla="*/ 659697 h 809581"/>
                <a:gd name="connsiteX908" fmla="*/ 209877 w 652669"/>
                <a:gd name="connsiteY908" fmla="*/ 658545 h 809581"/>
                <a:gd name="connsiteX909" fmla="*/ 208265 w 652669"/>
                <a:gd name="connsiteY909" fmla="*/ 657623 h 809581"/>
                <a:gd name="connsiteX910" fmla="*/ 206652 w 652669"/>
                <a:gd name="connsiteY910" fmla="*/ 657047 h 809581"/>
                <a:gd name="connsiteX911" fmla="*/ 205154 w 652669"/>
                <a:gd name="connsiteY911" fmla="*/ 656702 h 809581"/>
                <a:gd name="connsiteX912" fmla="*/ 198473 w 652669"/>
                <a:gd name="connsiteY912" fmla="*/ 656702 h 809581"/>
                <a:gd name="connsiteX913" fmla="*/ 192368 w 652669"/>
                <a:gd name="connsiteY913" fmla="*/ 658314 h 809581"/>
                <a:gd name="connsiteX914" fmla="*/ 186494 w 652669"/>
                <a:gd name="connsiteY914" fmla="*/ 660964 h 809581"/>
                <a:gd name="connsiteX915" fmla="*/ 180619 w 652669"/>
                <a:gd name="connsiteY915" fmla="*/ 663959 h 809581"/>
                <a:gd name="connsiteX916" fmla="*/ 176357 w 652669"/>
                <a:gd name="connsiteY916" fmla="*/ 666147 h 809581"/>
                <a:gd name="connsiteX917" fmla="*/ 172210 w 652669"/>
                <a:gd name="connsiteY917" fmla="*/ 667990 h 809581"/>
                <a:gd name="connsiteX918" fmla="*/ 168524 w 652669"/>
                <a:gd name="connsiteY918" fmla="*/ 669372 h 809581"/>
                <a:gd name="connsiteX919" fmla="*/ 165644 w 652669"/>
                <a:gd name="connsiteY919" fmla="*/ 670179 h 809581"/>
                <a:gd name="connsiteX920" fmla="*/ 165298 w 652669"/>
                <a:gd name="connsiteY920" fmla="*/ 667990 h 809581"/>
                <a:gd name="connsiteX921" fmla="*/ 165298 w 652669"/>
                <a:gd name="connsiteY921" fmla="*/ 659927 h 809581"/>
                <a:gd name="connsiteX922" fmla="*/ 165759 w 652669"/>
                <a:gd name="connsiteY922" fmla="*/ 650366 h 809581"/>
                <a:gd name="connsiteX923" fmla="*/ 166220 w 652669"/>
                <a:gd name="connsiteY923" fmla="*/ 640229 h 809581"/>
                <a:gd name="connsiteX924" fmla="*/ 165990 w 652669"/>
                <a:gd name="connsiteY924" fmla="*/ 630438 h 809581"/>
                <a:gd name="connsiteX925" fmla="*/ 165414 w 652669"/>
                <a:gd name="connsiteY925" fmla="*/ 626291 h 809581"/>
                <a:gd name="connsiteX926" fmla="*/ 164492 w 652669"/>
                <a:gd name="connsiteY926" fmla="*/ 621914 h 809581"/>
                <a:gd name="connsiteX927" fmla="*/ 162534 w 652669"/>
                <a:gd name="connsiteY927" fmla="*/ 617306 h 809581"/>
                <a:gd name="connsiteX928" fmla="*/ 159078 w 652669"/>
                <a:gd name="connsiteY928" fmla="*/ 612468 h 809581"/>
                <a:gd name="connsiteX929" fmla="*/ 156659 w 652669"/>
                <a:gd name="connsiteY929" fmla="*/ 610395 h 809581"/>
                <a:gd name="connsiteX930" fmla="*/ 154355 w 652669"/>
                <a:gd name="connsiteY930" fmla="*/ 608897 h 809581"/>
                <a:gd name="connsiteX931" fmla="*/ 152052 w 652669"/>
                <a:gd name="connsiteY931" fmla="*/ 607861 h 809581"/>
                <a:gd name="connsiteX932" fmla="*/ 149978 w 652669"/>
                <a:gd name="connsiteY932" fmla="*/ 607285 h 809581"/>
                <a:gd name="connsiteX933" fmla="*/ 138920 w 652669"/>
                <a:gd name="connsiteY933" fmla="*/ 607170 h 809581"/>
                <a:gd name="connsiteX934" fmla="*/ 127286 w 652669"/>
                <a:gd name="connsiteY934" fmla="*/ 609243 h 809581"/>
                <a:gd name="connsiteX935" fmla="*/ 116688 w 652669"/>
                <a:gd name="connsiteY935" fmla="*/ 611662 h 809581"/>
                <a:gd name="connsiteX936" fmla="*/ 108740 w 652669"/>
                <a:gd name="connsiteY936" fmla="*/ 612584 h 809581"/>
                <a:gd name="connsiteX937" fmla="*/ 109777 w 652669"/>
                <a:gd name="connsiteY937" fmla="*/ 604059 h 809581"/>
                <a:gd name="connsiteX938" fmla="*/ 112311 w 652669"/>
                <a:gd name="connsiteY938" fmla="*/ 593116 h 809581"/>
                <a:gd name="connsiteX939" fmla="*/ 114845 w 652669"/>
                <a:gd name="connsiteY939" fmla="*/ 581137 h 809581"/>
                <a:gd name="connsiteX940" fmla="*/ 115766 w 652669"/>
                <a:gd name="connsiteY940" fmla="*/ 569617 h 809581"/>
                <a:gd name="connsiteX941" fmla="*/ 115421 w 652669"/>
                <a:gd name="connsiteY941" fmla="*/ 566853 h 809581"/>
                <a:gd name="connsiteX942" fmla="*/ 114730 w 652669"/>
                <a:gd name="connsiteY942" fmla="*/ 563858 h 809581"/>
                <a:gd name="connsiteX943" fmla="*/ 113463 w 652669"/>
                <a:gd name="connsiteY943" fmla="*/ 560633 h 809581"/>
                <a:gd name="connsiteX944" fmla="*/ 111389 w 652669"/>
                <a:gd name="connsiteY944" fmla="*/ 557292 h 809581"/>
                <a:gd name="connsiteX945" fmla="*/ 108049 w 652669"/>
                <a:gd name="connsiteY945" fmla="*/ 553836 h 809581"/>
                <a:gd name="connsiteX946" fmla="*/ 104708 w 652669"/>
                <a:gd name="connsiteY946" fmla="*/ 551533 h 809581"/>
                <a:gd name="connsiteX947" fmla="*/ 101483 w 652669"/>
                <a:gd name="connsiteY947" fmla="*/ 550150 h 809581"/>
                <a:gd name="connsiteX948" fmla="*/ 98373 w 652669"/>
                <a:gd name="connsiteY948" fmla="*/ 549229 h 809581"/>
                <a:gd name="connsiteX949" fmla="*/ 88121 w 652669"/>
                <a:gd name="connsiteY949" fmla="*/ 547846 h 809581"/>
                <a:gd name="connsiteX950" fmla="*/ 77178 w 652669"/>
                <a:gd name="connsiteY950" fmla="*/ 547501 h 809581"/>
                <a:gd name="connsiteX951" fmla="*/ 67041 w 652669"/>
                <a:gd name="connsiteY951" fmla="*/ 547386 h 809581"/>
                <a:gd name="connsiteX952" fmla="*/ 58978 w 652669"/>
                <a:gd name="connsiteY952" fmla="*/ 546464 h 809581"/>
                <a:gd name="connsiteX953" fmla="*/ 58862 w 652669"/>
                <a:gd name="connsiteY953" fmla="*/ 546464 h 809581"/>
                <a:gd name="connsiteX954" fmla="*/ 58862 w 652669"/>
                <a:gd name="connsiteY954" fmla="*/ 546464 h 809581"/>
                <a:gd name="connsiteX955" fmla="*/ 58747 w 652669"/>
                <a:gd name="connsiteY955" fmla="*/ 546464 h 809581"/>
                <a:gd name="connsiteX956" fmla="*/ 58632 w 652669"/>
                <a:gd name="connsiteY956" fmla="*/ 546464 h 809581"/>
                <a:gd name="connsiteX957" fmla="*/ 59554 w 652669"/>
                <a:gd name="connsiteY957" fmla="*/ 543354 h 809581"/>
                <a:gd name="connsiteX958" fmla="*/ 61051 w 652669"/>
                <a:gd name="connsiteY958" fmla="*/ 539322 h 809581"/>
                <a:gd name="connsiteX959" fmla="*/ 63009 w 652669"/>
                <a:gd name="connsiteY959" fmla="*/ 534830 h 809581"/>
                <a:gd name="connsiteX960" fmla="*/ 65313 w 652669"/>
                <a:gd name="connsiteY960" fmla="*/ 530337 h 809581"/>
                <a:gd name="connsiteX961" fmla="*/ 68193 w 652669"/>
                <a:gd name="connsiteY961" fmla="*/ 524232 h 809581"/>
                <a:gd name="connsiteX962" fmla="*/ 70842 w 652669"/>
                <a:gd name="connsiteY962" fmla="*/ 518242 h 809581"/>
                <a:gd name="connsiteX963" fmla="*/ 72685 w 652669"/>
                <a:gd name="connsiteY963" fmla="*/ 512022 h 809581"/>
                <a:gd name="connsiteX964" fmla="*/ 73261 w 652669"/>
                <a:gd name="connsiteY964" fmla="*/ 505226 h 809581"/>
                <a:gd name="connsiteX965" fmla="*/ 73031 w 652669"/>
                <a:gd name="connsiteY965" fmla="*/ 503268 h 809581"/>
                <a:gd name="connsiteX966" fmla="*/ 72570 w 652669"/>
                <a:gd name="connsiteY966" fmla="*/ 501194 h 809581"/>
                <a:gd name="connsiteX967" fmla="*/ 71764 w 652669"/>
                <a:gd name="connsiteY967" fmla="*/ 498890 h 809581"/>
                <a:gd name="connsiteX968" fmla="*/ 70612 w 652669"/>
                <a:gd name="connsiteY968" fmla="*/ 496587 h 809581"/>
                <a:gd name="connsiteX969" fmla="*/ 65428 w 652669"/>
                <a:gd name="connsiteY969" fmla="*/ 490712 h 809581"/>
                <a:gd name="connsiteX970" fmla="*/ 60129 w 652669"/>
                <a:gd name="connsiteY970" fmla="*/ 487256 h 809581"/>
                <a:gd name="connsiteX971" fmla="*/ 54716 w 652669"/>
                <a:gd name="connsiteY971" fmla="*/ 485183 h 809581"/>
                <a:gd name="connsiteX972" fmla="*/ 49302 w 652669"/>
                <a:gd name="connsiteY972" fmla="*/ 483570 h 809581"/>
                <a:gd name="connsiteX973" fmla="*/ 42620 w 652669"/>
                <a:gd name="connsiteY973" fmla="*/ 481957 h 809581"/>
                <a:gd name="connsiteX974" fmla="*/ 35824 w 652669"/>
                <a:gd name="connsiteY974" fmla="*/ 480460 h 809581"/>
                <a:gd name="connsiteX975" fmla="*/ 29258 w 652669"/>
                <a:gd name="connsiteY975" fmla="*/ 479078 h 809581"/>
                <a:gd name="connsiteX976" fmla="*/ 23269 w 652669"/>
                <a:gd name="connsiteY976" fmla="*/ 477695 h 809581"/>
                <a:gd name="connsiteX977" fmla="*/ 21425 w 652669"/>
                <a:gd name="connsiteY977" fmla="*/ 477235 h 809581"/>
                <a:gd name="connsiteX978" fmla="*/ 19698 w 652669"/>
                <a:gd name="connsiteY978" fmla="*/ 476659 h 809581"/>
                <a:gd name="connsiteX979" fmla="*/ 18200 w 652669"/>
                <a:gd name="connsiteY979" fmla="*/ 476198 h 809581"/>
                <a:gd name="connsiteX980" fmla="*/ 16818 w 652669"/>
                <a:gd name="connsiteY980" fmla="*/ 475737 h 809581"/>
                <a:gd name="connsiteX981" fmla="*/ 18315 w 652669"/>
                <a:gd name="connsiteY981" fmla="*/ 473088 h 809581"/>
                <a:gd name="connsiteX982" fmla="*/ 20504 w 652669"/>
                <a:gd name="connsiteY982" fmla="*/ 469632 h 809581"/>
                <a:gd name="connsiteX983" fmla="*/ 23269 w 652669"/>
                <a:gd name="connsiteY983" fmla="*/ 465946 h 809581"/>
                <a:gd name="connsiteX984" fmla="*/ 26494 w 652669"/>
                <a:gd name="connsiteY984" fmla="*/ 462260 h 809581"/>
                <a:gd name="connsiteX985" fmla="*/ 30871 w 652669"/>
                <a:gd name="connsiteY985" fmla="*/ 456846 h 809581"/>
                <a:gd name="connsiteX986" fmla="*/ 34903 w 652669"/>
                <a:gd name="connsiteY986" fmla="*/ 451547 h 809581"/>
                <a:gd name="connsiteX987" fmla="*/ 37898 w 652669"/>
                <a:gd name="connsiteY987" fmla="*/ 445557 h 809581"/>
                <a:gd name="connsiteX988" fmla="*/ 39165 w 652669"/>
                <a:gd name="connsiteY988" fmla="*/ 438415 h 809581"/>
                <a:gd name="connsiteX989" fmla="*/ 39050 w 652669"/>
                <a:gd name="connsiteY989" fmla="*/ 437033 h 809581"/>
                <a:gd name="connsiteX990" fmla="*/ 38819 w 652669"/>
                <a:gd name="connsiteY990" fmla="*/ 435651 h 809581"/>
                <a:gd name="connsiteX991" fmla="*/ 38474 w 652669"/>
                <a:gd name="connsiteY991" fmla="*/ 434269 h 809581"/>
                <a:gd name="connsiteX992" fmla="*/ 38013 w 652669"/>
                <a:gd name="connsiteY992" fmla="*/ 432886 h 809581"/>
                <a:gd name="connsiteX993" fmla="*/ 35248 w 652669"/>
                <a:gd name="connsiteY993" fmla="*/ 428394 h 809581"/>
                <a:gd name="connsiteX994" fmla="*/ 32138 w 652669"/>
                <a:gd name="connsiteY994" fmla="*/ 425053 h 809581"/>
                <a:gd name="connsiteX995" fmla="*/ 28913 w 652669"/>
                <a:gd name="connsiteY995" fmla="*/ 422519 h 809581"/>
                <a:gd name="connsiteX996" fmla="*/ 25687 w 652669"/>
                <a:gd name="connsiteY996" fmla="*/ 420446 h 809581"/>
                <a:gd name="connsiteX997" fmla="*/ 21771 w 652669"/>
                <a:gd name="connsiteY997" fmla="*/ 434729 h 809581"/>
                <a:gd name="connsiteX998" fmla="*/ 22923 w 652669"/>
                <a:gd name="connsiteY998" fmla="*/ 435536 h 809581"/>
                <a:gd name="connsiteX999" fmla="*/ 21541 w 652669"/>
                <a:gd name="connsiteY999" fmla="*/ 438070 h 809581"/>
                <a:gd name="connsiteX1000" fmla="*/ 19352 w 652669"/>
                <a:gd name="connsiteY1000" fmla="*/ 441410 h 809581"/>
                <a:gd name="connsiteX1001" fmla="*/ 16472 w 652669"/>
                <a:gd name="connsiteY1001" fmla="*/ 445327 h 809581"/>
                <a:gd name="connsiteX1002" fmla="*/ 13132 w 652669"/>
                <a:gd name="connsiteY1002" fmla="*/ 449243 h 809581"/>
                <a:gd name="connsiteX1003" fmla="*/ 8639 w 652669"/>
                <a:gd name="connsiteY1003" fmla="*/ 454657 h 809581"/>
                <a:gd name="connsiteX1004" fmla="*/ 4377 w 652669"/>
                <a:gd name="connsiteY1004" fmla="*/ 460071 h 809581"/>
                <a:gd name="connsiteX1005" fmla="*/ 1267 w 652669"/>
                <a:gd name="connsiteY1005" fmla="*/ 466176 h 809581"/>
                <a:gd name="connsiteX1006" fmla="*/ 0 w 652669"/>
                <a:gd name="connsiteY1006" fmla="*/ 473664 h 809581"/>
                <a:gd name="connsiteX1007" fmla="*/ 115 w 652669"/>
                <a:gd name="connsiteY1007" fmla="*/ 475161 h 809581"/>
                <a:gd name="connsiteX1008" fmla="*/ 346 w 652669"/>
                <a:gd name="connsiteY1008" fmla="*/ 476889 h 809581"/>
                <a:gd name="connsiteX1009" fmla="*/ 922 w 652669"/>
                <a:gd name="connsiteY1009" fmla="*/ 478732 h 809581"/>
                <a:gd name="connsiteX1010" fmla="*/ 1728 w 652669"/>
                <a:gd name="connsiteY1010" fmla="*/ 480575 h 809581"/>
                <a:gd name="connsiteX1011" fmla="*/ 7027 w 652669"/>
                <a:gd name="connsiteY1011" fmla="*/ 487141 h 809581"/>
                <a:gd name="connsiteX1012" fmla="*/ 12671 w 652669"/>
                <a:gd name="connsiteY1012" fmla="*/ 490942 h 809581"/>
                <a:gd name="connsiteX1013" fmla="*/ 18430 w 652669"/>
                <a:gd name="connsiteY1013" fmla="*/ 493131 h 809581"/>
                <a:gd name="connsiteX1014" fmla="*/ 24190 w 652669"/>
                <a:gd name="connsiteY1014" fmla="*/ 494859 h 809581"/>
                <a:gd name="connsiteX1015" fmla="*/ 30986 w 652669"/>
                <a:gd name="connsiteY1015" fmla="*/ 496356 h 809581"/>
                <a:gd name="connsiteX1016" fmla="*/ 37782 w 652669"/>
                <a:gd name="connsiteY1016" fmla="*/ 497739 h 809581"/>
                <a:gd name="connsiteX1017" fmla="*/ 44348 w 652669"/>
                <a:gd name="connsiteY1017" fmla="*/ 499121 h 809581"/>
                <a:gd name="connsiteX1018" fmla="*/ 50338 w 652669"/>
                <a:gd name="connsiteY1018" fmla="*/ 500503 h 809581"/>
                <a:gd name="connsiteX1019" fmla="*/ 52412 w 652669"/>
                <a:gd name="connsiteY1019" fmla="*/ 501079 h 809581"/>
                <a:gd name="connsiteX1020" fmla="*/ 54370 w 652669"/>
                <a:gd name="connsiteY1020" fmla="*/ 501655 h 809581"/>
                <a:gd name="connsiteX1021" fmla="*/ 55983 w 652669"/>
                <a:gd name="connsiteY1021" fmla="*/ 502231 h 809581"/>
                <a:gd name="connsiteX1022" fmla="*/ 57250 w 652669"/>
                <a:gd name="connsiteY1022" fmla="*/ 502807 h 809581"/>
                <a:gd name="connsiteX1023" fmla="*/ 56443 w 652669"/>
                <a:gd name="connsiteY1023" fmla="*/ 505917 h 809581"/>
                <a:gd name="connsiteX1024" fmla="*/ 54946 w 652669"/>
                <a:gd name="connsiteY1024" fmla="*/ 509949 h 809581"/>
                <a:gd name="connsiteX1025" fmla="*/ 52872 w 652669"/>
                <a:gd name="connsiteY1025" fmla="*/ 514556 h 809581"/>
                <a:gd name="connsiteX1026" fmla="*/ 50453 w 652669"/>
                <a:gd name="connsiteY1026" fmla="*/ 519394 h 809581"/>
                <a:gd name="connsiteX1027" fmla="*/ 47459 w 652669"/>
                <a:gd name="connsiteY1027" fmla="*/ 525499 h 809581"/>
                <a:gd name="connsiteX1028" fmla="*/ 44694 w 652669"/>
                <a:gd name="connsiteY1028" fmla="*/ 531605 h 809581"/>
                <a:gd name="connsiteX1029" fmla="*/ 42736 w 652669"/>
                <a:gd name="connsiteY1029" fmla="*/ 538055 h 809581"/>
                <a:gd name="connsiteX1030" fmla="*/ 42045 w 652669"/>
                <a:gd name="connsiteY1030" fmla="*/ 545082 h 809581"/>
                <a:gd name="connsiteX1031" fmla="*/ 42275 w 652669"/>
                <a:gd name="connsiteY1031" fmla="*/ 547270 h 809581"/>
                <a:gd name="connsiteX1032" fmla="*/ 42851 w 652669"/>
                <a:gd name="connsiteY1032" fmla="*/ 549805 h 809581"/>
                <a:gd name="connsiteX1033" fmla="*/ 43888 w 652669"/>
                <a:gd name="connsiteY1033" fmla="*/ 552339 h 809581"/>
                <a:gd name="connsiteX1034" fmla="*/ 45385 w 652669"/>
                <a:gd name="connsiteY1034" fmla="*/ 554988 h 809581"/>
                <a:gd name="connsiteX1035" fmla="*/ 48956 w 652669"/>
                <a:gd name="connsiteY1035" fmla="*/ 559020 h 809581"/>
                <a:gd name="connsiteX1036" fmla="*/ 52642 w 652669"/>
                <a:gd name="connsiteY1036" fmla="*/ 561554 h 809581"/>
                <a:gd name="connsiteX1037" fmla="*/ 56213 w 652669"/>
                <a:gd name="connsiteY1037" fmla="*/ 563167 h 809581"/>
                <a:gd name="connsiteX1038" fmla="*/ 59554 w 652669"/>
                <a:gd name="connsiteY1038" fmla="*/ 564204 h 809581"/>
                <a:gd name="connsiteX1039" fmla="*/ 70266 w 652669"/>
                <a:gd name="connsiteY1039" fmla="*/ 565471 h 809581"/>
                <a:gd name="connsiteX1040" fmla="*/ 81440 w 652669"/>
                <a:gd name="connsiteY1040" fmla="*/ 565701 h 809581"/>
                <a:gd name="connsiteX1041" fmla="*/ 91576 w 652669"/>
                <a:gd name="connsiteY1041" fmla="*/ 565701 h 809581"/>
                <a:gd name="connsiteX1042" fmla="*/ 99525 w 652669"/>
                <a:gd name="connsiteY1042" fmla="*/ 566507 h 809581"/>
                <a:gd name="connsiteX1043" fmla="*/ 99525 w 652669"/>
                <a:gd name="connsiteY1043" fmla="*/ 566507 h 809581"/>
                <a:gd name="connsiteX1044" fmla="*/ 99525 w 652669"/>
                <a:gd name="connsiteY1044" fmla="*/ 566507 h 809581"/>
                <a:gd name="connsiteX1045" fmla="*/ 99525 w 652669"/>
                <a:gd name="connsiteY1045" fmla="*/ 566507 h 809581"/>
                <a:gd name="connsiteX1046" fmla="*/ 100216 w 652669"/>
                <a:gd name="connsiteY1046" fmla="*/ 566507 h 809581"/>
                <a:gd name="connsiteX1047" fmla="*/ 99294 w 652669"/>
                <a:gd name="connsiteY1047" fmla="*/ 574916 h 809581"/>
                <a:gd name="connsiteX1048" fmla="*/ 96645 w 652669"/>
                <a:gd name="connsiteY1048" fmla="*/ 585859 h 809581"/>
                <a:gd name="connsiteX1049" fmla="*/ 93995 w 652669"/>
                <a:gd name="connsiteY1049" fmla="*/ 598070 h 809581"/>
                <a:gd name="connsiteX1050" fmla="*/ 93074 w 652669"/>
                <a:gd name="connsiteY1050" fmla="*/ 610049 h 809581"/>
                <a:gd name="connsiteX1051" fmla="*/ 93420 w 652669"/>
                <a:gd name="connsiteY1051" fmla="*/ 613160 h 809581"/>
                <a:gd name="connsiteX1052" fmla="*/ 94226 w 652669"/>
                <a:gd name="connsiteY1052" fmla="*/ 616500 h 809581"/>
                <a:gd name="connsiteX1053" fmla="*/ 95839 w 652669"/>
                <a:gd name="connsiteY1053" fmla="*/ 620071 h 809581"/>
                <a:gd name="connsiteX1054" fmla="*/ 98373 w 652669"/>
                <a:gd name="connsiteY1054" fmla="*/ 623757 h 809581"/>
                <a:gd name="connsiteX1055" fmla="*/ 100907 w 652669"/>
                <a:gd name="connsiteY1055" fmla="*/ 626176 h 809581"/>
                <a:gd name="connsiteX1056" fmla="*/ 103556 w 652669"/>
                <a:gd name="connsiteY1056" fmla="*/ 627904 h 809581"/>
                <a:gd name="connsiteX1057" fmla="*/ 106091 w 652669"/>
                <a:gd name="connsiteY1057" fmla="*/ 629056 h 809581"/>
                <a:gd name="connsiteX1058" fmla="*/ 108510 w 652669"/>
                <a:gd name="connsiteY1058" fmla="*/ 629747 h 809581"/>
                <a:gd name="connsiteX1059" fmla="*/ 120144 w 652669"/>
                <a:gd name="connsiteY1059" fmla="*/ 629747 h 809581"/>
                <a:gd name="connsiteX1060" fmla="*/ 132124 w 652669"/>
                <a:gd name="connsiteY1060" fmla="*/ 627558 h 809581"/>
                <a:gd name="connsiteX1061" fmla="*/ 142721 w 652669"/>
                <a:gd name="connsiteY1061" fmla="*/ 625139 h 809581"/>
                <a:gd name="connsiteX1062" fmla="*/ 150324 w 652669"/>
                <a:gd name="connsiteY1062" fmla="*/ 624333 h 809581"/>
                <a:gd name="connsiteX1063" fmla="*/ 150669 w 652669"/>
                <a:gd name="connsiteY1063" fmla="*/ 627328 h 809581"/>
                <a:gd name="connsiteX1064" fmla="*/ 150784 w 652669"/>
                <a:gd name="connsiteY1064" fmla="*/ 635276 h 809581"/>
                <a:gd name="connsiteX1065" fmla="*/ 150324 w 652669"/>
                <a:gd name="connsiteY1065" fmla="*/ 644837 h 809581"/>
                <a:gd name="connsiteX1066" fmla="*/ 149863 w 652669"/>
                <a:gd name="connsiteY1066" fmla="*/ 655089 h 809581"/>
                <a:gd name="connsiteX1067" fmla="*/ 149978 w 652669"/>
                <a:gd name="connsiteY1067" fmla="*/ 664995 h 809581"/>
                <a:gd name="connsiteX1068" fmla="*/ 150554 w 652669"/>
                <a:gd name="connsiteY1068" fmla="*/ 669603 h 809581"/>
                <a:gd name="connsiteX1069" fmla="*/ 151591 w 652669"/>
                <a:gd name="connsiteY1069" fmla="*/ 674441 h 809581"/>
                <a:gd name="connsiteX1070" fmla="*/ 153895 w 652669"/>
                <a:gd name="connsiteY1070" fmla="*/ 679394 h 809581"/>
                <a:gd name="connsiteX1071" fmla="*/ 157926 w 652669"/>
                <a:gd name="connsiteY1071" fmla="*/ 684463 h 809581"/>
                <a:gd name="connsiteX1072" fmla="*/ 159884 w 652669"/>
                <a:gd name="connsiteY1072" fmla="*/ 685960 h 809581"/>
                <a:gd name="connsiteX1073" fmla="*/ 161728 w 652669"/>
                <a:gd name="connsiteY1073" fmla="*/ 687112 h 809581"/>
                <a:gd name="connsiteX1074" fmla="*/ 163571 w 652669"/>
                <a:gd name="connsiteY1074" fmla="*/ 687918 h 809581"/>
                <a:gd name="connsiteX1075" fmla="*/ 165298 w 652669"/>
                <a:gd name="connsiteY1075" fmla="*/ 688379 h 809581"/>
                <a:gd name="connsiteX1076" fmla="*/ 172210 w 652669"/>
                <a:gd name="connsiteY1076" fmla="*/ 688379 h 809581"/>
                <a:gd name="connsiteX1077" fmla="*/ 178430 w 652669"/>
                <a:gd name="connsiteY1077" fmla="*/ 686651 h 809581"/>
                <a:gd name="connsiteX1078" fmla="*/ 184305 w 652669"/>
                <a:gd name="connsiteY1078" fmla="*/ 683887 h 809581"/>
                <a:gd name="connsiteX1079" fmla="*/ 190180 w 652669"/>
                <a:gd name="connsiteY1079" fmla="*/ 680892 h 809581"/>
                <a:gd name="connsiteX1080" fmla="*/ 194672 w 652669"/>
                <a:gd name="connsiteY1080" fmla="*/ 678473 h 809581"/>
                <a:gd name="connsiteX1081" fmla="*/ 199049 w 652669"/>
                <a:gd name="connsiteY1081" fmla="*/ 676514 h 809581"/>
                <a:gd name="connsiteX1082" fmla="*/ 202851 w 652669"/>
                <a:gd name="connsiteY1082" fmla="*/ 675132 h 809581"/>
                <a:gd name="connsiteX1083" fmla="*/ 205730 w 652669"/>
                <a:gd name="connsiteY1083" fmla="*/ 674441 h 809581"/>
                <a:gd name="connsiteX1084" fmla="*/ 206652 w 652669"/>
                <a:gd name="connsiteY1084" fmla="*/ 678473 h 809581"/>
                <a:gd name="connsiteX1085" fmla="*/ 207689 w 652669"/>
                <a:gd name="connsiteY1085" fmla="*/ 684232 h 809581"/>
                <a:gd name="connsiteX1086" fmla="*/ 208725 w 652669"/>
                <a:gd name="connsiteY1086" fmla="*/ 691144 h 809581"/>
                <a:gd name="connsiteX1087" fmla="*/ 209416 w 652669"/>
                <a:gd name="connsiteY1087" fmla="*/ 698516 h 809581"/>
                <a:gd name="connsiteX1088" fmla="*/ 209992 w 652669"/>
                <a:gd name="connsiteY1088" fmla="*/ 703239 h 809581"/>
                <a:gd name="connsiteX1089" fmla="*/ 210568 w 652669"/>
                <a:gd name="connsiteY1089" fmla="*/ 707961 h 809581"/>
                <a:gd name="connsiteX1090" fmla="*/ 211375 w 652669"/>
                <a:gd name="connsiteY1090" fmla="*/ 712569 h 809581"/>
                <a:gd name="connsiteX1091" fmla="*/ 212296 w 652669"/>
                <a:gd name="connsiteY1091" fmla="*/ 717061 h 809581"/>
                <a:gd name="connsiteX1092" fmla="*/ 213563 w 652669"/>
                <a:gd name="connsiteY1092" fmla="*/ 721439 h 809581"/>
                <a:gd name="connsiteX1093" fmla="*/ 215291 w 652669"/>
                <a:gd name="connsiteY1093" fmla="*/ 726046 h 809581"/>
                <a:gd name="connsiteX1094" fmla="*/ 218171 w 652669"/>
                <a:gd name="connsiteY1094" fmla="*/ 730539 h 809581"/>
                <a:gd name="connsiteX1095" fmla="*/ 222548 w 652669"/>
                <a:gd name="connsiteY1095" fmla="*/ 734686 h 809581"/>
                <a:gd name="connsiteX1096" fmla="*/ 223815 w 652669"/>
                <a:gd name="connsiteY1096" fmla="*/ 735607 h 809581"/>
                <a:gd name="connsiteX1097" fmla="*/ 225082 w 652669"/>
                <a:gd name="connsiteY1097" fmla="*/ 736183 h 809581"/>
                <a:gd name="connsiteX1098" fmla="*/ 226350 w 652669"/>
                <a:gd name="connsiteY1098" fmla="*/ 736644 h 809581"/>
                <a:gd name="connsiteX1099" fmla="*/ 227501 w 652669"/>
                <a:gd name="connsiteY1099" fmla="*/ 736989 h 809581"/>
                <a:gd name="connsiteX1100" fmla="*/ 234758 w 652669"/>
                <a:gd name="connsiteY1100" fmla="*/ 736183 h 809581"/>
                <a:gd name="connsiteX1101" fmla="*/ 240633 w 652669"/>
                <a:gd name="connsiteY1101" fmla="*/ 733188 h 809581"/>
                <a:gd name="connsiteX1102" fmla="*/ 245932 w 652669"/>
                <a:gd name="connsiteY1102" fmla="*/ 728811 h 809581"/>
                <a:gd name="connsiteX1103" fmla="*/ 251231 w 652669"/>
                <a:gd name="connsiteY1103" fmla="*/ 724203 h 809581"/>
                <a:gd name="connsiteX1104" fmla="*/ 253765 w 652669"/>
                <a:gd name="connsiteY1104" fmla="*/ 721899 h 809581"/>
                <a:gd name="connsiteX1105" fmla="*/ 256184 w 652669"/>
                <a:gd name="connsiteY1105" fmla="*/ 719711 h 809581"/>
                <a:gd name="connsiteX1106" fmla="*/ 258488 w 652669"/>
                <a:gd name="connsiteY1106" fmla="*/ 717868 h 809581"/>
                <a:gd name="connsiteX1107" fmla="*/ 260676 w 652669"/>
                <a:gd name="connsiteY1107" fmla="*/ 716255 h 809581"/>
                <a:gd name="connsiteX1108" fmla="*/ 261598 w 652669"/>
                <a:gd name="connsiteY1108" fmla="*/ 715564 h 809581"/>
                <a:gd name="connsiteX1109" fmla="*/ 262519 w 652669"/>
                <a:gd name="connsiteY1109" fmla="*/ 714988 h 809581"/>
                <a:gd name="connsiteX1110" fmla="*/ 263326 w 652669"/>
                <a:gd name="connsiteY1110" fmla="*/ 714642 h 809581"/>
                <a:gd name="connsiteX1111" fmla="*/ 264017 w 652669"/>
                <a:gd name="connsiteY1111" fmla="*/ 714412 h 809581"/>
                <a:gd name="connsiteX1112" fmla="*/ 265514 w 652669"/>
                <a:gd name="connsiteY1112" fmla="*/ 718328 h 809581"/>
                <a:gd name="connsiteX1113" fmla="*/ 267357 w 652669"/>
                <a:gd name="connsiteY1113" fmla="*/ 724088 h 809581"/>
                <a:gd name="connsiteX1114" fmla="*/ 269316 w 652669"/>
                <a:gd name="connsiteY1114" fmla="*/ 730999 h 809581"/>
                <a:gd name="connsiteX1115" fmla="*/ 271159 w 652669"/>
                <a:gd name="connsiteY1115" fmla="*/ 738372 h 809581"/>
                <a:gd name="connsiteX1116" fmla="*/ 272426 w 652669"/>
                <a:gd name="connsiteY1116" fmla="*/ 743210 h 809581"/>
                <a:gd name="connsiteX1117" fmla="*/ 273693 w 652669"/>
                <a:gd name="connsiteY1117" fmla="*/ 747932 h 809581"/>
                <a:gd name="connsiteX1118" fmla="*/ 275075 w 652669"/>
                <a:gd name="connsiteY1118" fmla="*/ 752540 h 809581"/>
                <a:gd name="connsiteX1119" fmla="*/ 276688 w 652669"/>
                <a:gd name="connsiteY1119" fmla="*/ 757033 h 809581"/>
                <a:gd name="connsiteX1120" fmla="*/ 278416 w 652669"/>
                <a:gd name="connsiteY1120" fmla="*/ 761179 h 809581"/>
                <a:gd name="connsiteX1121" fmla="*/ 280719 w 652669"/>
                <a:gd name="connsiteY1121" fmla="*/ 765441 h 809581"/>
                <a:gd name="connsiteX1122" fmla="*/ 284060 w 652669"/>
                <a:gd name="connsiteY1122" fmla="*/ 769473 h 809581"/>
                <a:gd name="connsiteX1123" fmla="*/ 288668 w 652669"/>
                <a:gd name="connsiteY1123" fmla="*/ 772929 h 809581"/>
                <a:gd name="connsiteX1124" fmla="*/ 291432 w 652669"/>
                <a:gd name="connsiteY1124" fmla="*/ 773735 h 809581"/>
                <a:gd name="connsiteX1125" fmla="*/ 298920 w 652669"/>
                <a:gd name="connsiteY1125" fmla="*/ 772238 h 809581"/>
                <a:gd name="connsiteX1126" fmla="*/ 304218 w 652669"/>
                <a:gd name="connsiteY1126" fmla="*/ 767860 h 809581"/>
                <a:gd name="connsiteX1127" fmla="*/ 308480 w 652669"/>
                <a:gd name="connsiteY1127" fmla="*/ 761986 h 809581"/>
                <a:gd name="connsiteX1128" fmla="*/ 312742 w 652669"/>
                <a:gd name="connsiteY1128" fmla="*/ 755881 h 809581"/>
                <a:gd name="connsiteX1129" fmla="*/ 314701 w 652669"/>
                <a:gd name="connsiteY1129" fmla="*/ 752771 h 809581"/>
                <a:gd name="connsiteX1130" fmla="*/ 316659 w 652669"/>
                <a:gd name="connsiteY1130" fmla="*/ 749891 h 809581"/>
                <a:gd name="connsiteX1131" fmla="*/ 318502 w 652669"/>
                <a:gd name="connsiteY1131" fmla="*/ 747357 h 809581"/>
                <a:gd name="connsiteX1132" fmla="*/ 320230 w 652669"/>
                <a:gd name="connsiteY1132" fmla="*/ 745168 h 809581"/>
                <a:gd name="connsiteX1133" fmla="*/ 322649 w 652669"/>
                <a:gd name="connsiteY1133" fmla="*/ 742979 h 809581"/>
                <a:gd name="connsiteX1134" fmla="*/ 324607 w 652669"/>
                <a:gd name="connsiteY1134" fmla="*/ 746781 h 809581"/>
                <a:gd name="connsiteX1135" fmla="*/ 327141 w 652669"/>
                <a:gd name="connsiteY1135" fmla="*/ 752310 h 809581"/>
                <a:gd name="connsiteX1136" fmla="*/ 330021 w 652669"/>
                <a:gd name="connsiteY1136" fmla="*/ 758991 h 809581"/>
                <a:gd name="connsiteX1137" fmla="*/ 332786 w 652669"/>
                <a:gd name="connsiteY1137" fmla="*/ 766133 h 809581"/>
                <a:gd name="connsiteX1138" fmla="*/ 334629 w 652669"/>
                <a:gd name="connsiteY1138" fmla="*/ 770855 h 809581"/>
                <a:gd name="connsiteX1139" fmla="*/ 336587 w 652669"/>
                <a:gd name="connsiteY1139" fmla="*/ 775463 h 809581"/>
                <a:gd name="connsiteX1140" fmla="*/ 338660 w 652669"/>
                <a:gd name="connsiteY1140" fmla="*/ 779840 h 809581"/>
                <a:gd name="connsiteX1141" fmla="*/ 340734 w 652669"/>
                <a:gd name="connsiteY1141" fmla="*/ 784102 h 809581"/>
                <a:gd name="connsiteX1142" fmla="*/ 343038 w 652669"/>
                <a:gd name="connsiteY1142" fmla="*/ 788019 h 809581"/>
                <a:gd name="connsiteX1143" fmla="*/ 345802 w 652669"/>
                <a:gd name="connsiteY1143" fmla="*/ 791935 h 809581"/>
                <a:gd name="connsiteX1144" fmla="*/ 349373 w 652669"/>
                <a:gd name="connsiteY1144" fmla="*/ 795391 h 809581"/>
                <a:gd name="connsiteX1145" fmla="*/ 353981 w 652669"/>
                <a:gd name="connsiteY1145" fmla="*/ 797925 h 809581"/>
                <a:gd name="connsiteX1146" fmla="*/ 354902 w 652669"/>
                <a:gd name="connsiteY1146" fmla="*/ 797925 h 809581"/>
                <a:gd name="connsiteX1147" fmla="*/ 359510 w 652669"/>
                <a:gd name="connsiteY1147" fmla="*/ 797695 h 809581"/>
                <a:gd name="connsiteX1148" fmla="*/ 362620 w 652669"/>
                <a:gd name="connsiteY1148" fmla="*/ 795852 h 809581"/>
                <a:gd name="connsiteX1149" fmla="*/ 364924 w 652669"/>
                <a:gd name="connsiteY1149" fmla="*/ 793087 h 809581"/>
                <a:gd name="connsiteX1150" fmla="*/ 366767 w 652669"/>
                <a:gd name="connsiteY1150" fmla="*/ 790092 h 809581"/>
                <a:gd name="connsiteX1151" fmla="*/ 369186 w 652669"/>
                <a:gd name="connsiteY1151" fmla="*/ 784909 h 809581"/>
                <a:gd name="connsiteX1152" fmla="*/ 371490 w 652669"/>
                <a:gd name="connsiteY1152" fmla="*/ 779264 h 809581"/>
                <a:gd name="connsiteX1153" fmla="*/ 373563 w 652669"/>
                <a:gd name="connsiteY1153" fmla="*/ 773620 h 809581"/>
                <a:gd name="connsiteX1154" fmla="*/ 375636 w 652669"/>
                <a:gd name="connsiteY1154" fmla="*/ 768321 h 809581"/>
                <a:gd name="connsiteX1155" fmla="*/ 376673 w 652669"/>
                <a:gd name="connsiteY1155" fmla="*/ 765902 h 809581"/>
                <a:gd name="connsiteX1156" fmla="*/ 377710 w 652669"/>
                <a:gd name="connsiteY1156" fmla="*/ 763829 h 809581"/>
                <a:gd name="connsiteX1157" fmla="*/ 378631 w 652669"/>
                <a:gd name="connsiteY1157" fmla="*/ 762101 h 809581"/>
                <a:gd name="connsiteX1158" fmla="*/ 379553 w 652669"/>
                <a:gd name="connsiteY1158" fmla="*/ 760834 h 809581"/>
                <a:gd name="connsiteX1159" fmla="*/ 379898 w 652669"/>
                <a:gd name="connsiteY1159" fmla="*/ 760258 h 809581"/>
                <a:gd name="connsiteX1160" fmla="*/ 382202 w 652669"/>
                <a:gd name="connsiteY1160" fmla="*/ 763598 h 809581"/>
                <a:gd name="connsiteX1161" fmla="*/ 385312 w 652669"/>
                <a:gd name="connsiteY1161" fmla="*/ 768552 h 809581"/>
                <a:gd name="connsiteX1162" fmla="*/ 388883 w 652669"/>
                <a:gd name="connsiteY1162" fmla="*/ 774657 h 809581"/>
                <a:gd name="connsiteX1163" fmla="*/ 392339 w 652669"/>
                <a:gd name="connsiteY1163" fmla="*/ 781338 h 809581"/>
                <a:gd name="connsiteX1164" fmla="*/ 394758 w 652669"/>
                <a:gd name="connsiteY1164" fmla="*/ 785600 h 809581"/>
                <a:gd name="connsiteX1165" fmla="*/ 397177 w 652669"/>
                <a:gd name="connsiteY1165" fmla="*/ 789862 h 809581"/>
                <a:gd name="connsiteX1166" fmla="*/ 399596 w 652669"/>
                <a:gd name="connsiteY1166" fmla="*/ 793894 h 809581"/>
                <a:gd name="connsiteX1167" fmla="*/ 402130 w 652669"/>
                <a:gd name="connsiteY1167" fmla="*/ 797810 h 809581"/>
                <a:gd name="connsiteX1168" fmla="*/ 404664 w 652669"/>
                <a:gd name="connsiteY1168" fmla="*/ 801381 h 809581"/>
                <a:gd name="connsiteX1169" fmla="*/ 407544 w 652669"/>
                <a:gd name="connsiteY1169" fmla="*/ 804837 h 809581"/>
                <a:gd name="connsiteX1170" fmla="*/ 411000 w 652669"/>
                <a:gd name="connsiteY1170" fmla="*/ 807716 h 809581"/>
                <a:gd name="connsiteX1171" fmla="*/ 415377 w 652669"/>
                <a:gd name="connsiteY1171" fmla="*/ 809560 h 809581"/>
                <a:gd name="connsiteX1172" fmla="*/ 416068 w 652669"/>
                <a:gd name="connsiteY1172" fmla="*/ 809560 h 809581"/>
                <a:gd name="connsiteX1173" fmla="*/ 420446 w 652669"/>
                <a:gd name="connsiteY1173" fmla="*/ 808753 h 809581"/>
                <a:gd name="connsiteX1174" fmla="*/ 423325 w 652669"/>
                <a:gd name="connsiteY1174" fmla="*/ 806334 h 809581"/>
                <a:gd name="connsiteX1175" fmla="*/ 425053 w 652669"/>
                <a:gd name="connsiteY1175" fmla="*/ 802994 h 809581"/>
                <a:gd name="connsiteX1176" fmla="*/ 426320 w 652669"/>
                <a:gd name="connsiteY1176" fmla="*/ 799538 h 809581"/>
                <a:gd name="connsiteX1177" fmla="*/ 427818 w 652669"/>
                <a:gd name="connsiteY1177" fmla="*/ 793778 h 809581"/>
                <a:gd name="connsiteX1178" fmla="*/ 429085 w 652669"/>
                <a:gd name="connsiteY1178" fmla="*/ 787558 h 809581"/>
                <a:gd name="connsiteX1179" fmla="*/ 430237 w 652669"/>
                <a:gd name="connsiteY1179" fmla="*/ 781223 h 809581"/>
                <a:gd name="connsiteX1180" fmla="*/ 431274 w 652669"/>
                <a:gd name="connsiteY1180" fmla="*/ 775233 h 809581"/>
                <a:gd name="connsiteX1181" fmla="*/ 431849 w 652669"/>
                <a:gd name="connsiteY1181" fmla="*/ 772468 h 809581"/>
                <a:gd name="connsiteX1182" fmla="*/ 432425 w 652669"/>
                <a:gd name="connsiteY1182" fmla="*/ 770049 h 809581"/>
                <a:gd name="connsiteX1183" fmla="*/ 433001 w 652669"/>
                <a:gd name="connsiteY1183" fmla="*/ 767976 h 809581"/>
                <a:gd name="connsiteX1184" fmla="*/ 433577 w 652669"/>
                <a:gd name="connsiteY1184" fmla="*/ 766478 h 809581"/>
                <a:gd name="connsiteX1185" fmla="*/ 433808 w 652669"/>
                <a:gd name="connsiteY1185" fmla="*/ 765787 h 809581"/>
                <a:gd name="connsiteX1186" fmla="*/ 436457 w 652669"/>
                <a:gd name="connsiteY1186" fmla="*/ 768782 h 809581"/>
                <a:gd name="connsiteX1187" fmla="*/ 440028 w 652669"/>
                <a:gd name="connsiteY1187" fmla="*/ 773274 h 809581"/>
                <a:gd name="connsiteX1188" fmla="*/ 444060 w 652669"/>
                <a:gd name="connsiteY1188" fmla="*/ 778688 h 809581"/>
                <a:gd name="connsiteX1189" fmla="*/ 448206 w 652669"/>
                <a:gd name="connsiteY1189" fmla="*/ 784563 h 809581"/>
                <a:gd name="connsiteX1190" fmla="*/ 453505 w 652669"/>
                <a:gd name="connsiteY1190" fmla="*/ 791820 h 809581"/>
                <a:gd name="connsiteX1191" fmla="*/ 458574 w 652669"/>
                <a:gd name="connsiteY1191" fmla="*/ 798732 h 809581"/>
                <a:gd name="connsiteX1192" fmla="*/ 464218 w 652669"/>
                <a:gd name="connsiteY1192" fmla="*/ 804376 h 809581"/>
                <a:gd name="connsiteX1193" fmla="*/ 471129 w 652669"/>
                <a:gd name="connsiteY1193" fmla="*/ 808177 h 809581"/>
                <a:gd name="connsiteX1194" fmla="*/ 473548 w 652669"/>
                <a:gd name="connsiteY1194" fmla="*/ 808177 h 809581"/>
                <a:gd name="connsiteX1195" fmla="*/ 477235 w 652669"/>
                <a:gd name="connsiteY1195" fmla="*/ 806449 h 809581"/>
                <a:gd name="connsiteX1196" fmla="*/ 479423 w 652669"/>
                <a:gd name="connsiteY1196" fmla="*/ 803454 h 809581"/>
                <a:gd name="connsiteX1197" fmla="*/ 480460 w 652669"/>
                <a:gd name="connsiteY1197" fmla="*/ 799768 h 809581"/>
                <a:gd name="connsiteX1198" fmla="*/ 481151 w 652669"/>
                <a:gd name="connsiteY1198" fmla="*/ 795967 h 809581"/>
                <a:gd name="connsiteX1199" fmla="*/ 481612 w 652669"/>
                <a:gd name="connsiteY1199" fmla="*/ 789631 h 809581"/>
                <a:gd name="connsiteX1200" fmla="*/ 481727 w 652669"/>
                <a:gd name="connsiteY1200" fmla="*/ 782950 h 809581"/>
                <a:gd name="connsiteX1201" fmla="*/ 481727 w 652669"/>
                <a:gd name="connsiteY1201" fmla="*/ 776269 h 809581"/>
                <a:gd name="connsiteX1202" fmla="*/ 481727 w 652669"/>
                <a:gd name="connsiteY1202" fmla="*/ 769934 h 809581"/>
                <a:gd name="connsiteX1203" fmla="*/ 481727 w 652669"/>
                <a:gd name="connsiteY1203" fmla="*/ 767054 h 809581"/>
                <a:gd name="connsiteX1204" fmla="*/ 481842 w 652669"/>
                <a:gd name="connsiteY1204" fmla="*/ 764520 h 809581"/>
                <a:gd name="connsiteX1205" fmla="*/ 482073 w 652669"/>
                <a:gd name="connsiteY1205" fmla="*/ 762331 h 809581"/>
                <a:gd name="connsiteX1206" fmla="*/ 482303 w 652669"/>
                <a:gd name="connsiteY1206" fmla="*/ 760604 h 809581"/>
                <a:gd name="connsiteX1207" fmla="*/ 482533 w 652669"/>
                <a:gd name="connsiteY1207" fmla="*/ 759912 h 809581"/>
                <a:gd name="connsiteX1208" fmla="*/ 485528 w 652669"/>
                <a:gd name="connsiteY1208" fmla="*/ 762562 h 809581"/>
                <a:gd name="connsiteX1209" fmla="*/ 489560 w 652669"/>
                <a:gd name="connsiteY1209" fmla="*/ 766824 h 809581"/>
                <a:gd name="connsiteX1210" fmla="*/ 494283 w 652669"/>
                <a:gd name="connsiteY1210" fmla="*/ 772007 h 809581"/>
                <a:gd name="connsiteX1211" fmla="*/ 499236 w 652669"/>
                <a:gd name="connsiteY1211" fmla="*/ 777536 h 809581"/>
                <a:gd name="connsiteX1212" fmla="*/ 504304 w 652669"/>
                <a:gd name="connsiteY1212" fmla="*/ 783066 h 809581"/>
                <a:gd name="connsiteX1213" fmla="*/ 509258 w 652669"/>
                <a:gd name="connsiteY1213" fmla="*/ 788134 h 809581"/>
                <a:gd name="connsiteX1214" fmla="*/ 514441 w 652669"/>
                <a:gd name="connsiteY1214" fmla="*/ 792396 h 809581"/>
                <a:gd name="connsiteX1215" fmla="*/ 520201 w 652669"/>
                <a:gd name="connsiteY1215" fmla="*/ 795161 h 809581"/>
                <a:gd name="connsiteX1216" fmla="*/ 521122 w 652669"/>
                <a:gd name="connsiteY1216" fmla="*/ 795276 h 809581"/>
                <a:gd name="connsiteX1217" fmla="*/ 522044 w 652669"/>
                <a:gd name="connsiteY1217" fmla="*/ 795276 h 809581"/>
                <a:gd name="connsiteX1218" fmla="*/ 522965 w 652669"/>
                <a:gd name="connsiteY1218" fmla="*/ 795161 h 809581"/>
                <a:gd name="connsiteX1219" fmla="*/ 523887 w 652669"/>
                <a:gd name="connsiteY1219" fmla="*/ 794930 h 809581"/>
                <a:gd name="connsiteX1220" fmla="*/ 526882 w 652669"/>
                <a:gd name="connsiteY1220" fmla="*/ 792166 h 809581"/>
                <a:gd name="connsiteX1221" fmla="*/ 528264 w 652669"/>
                <a:gd name="connsiteY1221" fmla="*/ 788595 h 809581"/>
                <a:gd name="connsiteX1222" fmla="*/ 528725 w 652669"/>
                <a:gd name="connsiteY1222" fmla="*/ 784678 h 809581"/>
                <a:gd name="connsiteX1223" fmla="*/ 528725 w 652669"/>
                <a:gd name="connsiteY1223" fmla="*/ 780647 h 809581"/>
                <a:gd name="connsiteX1224" fmla="*/ 528264 w 652669"/>
                <a:gd name="connsiteY1224" fmla="*/ 774196 h 809581"/>
                <a:gd name="connsiteX1225" fmla="*/ 527458 w 652669"/>
                <a:gd name="connsiteY1225" fmla="*/ 767400 h 809581"/>
                <a:gd name="connsiteX1226" fmla="*/ 526536 w 652669"/>
                <a:gd name="connsiteY1226" fmla="*/ 760604 h 809581"/>
                <a:gd name="connsiteX1227" fmla="*/ 525615 w 652669"/>
                <a:gd name="connsiteY1227" fmla="*/ 754153 h 809581"/>
                <a:gd name="connsiteX1228" fmla="*/ 525269 w 652669"/>
                <a:gd name="connsiteY1228" fmla="*/ 751158 h 809581"/>
                <a:gd name="connsiteX1229" fmla="*/ 525039 w 652669"/>
                <a:gd name="connsiteY1229" fmla="*/ 748508 h 809581"/>
                <a:gd name="connsiteX1230" fmla="*/ 524923 w 652669"/>
                <a:gd name="connsiteY1230" fmla="*/ 746205 h 809581"/>
                <a:gd name="connsiteX1231" fmla="*/ 524923 w 652669"/>
                <a:gd name="connsiteY1231" fmla="*/ 743555 h 809581"/>
                <a:gd name="connsiteX1232" fmla="*/ 527573 w 652669"/>
                <a:gd name="connsiteY1232" fmla="*/ 745398 h 809581"/>
                <a:gd name="connsiteX1233" fmla="*/ 531144 w 652669"/>
                <a:gd name="connsiteY1233" fmla="*/ 748163 h 809581"/>
                <a:gd name="connsiteX1234" fmla="*/ 535175 w 652669"/>
                <a:gd name="connsiteY1234" fmla="*/ 751619 h 809581"/>
                <a:gd name="connsiteX1235" fmla="*/ 539438 w 652669"/>
                <a:gd name="connsiteY1235" fmla="*/ 755420 h 809581"/>
                <a:gd name="connsiteX1236" fmla="*/ 545082 w 652669"/>
                <a:gd name="connsiteY1236" fmla="*/ 760373 h 809581"/>
                <a:gd name="connsiteX1237" fmla="*/ 550611 w 652669"/>
                <a:gd name="connsiteY1237" fmla="*/ 765096 h 809581"/>
                <a:gd name="connsiteX1238" fmla="*/ 556025 w 652669"/>
                <a:gd name="connsiteY1238" fmla="*/ 769012 h 809581"/>
                <a:gd name="connsiteX1239" fmla="*/ 561669 w 652669"/>
                <a:gd name="connsiteY1239" fmla="*/ 771547 h 809581"/>
                <a:gd name="connsiteX1240" fmla="*/ 562936 w 652669"/>
                <a:gd name="connsiteY1240" fmla="*/ 771662 h 809581"/>
                <a:gd name="connsiteX1241" fmla="*/ 564319 w 652669"/>
                <a:gd name="connsiteY1241" fmla="*/ 771662 h 809581"/>
                <a:gd name="connsiteX1242" fmla="*/ 565586 w 652669"/>
                <a:gd name="connsiteY1242" fmla="*/ 771316 h 809581"/>
                <a:gd name="connsiteX1243" fmla="*/ 566853 w 652669"/>
                <a:gd name="connsiteY1243" fmla="*/ 770740 h 809581"/>
                <a:gd name="connsiteX1244" fmla="*/ 569041 w 652669"/>
                <a:gd name="connsiteY1244" fmla="*/ 767400 h 809581"/>
                <a:gd name="connsiteX1245" fmla="*/ 569848 w 652669"/>
                <a:gd name="connsiteY1245" fmla="*/ 763598 h 809581"/>
                <a:gd name="connsiteX1246" fmla="*/ 569733 w 652669"/>
                <a:gd name="connsiteY1246" fmla="*/ 759567 h 809581"/>
                <a:gd name="connsiteX1247" fmla="*/ 569157 w 652669"/>
                <a:gd name="connsiteY1247" fmla="*/ 755650 h 809581"/>
                <a:gd name="connsiteX1248" fmla="*/ 567198 w 652669"/>
                <a:gd name="connsiteY1248" fmla="*/ 746550 h 809581"/>
                <a:gd name="connsiteX1249" fmla="*/ 564664 w 652669"/>
                <a:gd name="connsiteY1249" fmla="*/ 736989 h 809581"/>
                <a:gd name="connsiteX1250" fmla="*/ 562245 w 652669"/>
                <a:gd name="connsiteY1250" fmla="*/ 728005 h 809581"/>
                <a:gd name="connsiteX1251" fmla="*/ 560633 w 652669"/>
                <a:gd name="connsiteY1251" fmla="*/ 720747 h 809581"/>
                <a:gd name="connsiteX1252" fmla="*/ 560287 w 652669"/>
                <a:gd name="connsiteY1252" fmla="*/ 718098 h 809581"/>
                <a:gd name="connsiteX1253" fmla="*/ 566622 w 652669"/>
                <a:gd name="connsiteY1253" fmla="*/ 721669 h 809581"/>
                <a:gd name="connsiteX1254" fmla="*/ 575607 w 652669"/>
                <a:gd name="connsiteY1254" fmla="*/ 728005 h 809581"/>
                <a:gd name="connsiteX1255" fmla="*/ 585514 w 652669"/>
                <a:gd name="connsiteY1255" fmla="*/ 734455 h 809581"/>
                <a:gd name="connsiteX1256" fmla="*/ 594614 w 652669"/>
                <a:gd name="connsiteY1256" fmla="*/ 738717 h 809581"/>
                <a:gd name="connsiteX1257" fmla="*/ 596342 w 652669"/>
                <a:gd name="connsiteY1257" fmla="*/ 738948 h 809581"/>
                <a:gd name="connsiteX1258" fmla="*/ 598069 w 652669"/>
                <a:gd name="connsiteY1258" fmla="*/ 738948 h 809581"/>
                <a:gd name="connsiteX1259" fmla="*/ 599797 w 652669"/>
                <a:gd name="connsiteY1259" fmla="*/ 738372 h 809581"/>
                <a:gd name="connsiteX1260" fmla="*/ 601295 w 652669"/>
                <a:gd name="connsiteY1260" fmla="*/ 737105 h 809581"/>
                <a:gd name="connsiteX1261" fmla="*/ 602562 w 652669"/>
                <a:gd name="connsiteY1261" fmla="*/ 734686 h 809581"/>
                <a:gd name="connsiteX1262" fmla="*/ 603023 w 652669"/>
                <a:gd name="connsiteY1262" fmla="*/ 732036 h 809581"/>
                <a:gd name="connsiteX1263" fmla="*/ 603023 w 652669"/>
                <a:gd name="connsiteY1263" fmla="*/ 729387 h 809581"/>
                <a:gd name="connsiteX1264" fmla="*/ 602677 w 652669"/>
                <a:gd name="connsiteY1264" fmla="*/ 726737 h 809581"/>
                <a:gd name="connsiteX1265" fmla="*/ 599452 w 652669"/>
                <a:gd name="connsiteY1265" fmla="*/ 715564 h 809581"/>
                <a:gd name="connsiteX1266" fmla="*/ 594959 w 652669"/>
                <a:gd name="connsiteY1266" fmla="*/ 703584 h 809581"/>
                <a:gd name="connsiteX1267" fmla="*/ 590697 w 652669"/>
                <a:gd name="connsiteY1267" fmla="*/ 692756 h 809581"/>
                <a:gd name="connsiteX1268" fmla="*/ 588278 w 652669"/>
                <a:gd name="connsiteY1268" fmla="*/ 684923 h 809581"/>
                <a:gd name="connsiteX1269" fmla="*/ 588739 w 652669"/>
                <a:gd name="connsiteY1269" fmla="*/ 684923 h 809581"/>
                <a:gd name="connsiteX1270" fmla="*/ 588739 w 652669"/>
                <a:gd name="connsiteY1270" fmla="*/ 685038 h 809581"/>
                <a:gd name="connsiteX1271" fmla="*/ 588739 w 652669"/>
                <a:gd name="connsiteY1271" fmla="*/ 685038 h 809581"/>
                <a:gd name="connsiteX1272" fmla="*/ 588739 w 652669"/>
                <a:gd name="connsiteY1272" fmla="*/ 685038 h 809581"/>
                <a:gd name="connsiteX1273" fmla="*/ 588739 w 652669"/>
                <a:gd name="connsiteY1273" fmla="*/ 685038 h 809581"/>
                <a:gd name="connsiteX1274" fmla="*/ 594614 w 652669"/>
                <a:gd name="connsiteY1274" fmla="*/ 687342 h 809581"/>
                <a:gd name="connsiteX1275" fmla="*/ 602332 w 652669"/>
                <a:gd name="connsiteY1275" fmla="*/ 691259 h 809581"/>
                <a:gd name="connsiteX1276" fmla="*/ 610740 w 652669"/>
                <a:gd name="connsiteY1276" fmla="*/ 695290 h 809581"/>
                <a:gd name="connsiteX1277" fmla="*/ 618573 w 652669"/>
                <a:gd name="connsiteY1277" fmla="*/ 698170 h 809581"/>
                <a:gd name="connsiteX1278" fmla="*/ 620762 w 652669"/>
                <a:gd name="connsiteY1278" fmla="*/ 698516 h 809581"/>
                <a:gd name="connsiteX1279" fmla="*/ 623181 w 652669"/>
                <a:gd name="connsiteY1279" fmla="*/ 698516 h 809581"/>
                <a:gd name="connsiteX1280" fmla="*/ 625370 w 652669"/>
                <a:gd name="connsiteY1280" fmla="*/ 697594 h 809581"/>
                <a:gd name="connsiteX1281" fmla="*/ 627213 w 652669"/>
                <a:gd name="connsiteY1281" fmla="*/ 695406 h 809581"/>
                <a:gd name="connsiteX1282" fmla="*/ 627789 w 652669"/>
                <a:gd name="connsiteY1282" fmla="*/ 693563 h 809581"/>
                <a:gd name="connsiteX1283" fmla="*/ 628019 w 652669"/>
                <a:gd name="connsiteY1283" fmla="*/ 691604 h 809581"/>
                <a:gd name="connsiteX1284" fmla="*/ 628019 w 652669"/>
                <a:gd name="connsiteY1284" fmla="*/ 689646 h 809581"/>
                <a:gd name="connsiteX1285" fmla="*/ 627673 w 652669"/>
                <a:gd name="connsiteY1285" fmla="*/ 687803 h 809581"/>
                <a:gd name="connsiteX1286" fmla="*/ 625830 w 652669"/>
                <a:gd name="connsiteY1286" fmla="*/ 681468 h 809581"/>
                <a:gd name="connsiteX1287" fmla="*/ 623181 w 652669"/>
                <a:gd name="connsiteY1287" fmla="*/ 675132 h 809581"/>
                <a:gd name="connsiteX1288" fmla="*/ 619956 w 652669"/>
                <a:gd name="connsiteY1288" fmla="*/ 668681 h 809581"/>
                <a:gd name="connsiteX1289" fmla="*/ 616500 w 652669"/>
                <a:gd name="connsiteY1289" fmla="*/ 662116 h 809581"/>
                <a:gd name="connsiteX1290" fmla="*/ 613735 w 652669"/>
                <a:gd name="connsiteY1290" fmla="*/ 656932 h 809581"/>
                <a:gd name="connsiteX1291" fmla="*/ 611316 w 652669"/>
                <a:gd name="connsiteY1291" fmla="*/ 652094 h 809581"/>
                <a:gd name="connsiteX1292" fmla="*/ 609358 w 652669"/>
                <a:gd name="connsiteY1292" fmla="*/ 647947 h 809581"/>
                <a:gd name="connsiteX1293" fmla="*/ 608206 w 652669"/>
                <a:gd name="connsiteY1293" fmla="*/ 644952 h 809581"/>
                <a:gd name="connsiteX1294" fmla="*/ 609013 w 652669"/>
                <a:gd name="connsiteY1294" fmla="*/ 644952 h 809581"/>
                <a:gd name="connsiteX1295" fmla="*/ 610165 w 652669"/>
                <a:gd name="connsiteY1295" fmla="*/ 645067 h 809581"/>
                <a:gd name="connsiteX1296" fmla="*/ 611432 w 652669"/>
                <a:gd name="connsiteY1296" fmla="*/ 645298 h 809581"/>
                <a:gd name="connsiteX1297" fmla="*/ 612929 w 652669"/>
                <a:gd name="connsiteY1297" fmla="*/ 645643 h 809581"/>
                <a:gd name="connsiteX1298" fmla="*/ 617076 w 652669"/>
                <a:gd name="connsiteY1298" fmla="*/ 646910 h 809581"/>
                <a:gd name="connsiteX1299" fmla="*/ 621684 w 652669"/>
                <a:gd name="connsiteY1299" fmla="*/ 648408 h 809581"/>
                <a:gd name="connsiteX1300" fmla="*/ 626406 w 652669"/>
                <a:gd name="connsiteY1300" fmla="*/ 649905 h 809581"/>
                <a:gd name="connsiteX1301" fmla="*/ 631014 w 652669"/>
                <a:gd name="connsiteY1301" fmla="*/ 651288 h 809581"/>
                <a:gd name="connsiteX1302" fmla="*/ 634815 w 652669"/>
                <a:gd name="connsiteY1302" fmla="*/ 651979 h 809581"/>
                <a:gd name="connsiteX1303" fmla="*/ 638501 w 652669"/>
                <a:gd name="connsiteY1303" fmla="*/ 652324 h 809581"/>
                <a:gd name="connsiteX1304" fmla="*/ 641727 w 652669"/>
                <a:gd name="connsiteY1304" fmla="*/ 651172 h 809581"/>
                <a:gd name="connsiteX1305" fmla="*/ 644261 w 652669"/>
                <a:gd name="connsiteY1305" fmla="*/ 647601 h 809581"/>
                <a:gd name="connsiteX1306" fmla="*/ 644491 w 652669"/>
                <a:gd name="connsiteY1306" fmla="*/ 646334 h 809581"/>
                <a:gd name="connsiteX1307" fmla="*/ 644491 w 652669"/>
                <a:gd name="connsiteY1307" fmla="*/ 644952 h 809581"/>
                <a:gd name="connsiteX1308" fmla="*/ 644491 w 652669"/>
                <a:gd name="connsiteY1308" fmla="*/ 643570 h 809581"/>
                <a:gd name="connsiteX1309" fmla="*/ 644376 w 652669"/>
                <a:gd name="connsiteY1309" fmla="*/ 642188 h 809581"/>
                <a:gd name="connsiteX1310" fmla="*/ 641957 w 652669"/>
                <a:gd name="connsiteY1310" fmla="*/ 635161 h 809581"/>
                <a:gd name="connsiteX1311" fmla="*/ 638501 w 652669"/>
                <a:gd name="connsiteY1311" fmla="*/ 628595 h 809581"/>
                <a:gd name="connsiteX1312" fmla="*/ 634470 w 652669"/>
                <a:gd name="connsiteY1312" fmla="*/ 622260 h 809581"/>
                <a:gd name="connsiteX1313" fmla="*/ 630208 w 652669"/>
                <a:gd name="connsiteY1313" fmla="*/ 615694 h 809581"/>
                <a:gd name="connsiteX1314" fmla="*/ 626982 w 652669"/>
                <a:gd name="connsiteY1314" fmla="*/ 610856 h 809581"/>
                <a:gd name="connsiteX1315" fmla="*/ 624103 w 652669"/>
                <a:gd name="connsiteY1315" fmla="*/ 606248 h 809581"/>
                <a:gd name="connsiteX1316" fmla="*/ 621799 w 652669"/>
                <a:gd name="connsiteY1316" fmla="*/ 602332 h 809581"/>
                <a:gd name="connsiteX1317" fmla="*/ 620301 w 652669"/>
                <a:gd name="connsiteY1317" fmla="*/ 599567 h 809581"/>
                <a:gd name="connsiteX1318" fmla="*/ 622605 w 652669"/>
                <a:gd name="connsiteY1318" fmla="*/ 599567 h 809581"/>
                <a:gd name="connsiteX1319" fmla="*/ 626061 w 652669"/>
                <a:gd name="connsiteY1319" fmla="*/ 599567 h 809581"/>
                <a:gd name="connsiteX1320" fmla="*/ 630092 w 652669"/>
                <a:gd name="connsiteY1320" fmla="*/ 599913 h 809581"/>
                <a:gd name="connsiteX1321" fmla="*/ 634470 w 652669"/>
                <a:gd name="connsiteY1321" fmla="*/ 600604 h 809581"/>
                <a:gd name="connsiteX1322" fmla="*/ 637349 w 652669"/>
                <a:gd name="connsiteY1322" fmla="*/ 600949 h 809581"/>
                <a:gd name="connsiteX1323" fmla="*/ 640114 w 652669"/>
                <a:gd name="connsiteY1323" fmla="*/ 601180 h 809581"/>
                <a:gd name="connsiteX1324" fmla="*/ 642763 w 652669"/>
                <a:gd name="connsiteY1324" fmla="*/ 601295 h 809581"/>
                <a:gd name="connsiteX1325" fmla="*/ 645298 w 652669"/>
                <a:gd name="connsiteY1325" fmla="*/ 601295 h 809581"/>
                <a:gd name="connsiteX1326" fmla="*/ 647601 w 652669"/>
                <a:gd name="connsiteY1326" fmla="*/ 600949 h 809581"/>
                <a:gd name="connsiteX1327" fmla="*/ 649790 w 652669"/>
                <a:gd name="connsiteY1327" fmla="*/ 600143 h 809581"/>
                <a:gd name="connsiteX1328" fmla="*/ 651633 w 652669"/>
                <a:gd name="connsiteY1328" fmla="*/ 598300 h 809581"/>
                <a:gd name="connsiteX1329" fmla="*/ 652670 w 652669"/>
                <a:gd name="connsiteY1329" fmla="*/ 594959 h 809581"/>
                <a:gd name="connsiteX1330" fmla="*/ 652670 w 652669"/>
                <a:gd name="connsiteY1330" fmla="*/ 594038 h 809581"/>
                <a:gd name="connsiteX1331" fmla="*/ 652670 w 652669"/>
                <a:gd name="connsiteY1331" fmla="*/ 593232 h 809581"/>
                <a:gd name="connsiteX1332" fmla="*/ 652670 w 652669"/>
                <a:gd name="connsiteY1332" fmla="*/ 592310 h 809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</a:cxnLst>
              <a:rect l="l" t="t" r="r" b="b"/>
              <a:pathLst>
                <a:path w="652669" h="809581">
                  <a:moveTo>
                    <a:pt x="652094" y="592771"/>
                  </a:moveTo>
                  <a:cubicBezTo>
                    <a:pt x="652094" y="592771"/>
                    <a:pt x="652094" y="592310"/>
                    <a:pt x="651979" y="591964"/>
                  </a:cubicBezTo>
                  <a:cubicBezTo>
                    <a:pt x="651172" y="589200"/>
                    <a:pt x="650251" y="586781"/>
                    <a:pt x="648984" y="584477"/>
                  </a:cubicBezTo>
                  <a:cubicBezTo>
                    <a:pt x="647832" y="582173"/>
                    <a:pt x="646450" y="579985"/>
                    <a:pt x="644952" y="578026"/>
                  </a:cubicBezTo>
                  <a:cubicBezTo>
                    <a:pt x="643455" y="575953"/>
                    <a:pt x="641842" y="573995"/>
                    <a:pt x="640229" y="571921"/>
                  </a:cubicBezTo>
                  <a:cubicBezTo>
                    <a:pt x="638617" y="569963"/>
                    <a:pt x="636889" y="567890"/>
                    <a:pt x="635276" y="565701"/>
                  </a:cubicBezTo>
                  <a:cubicBezTo>
                    <a:pt x="634470" y="564664"/>
                    <a:pt x="633663" y="563628"/>
                    <a:pt x="632857" y="562706"/>
                  </a:cubicBezTo>
                  <a:cubicBezTo>
                    <a:pt x="632051" y="561669"/>
                    <a:pt x="631244" y="560748"/>
                    <a:pt x="630553" y="559826"/>
                  </a:cubicBezTo>
                  <a:cubicBezTo>
                    <a:pt x="629747" y="558905"/>
                    <a:pt x="629056" y="557983"/>
                    <a:pt x="628480" y="557062"/>
                  </a:cubicBezTo>
                  <a:cubicBezTo>
                    <a:pt x="627789" y="556140"/>
                    <a:pt x="627213" y="555334"/>
                    <a:pt x="626637" y="554527"/>
                  </a:cubicBezTo>
                  <a:lnTo>
                    <a:pt x="624333" y="551072"/>
                  </a:lnTo>
                  <a:cubicBezTo>
                    <a:pt x="624333" y="551072"/>
                    <a:pt x="625485" y="550611"/>
                    <a:pt x="626406" y="550496"/>
                  </a:cubicBezTo>
                  <a:cubicBezTo>
                    <a:pt x="627213" y="550265"/>
                    <a:pt x="628249" y="550035"/>
                    <a:pt x="629401" y="549920"/>
                  </a:cubicBezTo>
                  <a:cubicBezTo>
                    <a:pt x="630553" y="549805"/>
                    <a:pt x="631820" y="549574"/>
                    <a:pt x="633087" y="549459"/>
                  </a:cubicBezTo>
                  <a:cubicBezTo>
                    <a:pt x="634355" y="549344"/>
                    <a:pt x="635737" y="549229"/>
                    <a:pt x="637119" y="549229"/>
                  </a:cubicBezTo>
                  <a:cubicBezTo>
                    <a:pt x="637925" y="549229"/>
                    <a:pt x="638732" y="549114"/>
                    <a:pt x="639653" y="549114"/>
                  </a:cubicBezTo>
                  <a:cubicBezTo>
                    <a:pt x="640460" y="549114"/>
                    <a:pt x="641381" y="548998"/>
                    <a:pt x="642072" y="548883"/>
                  </a:cubicBezTo>
                  <a:cubicBezTo>
                    <a:pt x="642879" y="548883"/>
                    <a:pt x="643685" y="548653"/>
                    <a:pt x="644491" y="548538"/>
                  </a:cubicBezTo>
                  <a:cubicBezTo>
                    <a:pt x="645298" y="548422"/>
                    <a:pt x="646104" y="548192"/>
                    <a:pt x="646795" y="547962"/>
                  </a:cubicBezTo>
                  <a:cubicBezTo>
                    <a:pt x="647486" y="547616"/>
                    <a:pt x="648062" y="547501"/>
                    <a:pt x="648753" y="547040"/>
                  </a:cubicBezTo>
                  <a:cubicBezTo>
                    <a:pt x="649444" y="546695"/>
                    <a:pt x="650020" y="546234"/>
                    <a:pt x="650596" y="545658"/>
                  </a:cubicBezTo>
                  <a:cubicBezTo>
                    <a:pt x="651172" y="545082"/>
                    <a:pt x="651633" y="544391"/>
                    <a:pt x="651979" y="543354"/>
                  </a:cubicBezTo>
                  <a:cubicBezTo>
                    <a:pt x="652324" y="542433"/>
                    <a:pt x="652439" y="541165"/>
                    <a:pt x="652439" y="539668"/>
                  </a:cubicBezTo>
                  <a:lnTo>
                    <a:pt x="652209" y="537940"/>
                  </a:lnTo>
                  <a:cubicBezTo>
                    <a:pt x="651863" y="536327"/>
                    <a:pt x="651288" y="534830"/>
                    <a:pt x="650712" y="533563"/>
                  </a:cubicBezTo>
                  <a:cubicBezTo>
                    <a:pt x="650136" y="532296"/>
                    <a:pt x="649444" y="531029"/>
                    <a:pt x="648753" y="529992"/>
                  </a:cubicBezTo>
                  <a:cubicBezTo>
                    <a:pt x="648062" y="528840"/>
                    <a:pt x="647256" y="527803"/>
                    <a:pt x="646450" y="526767"/>
                  </a:cubicBezTo>
                  <a:cubicBezTo>
                    <a:pt x="645643" y="525730"/>
                    <a:pt x="644837" y="524808"/>
                    <a:pt x="644030" y="523772"/>
                  </a:cubicBezTo>
                  <a:cubicBezTo>
                    <a:pt x="642763" y="522274"/>
                    <a:pt x="641496" y="520892"/>
                    <a:pt x="640114" y="519510"/>
                  </a:cubicBezTo>
                  <a:cubicBezTo>
                    <a:pt x="638732" y="518012"/>
                    <a:pt x="637349" y="516630"/>
                    <a:pt x="635967" y="515132"/>
                  </a:cubicBezTo>
                  <a:cubicBezTo>
                    <a:pt x="634585" y="513750"/>
                    <a:pt x="633203" y="512368"/>
                    <a:pt x="631820" y="510870"/>
                  </a:cubicBezTo>
                  <a:cubicBezTo>
                    <a:pt x="630438" y="509488"/>
                    <a:pt x="629171" y="508221"/>
                    <a:pt x="627904" y="506839"/>
                  </a:cubicBezTo>
                  <a:cubicBezTo>
                    <a:pt x="627213" y="506263"/>
                    <a:pt x="626637" y="505572"/>
                    <a:pt x="626061" y="504880"/>
                  </a:cubicBezTo>
                  <a:cubicBezTo>
                    <a:pt x="625485" y="504304"/>
                    <a:pt x="624909" y="503613"/>
                    <a:pt x="624448" y="503037"/>
                  </a:cubicBezTo>
                  <a:cubicBezTo>
                    <a:pt x="623987" y="502461"/>
                    <a:pt x="623527" y="501885"/>
                    <a:pt x="623066" y="501425"/>
                  </a:cubicBezTo>
                  <a:cubicBezTo>
                    <a:pt x="622605" y="500849"/>
                    <a:pt x="622259" y="500388"/>
                    <a:pt x="621914" y="499927"/>
                  </a:cubicBezTo>
                  <a:lnTo>
                    <a:pt x="621453" y="499236"/>
                  </a:lnTo>
                  <a:cubicBezTo>
                    <a:pt x="621453" y="499236"/>
                    <a:pt x="621684" y="499006"/>
                    <a:pt x="621914" y="498775"/>
                  </a:cubicBezTo>
                  <a:cubicBezTo>
                    <a:pt x="622144" y="498660"/>
                    <a:pt x="622259" y="498430"/>
                    <a:pt x="622490" y="498430"/>
                  </a:cubicBezTo>
                  <a:cubicBezTo>
                    <a:pt x="622720" y="498314"/>
                    <a:pt x="622951" y="498084"/>
                    <a:pt x="623296" y="497969"/>
                  </a:cubicBezTo>
                  <a:cubicBezTo>
                    <a:pt x="623527" y="497854"/>
                    <a:pt x="623987" y="497739"/>
                    <a:pt x="624218" y="497623"/>
                  </a:cubicBezTo>
                  <a:cubicBezTo>
                    <a:pt x="625024" y="497278"/>
                    <a:pt x="626061" y="496932"/>
                    <a:pt x="627098" y="496587"/>
                  </a:cubicBezTo>
                  <a:cubicBezTo>
                    <a:pt x="628134" y="496241"/>
                    <a:pt x="629171" y="495895"/>
                    <a:pt x="630323" y="495550"/>
                  </a:cubicBezTo>
                  <a:cubicBezTo>
                    <a:pt x="631475" y="495204"/>
                    <a:pt x="632627" y="494859"/>
                    <a:pt x="633663" y="494513"/>
                  </a:cubicBezTo>
                  <a:cubicBezTo>
                    <a:pt x="634815" y="494168"/>
                    <a:pt x="635852" y="493707"/>
                    <a:pt x="637004" y="493361"/>
                  </a:cubicBezTo>
                  <a:cubicBezTo>
                    <a:pt x="637925" y="492785"/>
                    <a:pt x="638962" y="492440"/>
                    <a:pt x="639999" y="491979"/>
                  </a:cubicBezTo>
                  <a:cubicBezTo>
                    <a:pt x="640920" y="491518"/>
                    <a:pt x="641957" y="490942"/>
                    <a:pt x="642763" y="490251"/>
                  </a:cubicBezTo>
                  <a:cubicBezTo>
                    <a:pt x="643570" y="489445"/>
                    <a:pt x="644261" y="488523"/>
                    <a:pt x="644606" y="487141"/>
                  </a:cubicBezTo>
                  <a:cubicBezTo>
                    <a:pt x="645067" y="485874"/>
                    <a:pt x="645182" y="484146"/>
                    <a:pt x="644952" y="481842"/>
                  </a:cubicBezTo>
                  <a:lnTo>
                    <a:pt x="644952" y="481842"/>
                  </a:lnTo>
                  <a:cubicBezTo>
                    <a:pt x="644491" y="479999"/>
                    <a:pt x="644030" y="478502"/>
                    <a:pt x="643339" y="477119"/>
                  </a:cubicBezTo>
                  <a:cubicBezTo>
                    <a:pt x="642648" y="475737"/>
                    <a:pt x="641957" y="474470"/>
                    <a:pt x="641036" y="473318"/>
                  </a:cubicBezTo>
                  <a:cubicBezTo>
                    <a:pt x="640229" y="472166"/>
                    <a:pt x="639308" y="471129"/>
                    <a:pt x="638501" y="470208"/>
                  </a:cubicBezTo>
                  <a:cubicBezTo>
                    <a:pt x="637695" y="469286"/>
                    <a:pt x="636774" y="468365"/>
                    <a:pt x="635852" y="467443"/>
                  </a:cubicBezTo>
                  <a:cubicBezTo>
                    <a:pt x="634470" y="466176"/>
                    <a:pt x="633087" y="464909"/>
                    <a:pt x="631590" y="463527"/>
                  </a:cubicBezTo>
                  <a:cubicBezTo>
                    <a:pt x="630092" y="462260"/>
                    <a:pt x="628595" y="460993"/>
                    <a:pt x="627098" y="459726"/>
                  </a:cubicBezTo>
                  <a:cubicBezTo>
                    <a:pt x="625485" y="458459"/>
                    <a:pt x="624103" y="457307"/>
                    <a:pt x="622605" y="456040"/>
                  </a:cubicBezTo>
                  <a:cubicBezTo>
                    <a:pt x="621108" y="454888"/>
                    <a:pt x="619725" y="453621"/>
                    <a:pt x="618343" y="452469"/>
                  </a:cubicBezTo>
                  <a:cubicBezTo>
                    <a:pt x="617652" y="451893"/>
                    <a:pt x="616961" y="451317"/>
                    <a:pt x="616385" y="450741"/>
                  </a:cubicBezTo>
                  <a:cubicBezTo>
                    <a:pt x="615694" y="450165"/>
                    <a:pt x="615118" y="449589"/>
                    <a:pt x="614542" y="449128"/>
                  </a:cubicBezTo>
                  <a:cubicBezTo>
                    <a:pt x="613966" y="448667"/>
                    <a:pt x="613505" y="448091"/>
                    <a:pt x="613044" y="447631"/>
                  </a:cubicBezTo>
                  <a:cubicBezTo>
                    <a:pt x="612583" y="447170"/>
                    <a:pt x="612123" y="446709"/>
                    <a:pt x="611777" y="446364"/>
                  </a:cubicBezTo>
                  <a:lnTo>
                    <a:pt x="611201" y="445903"/>
                  </a:lnTo>
                  <a:cubicBezTo>
                    <a:pt x="611201" y="445903"/>
                    <a:pt x="612008" y="445096"/>
                    <a:pt x="612583" y="444521"/>
                  </a:cubicBezTo>
                  <a:cubicBezTo>
                    <a:pt x="613159" y="443945"/>
                    <a:pt x="613851" y="443369"/>
                    <a:pt x="614772" y="442793"/>
                  </a:cubicBezTo>
                  <a:cubicBezTo>
                    <a:pt x="615578" y="442101"/>
                    <a:pt x="616500" y="441526"/>
                    <a:pt x="617421" y="440834"/>
                  </a:cubicBezTo>
                  <a:cubicBezTo>
                    <a:pt x="618343" y="440258"/>
                    <a:pt x="619380" y="439682"/>
                    <a:pt x="620416" y="439107"/>
                  </a:cubicBezTo>
                  <a:cubicBezTo>
                    <a:pt x="621568" y="438185"/>
                    <a:pt x="622835" y="437494"/>
                    <a:pt x="624103" y="436688"/>
                  </a:cubicBezTo>
                  <a:cubicBezTo>
                    <a:pt x="625254" y="435996"/>
                    <a:pt x="626406" y="435190"/>
                    <a:pt x="627443" y="434269"/>
                  </a:cubicBezTo>
                  <a:cubicBezTo>
                    <a:pt x="628365" y="433347"/>
                    <a:pt x="629286" y="432195"/>
                    <a:pt x="629862" y="430582"/>
                  </a:cubicBezTo>
                  <a:cubicBezTo>
                    <a:pt x="630438" y="429085"/>
                    <a:pt x="630668" y="427127"/>
                    <a:pt x="630438" y="424593"/>
                  </a:cubicBezTo>
                  <a:lnTo>
                    <a:pt x="630092" y="422980"/>
                  </a:lnTo>
                  <a:cubicBezTo>
                    <a:pt x="629401" y="421252"/>
                    <a:pt x="628710" y="419755"/>
                    <a:pt x="627904" y="418487"/>
                  </a:cubicBezTo>
                  <a:cubicBezTo>
                    <a:pt x="627098" y="417220"/>
                    <a:pt x="626291" y="416068"/>
                    <a:pt x="625370" y="415032"/>
                  </a:cubicBezTo>
                  <a:cubicBezTo>
                    <a:pt x="624448" y="414110"/>
                    <a:pt x="623527" y="413189"/>
                    <a:pt x="622605" y="412382"/>
                  </a:cubicBezTo>
                  <a:cubicBezTo>
                    <a:pt x="621684" y="411576"/>
                    <a:pt x="620762" y="410770"/>
                    <a:pt x="619840" y="409963"/>
                  </a:cubicBezTo>
                  <a:cubicBezTo>
                    <a:pt x="618458" y="408927"/>
                    <a:pt x="616961" y="407775"/>
                    <a:pt x="615463" y="406853"/>
                  </a:cubicBezTo>
                  <a:cubicBezTo>
                    <a:pt x="613966" y="405816"/>
                    <a:pt x="612468" y="404780"/>
                    <a:pt x="610971" y="403858"/>
                  </a:cubicBezTo>
                  <a:cubicBezTo>
                    <a:pt x="609358" y="402937"/>
                    <a:pt x="607861" y="401900"/>
                    <a:pt x="606363" y="400978"/>
                  </a:cubicBezTo>
                  <a:cubicBezTo>
                    <a:pt x="604866" y="400057"/>
                    <a:pt x="603368" y="399135"/>
                    <a:pt x="601986" y="398099"/>
                  </a:cubicBezTo>
                  <a:cubicBezTo>
                    <a:pt x="601295" y="397638"/>
                    <a:pt x="600604" y="397177"/>
                    <a:pt x="600028" y="396716"/>
                  </a:cubicBezTo>
                  <a:cubicBezTo>
                    <a:pt x="599452" y="396256"/>
                    <a:pt x="598761" y="395795"/>
                    <a:pt x="598185" y="395334"/>
                  </a:cubicBezTo>
                  <a:cubicBezTo>
                    <a:pt x="597609" y="394989"/>
                    <a:pt x="597148" y="394528"/>
                    <a:pt x="596572" y="394182"/>
                  </a:cubicBezTo>
                  <a:cubicBezTo>
                    <a:pt x="596111" y="393837"/>
                    <a:pt x="595650" y="393376"/>
                    <a:pt x="595190" y="393145"/>
                  </a:cubicBezTo>
                  <a:lnTo>
                    <a:pt x="594614" y="392685"/>
                  </a:lnTo>
                  <a:cubicBezTo>
                    <a:pt x="594614" y="392685"/>
                    <a:pt x="595190" y="391533"/>
                    <a:pt x="595650" y="390957"/>
                  </a:cubicBezTo>
                  <a:cubicBezTo>
                    <a:pt x="596111" y="390266"/>
                    <a:pt x="596687" y="389459"/>
                    <a:pt x="597263" y="388768"/>
                  </a:cubicBezTo>
                  <a:cubicBezTo>
                    <a:pt x="597954" y="387962"/>
                    <a:pt x="598645" y="387040"/>
                    <a:pt x="599452" y="386234"/>
                  </a:cubicBezTo>
                  <a:cubicBezTo>
                    <a:pt x="600143" y="385428"/>
                    <a:pt x="601064" y="384506"/>
                    <a:pt x="601871" y="383700"/>
                  </a:cubicBezTo>
                  <a:cubicBezTo>
                    <a:pt x="602792" y="382548"/>
                    <a:pt x="603714" y="381626"/>
                    <a:pt x="604635" y="380590"/>
                  </a:cubicBezTo>
                  <a:cubicBezTo>
                    <a:pt x="605557" y="379668"/>
                    <a:pt x="606478" y="378631"/>
                    <a:pt x="607170" y="377480"/>
                  </a:cubicBezTo>
                  <a:cubicBezTo>
                    <a:pt x="607976" y="376328"/>
                    <a:pt x="608552" y="375061"/>
                    <a:pt x="608897" y="373563"/>
                  </a:cubicBezTo>
                  <a:cubicBezTo>
                    <a:pt x="609243" y="371950"/>
                    <a:pt x="609358" y="370223"/>
                    <a:pt x="609128" y="367919"/>
                  </a:cubicBezTo>
                  <a:lnTo>
                    <a:pt x="608206" y="364809"/>
                  </a:lnTo>
                  <a:cubicBezTo>
                    <a:pt x="607285" y="363081"/>
                    <a:pt x="606478" y="361583"/>
                    <a:pt x="605557" y="360431"/>
                  </a:cubicBezTo>
                  <a:cubicBezTo>
                    <a:pt x="604635" y="359164"/>
                    <a:pt x="603714" y="358128"/>
                    <a:pt x="602792" y="357321"/>
                  </a:cubicBezTo>
                  <a:cubicBezTo>
                    <a:pt x="601871" y="356400"/>
                    <a:pt x="600834" y="355709"/>
                    <a:pt x="599913" y="355017"/>
                  </a:cubicBezTo>
                  <a:cubicBezTo>
                    <a:pt x="598991" y="354326"/>
                    <a:pt x="598069" y="353750"/>
                    <a:pt x="597148" y="353059"/>
                  </a:cubicBezTo>
                  <a:cubicBezTo>
                    <a:pt x="595766" y="352253"/>
                    <a:pt x="594268" y="351331"/>
                    <a:pt x="592771" y="350640"/>
                  </a:cubicBezTo>
                  <a:cubicBezTo>
                    <a:pt x="591273" y="349834"/>
                    <a:pt x="589776" y="349027"/>
                    <a:pt x="588163" y="348336"/>
                  </a:cubicBezTo>
                  <a:cubicBezTo>
                    <a:pt x="586666" y="347645"/>
                    <a:pt x="585168" y="346954"/>
                    <a:pt x="583671" y="346148"/>
                  </a:cubicBezTo>
                  <a:cubicBezTo>
                    <a:pt x="582173" y="345457"/>
                    <a:pt x="580676" y="344765"/>
                    <a:pt x="579293" y="343959"/>
                  </a:cubicBezTo>
                  <a:cubicBezTo>
                    <a:pt x="578602" y="343614"/>
                    <a:pt x="577911" y="343268"/>
                    <a:pt x="577335" y="342922"/>
                  </a:cubicBezTo>
                  <a:cubicBezTo>
                    <a:pt x="576644" y="342577"/>
                    <a:pt x="576068" y="342231"/>
                    <a:pt x="575492" y="341886"/>
                  </a:cubicBezTo>
                  <a:cubicBezTo>
                    <a:pt x="574916" y="341540"/>
                    <a:pt x="574340" y="341195"/>
                    <a:pt x="573879" y="340964"/>
                  </a:cubicBezTo>
                  <a:cubicBezTo>
                    <a:pt x="573419" y="340619"/>
                    <a:pt x="572958" y="340273"/>
                    <a:pt x="572497" y="340043"/>
                  </a:cubicBezTo>
                  <a:lnTo>
                    <a:pt x="572036" y="339812"/>
                  </a:lnTo>
                  <a:cubicBezTo>
                    <a:pt x="572036" y="339812"/>
                    <a:pt x="572267" y="338660"/>
                    <a:pt x="572612" y="337854"/>
                  </a:cubicBezTo>
                  <a:cubicBezTo>
                    <a:pt x="572843" y="337163"/>
                    <a:pt x="573188" y="336241"/>
                    <a:pt x="573649" y="335435"/>
                  </a:cubicBezTo>
                  <a:cubicBezTo>
                    <a:pt x="573995" y="334513"/>
                    <a:pt x="574455" y="333592"/>
                    <a:pt x="575031" y="332670"/>
                  </a:cubicBezTo>
                  <a:cubicBezTo>
                    <a:pt x="575492" y="331749"/>
                    <a:pt x="576068" y="330712"/>
                    <a:pt x="576644" y="329906"/>
                  </a:cubicBezTo>
                  <a:cubicBezTo>
                    <a:pt x="577335" y="328524"/>
                    <a:pt x="578026" y="327256"/>
                    <a:pt x="578717" y="326105"/>
                  </a:cubicBezTo>
                  <a:cubicBezTo>
                    <a:pt x="579409" y="324837"/>
                    <a:pt x="580100" y="323570"/>
                    <a:pt x="580676" y="322303"/>
                  </a:cubicBezTo>
                  <a:cubicBezTo>
                    <a:pt x="581252" y="321036"/>
                    <a:pt x="581712" y="319654"/>
                    <a:pt x="581943" y="318041"/>
                  </a:cubicBezTo>
                  <a:cubicBezTo>
                    <a:pt x="582173" y="316429"/>
                    <a:pt x="582288" y="314701"/>
                    <a:pt x="581943" y="312742"/>
                  </a:cubicBezTo>
                  <a:cubicBezTo>
                    <a:pt x="581943" y="312397"/>
                    <a:pt x="581828" y="311936"/>
                    <a:pt x="581712" y="311591"/>
                  </a:cubicBezTo>
                  <a:cubicBezTo>
                    <a:pt x="581597" y="311245"/>
                    <a:pt x="581482" y="310784"/>
                    <a:pt x="581367" y="310323"/>
                  </a:cubicBezTo>
                  <a:cubicBezTo>
                    <a:pt x="581136" y="309863"/>
                    <a:pt x="581021" y="309402"/>
                    <a:pt x="580791" y="308941"/>
                  </a:cubicBezTo>
                  <a:cubicBezTo>
                    <a:pt x="580561" y="308480"/>
                    <a:pt x="580445" y="308020"/>
                    <a:pt x="580100" y="307559"/>
                  </a:cubicBezTo>
                  <a:cubicBezTo>
                    <a:pt x="578717" y="305485"/>
                    <a:pt x="577450" y="303873"/>
                    <a:pt x="576183" y="302606"/>
                  </a:cubicBezTo>
                  <a:cubicBezTo>
                    <a:pt x="574916" y="301339"/>
                    <a:pt x="573649" y="300417"/>
                    <a:pt x="572497" y="299611"/>
                  </a:cubicBezTo>
                  <a:cubicBezTo>
                    <a:pt x="571230" y="298804"/>
                    <a:pt x="569963" y="298228"/>
                    <a:pt x="568811" y="297653"/>
                  </a:cubicBezTo>
                  <a:cubicBezTo>
                    <a:pt x="567544" y="297077"/>
                    <a:pt x="566277" y="296616"/>
                    <a:pt x="565125" y="296040"/>
                  </a:cubicBezTo>
                  <a:cubicBezTo>
                    <a:pt x="563858" y="295579"/>
                    <a:pt x="562476" y="295118"/>
                    <a:pt x="561093" y="294658"/>
                  </a:cubicBezTo>
                  <a:cubicBezTo>
                    <a:pt x="559711" y="294197"/>
                    <a:pt x="558329" y="293736"/>
                    <a:pt x="557062" y="293390"/>
                  </a:cubicBezTo>
                  <a:cubicBezTo>
                    <a:pt x="555679" y="292930"/>
                    <a:pt x="554297" y="292584"/>
                    <a:pt x="553030" y="292123"/>
                  </a:cubicBezTo>
                  <a:cubicBezTo>
                    <a:pt x="551763" y="291663"/>
                    <a:pt x="550496" y="291202"/>
                    <a:pt x="549344" y="290741"/>
                  </a:cubicBezTo>
                  <a:cubicBezTo>
                    <a:pt x="549344" y="290741"/>
                    <a:pt x="549229" y="290741"/>
                    <a:pt x="549113" y="290741"/>
                  </a:cubicBezTo>
                  <a:cubicBezTo>
                    <a:pt x="549113" y="290741"/>
                    <a:pt x="548998" y="290741"/>
                    <a:pt x="548883" y="290741"/>
                  </a:cubicBezTo>
                  <a:cubicBezTo>
                    <a:pt x="548883" y="290741"/>
                    <a:pt x="548768" y="290741"/>
                    <a:pt x="548653" y="290741"/>
                  </a:cubicBezTo>
                  <a:cubicBezTo>
                    <a:pt x="548653" y="290741"/>
                    <a:pt x="548538" y="290741"/>
                    <a:pt x="548422" y="290741"/>
                  </a:cubicBezTo>
                  <a:cubicBezTo>
                    <a:pt x="548422" y="290741"/>
                    <a:pt x="548307" y="290741"/>
                    <a:pt x="548192" y="290741"/>
                  </a:cubicBezTo>
                  <a:cubicBezTo>
                    <a:pt x="548192" y="290741"/>
                    <a:pt x="547962" y="290741"/>
                    <a:pt x="547962" y="290626"/>
                  </a:cubicBezTo>
                  <a:cubicBezTo>
                    <a:pt x="547962" y="290626"/>
                    <a:pt x="547846" y="290626"/>
                    <a:pt x="547731" y="290626"/>
                  </a:cubicBezTo>
                  <a:cubicBezTo>
                    <a:pt x="547731" y="290626"/>
                    <a:pt x="547616" y="290626"/>
                    <a:pt x="547501" y="290626"/>
                  </a:cubicBezTo>
                  <a:cubicBezTo>
                    <a:pt x="547155" y="290511"/>
                    <a:pt x="546810" y="290395"/>
                    <a:pt x="546464" y="290165"/>
                  </a:cubicBezTo>
                  <a:cubicBezTo>
                    <a:pt x="546118" y="290050"/>
                    <a:pt x="545773" y="289935"/>
                    <a:pt x="545543" y="289704"/>
                  </a:cubicBezTo>
                  <a:cubicBezTo>
                    <a:pt x="545197" y="289589"/>
                    <a:pt x="544967" y="289474"/>
                    <a:pt x="544736" y="289359"/>
                  </a:cubicBezTo>
                  <a:cubicBezTo>
                    <a:pt x="544506" y="289244"/>
                    <a:pt x="544275" y="289128"/>
                    <a:pt x="544045" y="289013"/>
                  </a:cubicBezTo>
                  <a:cubicBezTo>
                    <a:pt x="544045" y="288437"/>
                    <a:pt x="544045" y="287631"/>
                    <a:pt x="544275" y="286825"/>
                  </a:cubicBezTo>
                  <a:cubicBezTo>
                    <a:pt x="544391" y="286018"/>
                    <a:pt x="544621" y="284982"/>
                    <a:pt x="544851" y="284060"/>
                  </a:cubicBezTo>
                  <a:cubicBezTo>
                    <a:pt x="545082" y="283023"/>
                    <a:pt x="545312" y="281871"/>
                    <a:pt x="545658" y="280835"/>
                  </a:cubicBezTo>
                  <a:cubicBezTo>
                    <a:pt x="546003" y="279683"/>
                    <a:pt x="546349" y="278531"/>
                    <a:pt x="546694" y="277494"/>
                  </a:cubicBezTo>
                  <a:cubicBezTo>
                    <a:pt x="547155" y="276112"/>
                    <a:pt x="547501" y="274730"/>
                    <a:pt x="547962" y="273462"/>
                  </a:cubicBezTo>
                  <a:cubicBezTo>
                    <a:pt x="548422" y="272195"/>
                    <a:pt x="548768" y="270698"/>
                    <a:pt x="549113" y="269316"/>
                  </a:cubicBezTo>
                  <a:cubicBezTo>
                    <a:pt x="549459" y="267933"/>
                    <a:pt x="549574" y="266551"/>
                    <a:pt x="549689" y="265054"/>
                  </a:cubicBezTo>
                  <a:cubicBezTo>
                    <a:pt x="549689" y="263556"/>
                    <a:pt x="549689" y="261943"/>
                    <a:pt x="549459" y="260216"/>
                  </a:cubicBezTo>
                  <a:cubicBezTo>
                    <a:pt x="549344" y="259755"/>
                    <a:pt x="549229" y="259294"/>
                    <a:pt x="549113" y="258718"/>
                  </a:cubicBezTo>
                  <a:cubicBezTo>
                    <a:pt x="548883" y="258142"/>
                    <a:pt x="548768" y="257566"/>
                    <a:pt x="548538" y="256990"/>
                  </a:cubicBezTo>
                  <a:cubicBezTo>
                    <a:pt x="548307" y="256299"/>
                    <a:pt x="547962" y="255723"/>
                    <a:pt x="547616" y="255032"/>
                  </a:cubicBezTo>
                  <a:cubicBezTo>
                    <a:pt x="547270" y="254456"/>
                    <a:pt x="546925" y="253765"/>
                    <a:pt x="546464" y="253074"/>
                  </a:cubicBezTo>
                  <a:cubicBezTo>
                    <a:pt x="545658" y="251922"/>
                    <a:pt x="544736" y="250885"/>
                    <a:pt x="543930" y="250079"/>
                  </a:cubicBezTo>
                  <a:cubicBezTo>
                    <a:pt x="543124" y="249272"/>
                    <a:pt x="542202" y="248581"/>
                    <a:pt x="541396" y="248005"/>
                  </a:cubicBezTo>
                  <a:cubicBezTo>
                    <a:pt x="540589" y="247429"/>
                    <a:pt x="539783" y="246969"/>
                    <a:pt x="539092" y="246623"/>
                  </a:cubicBezTo>
                  <a:cubicBezTo>
                    <a:pt x="538401" y="246277"/>
                    <a:pt x="537594" y="245932"/>
                    <a:pt x="536903" y="245702"/>
                  </a:cubicBezTo>
                  <a:cubicBezTo>
                    <a:pt x="534715" y="244895"/>
                    <a:pt x="532411" y="244319"/>
                    <a:pt x="530107" y="243858"/>
                  </a:cubicBezTo>
                  <a:cubicBezTo>
                    <a:pt x="527803" y="243398"/>
                    <a:pt x="525384" y="243052"/>
                    <a:pt x="523080" y="242707"/>
                  </a:cubicBezTo>
                  <a:cubicBezTo>
                    <a:pt x="520777" y="242361"/>
                    <a:pt x="518588" y="242131"/>
                    <a:pt x="516630" y="241785"/>
                  </a:cubicBezTo>
                  <a:cubicBezTo>
                    <a:pt x="514671" y="241439"/>
                    <a:pt x="512944" y="240979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561" y="240518"/>
                  </a:cubicBezTo>
                  <a:cubicBezTo>
                    <a:pt x="511561" y="240518"/>
                    <a:pt x="511561" y="240518"/>
                    <a:pt x="511446" y="240518"/>
                  </a:cubicBezTo>
                  <a:lnTo>
                    <a:pt x="511101" y="240518"/>
                  </a:lnTo>
                  <a:cubicBezTo>
                    <a:pt x="510870" y="238905"/>
                    <a:pt x="510870" y="236947"/>
                    <a:pt x="511101" y="234758"/>
                  </a:cubicBezTo>
                  <a:cubicBezTo>
                    <a:pt x="511331" y="232570"/>
                    <a:pt x="511561" y="230036"/>
                    <a:pt x="511907" y="227386"/>
                  </a:cubicBezTo>
                  <a:cubicBezTo>
                    <a:pt x="512137" y="224737"/>
                    <a:pt x="512483" y="222087"/>
                    <a:pt x="512598" y="219208"/>
                  </a:cubicBezTo>
                  <a:cubicBezTo>
                    <a:pt x="512713" y="216443"/>
                    <a:pt x="512598" y="213679"/>
                    <a:pt x="512253" y="211144"/>
                  </a:cubicBezTo>
                  <a:cubicBezTo>
                    <a:pt x="512137" y="210453"/>
                    <a:pt x="512022" y="209762"/>
                    <a:pt x="511792" y="209071"/>
                  </a:cubicBezTo>
                  <a:cubicBezTo>
                    <a:pt x="511561" y="208380"/>
                    <a:pt x="511331" y="207573"/>
                    <a:pt x="510985" y="206767"/>
                  </a:cubicBezTo>
                  <a:cubicBezTo>
                    <a:pt x="510640" y="205961"/>
                    <a:pt x="510179" y="205154"/>
                    <a:pt x="509718" y="204233"/>
                  </a:cubicBezTo>
                  <a:cubicBezTo>
                    <a:pt x="509258" y="203311"/>
                    <a:pt x="508566" y="202505"/>
                    <a:pt x="507875" y="201584"/>
                  </a:cubicBezTo>
                  <a:cubicBezTo>
                    <a:pt x="507299" y="200892"/>
                    <a:pt x="506608" y="200201"/>
                    <a:pt x="506032" y="199625"/>
                  </a:cubicBezTo>
                  <a:cubicBezTo>
                    <a:pt x="505341" y="199049"/>
                    <a:pt x="504765" y="198589"/>
                    <a:pt x="504189" y="198128"/>
                  </a:cubicBezTo>
                  <a:cubicBezTo>
                    <a:pt x="503498" y="197667"/>
                    <a:pt x="503037" y="197321"/>
                    <a:pt x="502461" y="196976"/>
                  </a:cubicBezTo>
                  <a:cubicBezTo>
                    <a:pt x="501885" y="196630"/>
                    <a:pt x="501309" y="196400"/>
                    <a:pt x="500849" y="196285"/>
                  </a:cubicBezTo>
                  <a:cubicBezTo>
                    <a:pt x="498430" y="195478"/>
                    <a:pt x="495895" y="195018"/>
                    <a:pt x="493246" y="194902"/>
                  </a:cubicBezTo>
                  <a:cubicBezTo>
                    <a:pt x="490597" y="194787"/>
                    <a:pt x="487947" y="194902"/>
                    <a:pt x="485413" y="194902"/>
                  </a:cubicBezTo>
                  <a:cubicBezTo>
                    <a:pt x="482994" y="195018"/>
                    <a:pt x="480575" y="195248"/>
                    <a:pt x="478502" y="195363"/>
                  </a:cubicBezTo>
                  <a:cubicBezTo>
                    <a:pt x="476428" y="195363"/>
                    <a:pt x="474585" y="195363"/>
                    <a:pt x="473318" y="194902"/>
                  </a:cubicBezTo>
                  <a:lnTo>
                    <a:pt x="472857" y="192829"/>
                  </a:lnTo>
                  <a:cubicBezTo>
                    <a:pt x="472512" y="191216"/>
                    <a:pt x="472397" y="189373"/>
                    <a:pt x="472281" y="187415"/>
                  </a:cubicBezTo>
                  <a:cubicBezTo>
                    <a:pt x="472166" y="185342"/>
                    <a:pt x="472051" y="183268"/>
                    <a:pt x="471936" y="181080"/>
                  </a:cubicBezTo>
                  <a:cubicBezTo>
                    <a:pt x="471936" y="178891"/>
                    <a:pt x="471821" y="176587"/>
                    <a:pt x="471590" y="174283"/>
                  </a:cubicBezTo>
                  <a:cubicBezTo>
                    <a:pt x="471475" y="171980"/>
                    <a:pt x="471245" y="169791"/>
                    <a:pt x="470784" y="167602"/>
                  </a:cubicBezTo>
                  <a:cubicBezTo>
                    <a:pt x="470553" y="166566"/>
                    <a:pt x="470438" y="165644"/>
                    <a:pt x="470208" y="164492"/>
                  </a:cubicBezTo>
                  <a:cubicBezTo>
                    <a:pt x="469977" y="163455"/>
                    <a:pt x="469632" y="162419"/>
                    <a:pt x="469171" y="161267"/>
                  </a:cubicBezTo>
                  <a:cubicBezTo>
                    <a:pt x="468710" y="160115"/>
                    <a:pt x="468134" y="158963"/>
                    <a:pt x="467328" y="157696"/>
                  </a:cubicBezTo>
                  <a:cubicBezTo>
                    <a:pt x="466522" y="156429"/>
                    <a:pt x="465485" y="155162"/>
                    <a:pt x="464333" y="153779"/>
                  </a:cubicBezTo>
                  <a:cubicBezTo>
                    <a:pt x="463872" y="153319"/>
                    <a:pt x="463412" y="152973"/>
                    <a:pt x="462951" y="152512"/>
                  </a:cubicBezTo>
                  <a:cubicBezTo>
                    <a:pt x="462490" y="152167"/>
                    <a:pt x="462029" y="151821"/>
                    <a:pt x="461684" y="151476"/>
                  </a:cubicBezTo>
                  <a:cubicBezTo>
                    <a:pt x="461223" y="151130"/>
                    <a:pt x="460762" y="150900"/>
                    <a:pt x="460302" y="150669"/>
                  </a:cubicBezTo>
                  <a:cubicBezTo>
                    <a:pt x="459841" y="150439"/>
                    <a:pt x="459495" y="150209"/>
                    <a:pt x="459034" y="150093"/>
                  </a:cubicBezTo>
                  <a:cubicBezTo>
                    <a:pt x="457307" y="149517"/>
                    <a:pt x="455809" y="149172"/>
                    <a:pt x="454312" y="149057"/>
                  </a:cubicBezTo>
                  <a:cubicBezTo>
                    <a:pt x="452814" y="148941"/>
                    <a:pt x="451547" y="149057"/>
                    <a:pt x="450165" y="149287"/>
                  </a:cubicBezTo>
                  <a:cubicBezTo>
                    <a:pt x="448898" y="149517"/>
                    <a:pt x="447515" y="149863"/>
                    <a:pt x="446248" y="150209"/>
                  </a:cubicBezTo>
                  <a:cubicBezTo>
                    <a:pt x="444981" y="150554"/>
                    <a:pt x="443599" y="150900"/>
                    <a:pt x="442332" y="151245"/>
                  </a:cubicBezTo>
                  <a:cubicBezTo>
                    <a:pt x="441295" y="151591"/>
                    <a:pt x="440258" y="151936"/>
                    <a:pt x="439222" y="152167"/>
                  </a:cubicBezTo>
                  <a:cubicBezTo>
                    <a:pt x="438185" y="152512"/>
                    <a:pt x="437263" y="152628"/>
                    <a:pt x="436227" y="152858"/>
                  </a:cubicBezTo>
                  <a:cubicBezTo>
                    <a:pt x="435305" y="152973"/>
                    <a:pt x="434384" y="153088"/>
                    <a:pt x="433693" y="153203"/>
                  </a:cubicBezTo>
                  <a:cubicBezTo>
                    <a:pt x="432886" y="153203"/>
                    <a:pt x="432310" y="153203"/>
                    <a:pt x="431734" y="153203"/>
                  </a:cubicBezTo>
                  <a:cubicBezTo>
                    <a:pt x="431504" y="152512"/>
                    <a:pt x="431158" y="151476"/>
                    <a:pt x="430928" y="150324"/>
                  </a:cubicBezTo>
                  <a:cubicBezTo>
                    <a:pt x="430582" y="149172"/>
                    <a:pt x="430237" y="147790"/>
                    <a:pt x="429891" y="146292"/>
                  </a:cubicBezTo>
                  <a:cubicBezTo>
                    <a:pt x="429546" y="144679"/>
                    <a:pt x="429200" y="143182"/>
                    <a:pt x="428854" y="141454"/>
                  </a:cubicBezTo>
                  <a:cubicBezTo>
                    <a:pt x="428509" y="139726"/>
                    <a:pt x="428279" y="138114"/>
                    <a:pt x="428048" y="136501"/>
                  </a:cubicBezTo>
                  <a:cubicBezTo>
                    <a:pt x="427818" y="135464"/>
                    <a:pt x="427703" y="134427"/>
                    <a:pt x="427472" y="133276"/>
                  </a:cubicBezTo>
                  <a:cubicBezTo>
                    <a:pt x="427357" y="132239"/>
                    <a:pt x="427127" y="131202"/>
                    <a:pt x="426896" y="130050"/>
                  </a:cubicBezTo>
                  <a:cubicBezTo>
                    <a:pt x="426666" y="129013"/>
                    <a:pt x="426435" y="127977"/>
                    <a:pt x="426205" y="126825"/>
                  </a:cubicBezTo>
                  <a:cubicBezTo>
                    <a:pt x="425975" y="125788"/>
                    <a:pt x="425629" y="124751"/>
                    <a:pt x="425399" y="123715"/>
                  </a:cubicBezTo>
                  <a:cubicBezTo>
                    <a:pt x="425053" y="122678"/>
                    <a:pt x="424708" y="121756"/>
                    <a:pt x="424362" y="120605"/>
                  </a:cubicBezTo>
                  <a:cubicBezTo>
                    <a:pt x="424016" y="119568"/>
                    <a:pt x="423441" y="118416"/>
                    <a:pt x="422865" y="117379"/>
                  </a:cubicBezTo>
                  <a:cubicBezTo>
                    <a:pt x="422289" y="116227"/>
                    <a:pt x="421597" y="115075"/>
                    <a:pt x="420676" y="113924"/>
                  </a:cubicBezTo>
                  <a:cubicBezTo>
                    <a:pt x="419754" y="112772"/>
                    <a:pt x="418718" y="111620"/>
                    <a:pt x="417451" y="110468"/>
                  </a:cubicBezTo>
                  <a:cubicBezTo>
                    <a:pt x="417105" y="110237"/>
                    <a:pt x="416875" y="110007"/>
                    <a:pt x="416529" y="109777"/>
                  </a:cubicBezTo>
                  <a:cubicBezTo>
                    <a:pt x="416184" y="109546"/>
                    <a:pt x="415953" y="109431"/>
                    <a:pt x="415608" y="109201"/>
                  </a:cubicBezTo>
                  <a:cubicBezTo>
                    <a:pt x="415377" y="109086"/>
                    <a:pt x="415032" y="108855"/>
                    <a:pt x="414686" y="108740"/>
                  </a:cubicBezTo>
                  <a:cubicBezTo>
                    <a:pt x="414341" y="108625"/>
                    <a:pt x="414110" y="108394"/>
                    <a:pt x="413880" y="108279"/>
                  </a:cubicBezTo>
                  <a:cubicBezTo>
                    <a:pt x="411922" y="107588"/>
                    <a:pt x="410194" y="107473"/>
                    <a:pt x="408581" y="107473"/>
                  </a:cubicBezTo>
                  <a:cubicBezTo>
                    <a:pt x="406968" y="107473"/>
                    <a:pt x="405701" y="107934"/>
                    <a:pt x="404434" y="108394"/>
                  </a:cubicBezTo>
                  <a:cubicBezTo>
                    <a:pt x="403167" y="108855"/>
                    <a:pt x="401900" y="109546"/>
                    <a:pt x="400748" y="110353"/>
                  </a:cubicBezTo>
                  <a:cubicBezTo>
                    <a:pt x="399596" y="111159"/>
                    <a:pt x="398329" y="111850"/>
                    <a:pt x="396947" y="112541"/>
                  </a:cubicBezTo>
                  <a:cubicBezTo>
                    <a:pt x="396371" y="112887"/>
                    <a:pt x="395680" y="113232"/>
                    <a:pt x="395104" y="113578"/>
                  </a:cubicBezTo>
                  <a:cubicBezTo>
                    <a:pt x="394528" y="113924"/>
                    <a:pt x="393952" y="114269"/>
                    <a:pt x="393376" y="114615"/>
                  </a:cubicBezTo>
                  <a:cubicBezTo>
                    <a:pt x="392800" y="114960"/>
                    <a:pt x="392224" y="115191"/>
                    <a:pt x="391648" y="115536"/>
                  </a:cubicBezTo>
                  <a:cubicBezTo>
                    <a:pt x="391187" y="115882"/>
                    <a:pt x="390611" y="116112"/>
                    <a:pt x="390035" y="116227"/>
                  </a:cubicBezTo>
                  <a:cubicBezTo>
                    <a:pt x="389805" y="116227"/>
                    <a:pt x="389575" y="116458"/>
                    <a:pt x="389344" y="116458"/>
                  </a:cubicBezTo>
                  <a:cubicBezTo>
                    <a:pt x="389114" y="116458"/>
                    <a:pt x="388883" y="116573"/>
                    <a:pt x="388653" y="116573"/>
                  </a:cubicBezTo>
                  <a:cubicBezTo>
                    <a:pt x="388423" y="116573"/>
                    <a:pt x="388192" y="116688"/>
                    <a:pt x="387962" y="116688"/>
                  </a:cubicBezTo>
                  <a:cubicBezTo>
                    <a:pt x="387731" y="116688"/>
                    <a:pt x="387616" y="116688"/>
                    <a:pt x="387501" y="116688"/>
                  </a:cubicBezTo>
                  <a:cubicBezTo>
                    <a:pt x="387156" y="115997"/>
                    <a:pt x="386810" y="114960"/>
                    <a:pt x="386234" y="113808"/>
                  </a:cubicBezTo>
                  <a:cubicBezTo>
                    <a:pt x="385773" y="112541"/>
                    <a:pt x="385197" y="111159"/>
                    <a:pt x="384737" y="109661"/>
                  </a:cubicBezTo>
                  <a:cubicBezTo>
                    <a:pt x="384161" y="108049"/>
                    <a:pt x="383585" y="106436"/>
                    <a:pt x="383009" y="104708"/>
                  </a:cubicBezTo>
                  <a:cubicBezTo>
                    <a:pt x="382548" y="102980"/>
                    <a:pt x="381972" y="101253"/>
                    <a:pt x="381396" y="99525"/>
                  </a:cubicBezTo>
                  <a:cubicBezTo>
                    <a:pt x="381050" y="98373"/>
                    <a:pt x="380705" y="97221"/>
                    <a:pt x="380359" y="96184"/>
                  </a:cubicBezTo>
                  <a:cubicBezTo>
                    <a:pt x="380014" y="95032"/>
                    <a:pt x="379668" y="93880"/>
                    <a:pt x="379207" y="92844"/>
                  </a:cubicBezTo>
                  <a:cubicBezTo>
                    <a:pt x="378862" y="91807"/>
                    <a:pt x="378401" y="90655"/>
                    <a:pt x="378055" y="89618"/>
                  </a:cubicBezTo>
                  <a:cubicBezTo>
                    <a:pt x="377595" y="88466"/>
                    <a:pt x="377134" y="87545"/>
                    <a:pt x="376673" y="86393"/>
                  </a:cubicBezTo>
                  <a:cubicBezTo>
                    <a:pt x="376212" y="85356"/>
                    <a:pt x="375752" y="84320"/>
                    <a:pt x="375176" y="83283"/>
                  </a:cubicBezTo>
                  <a:cubicBezTo>
                    <a:pt x="374715" y="82246"/>
                    <a:pt x="374024" y="81209"/>
                    <a:pt x="373333" y="80057"/>
                  </a:cubicBezTo>
                  <a:cubicBezTo>
                    <a:pt x="372642" y="79021"/>
                    <a:pt x="371835" y="77869"/>
                    <a:pt x="370798" y="76832"/>
                  </a:cubicBezTo>
                  <a:cubicBezTo>
                    <a:pt x="369762" y="75795"/>
                    <a:pt x="368610" y="74759"/>
                    <a:pt x="367228" y="73607"/>
                  </a:cubicBezTo>
                  <a:lnTo>
                    <a:pt x="364924" y="72340"/>
                  </a:lnTo>
                  <a:cubicBezTo>
                    <a:pt x="362620" y="71649"/>
                    <a:pt x="360777" y="71533"/>
                    <a:pt x="359164" y="71764"/>
                  </a:cubicBezTo>
                  <a:cubicBezTo>
                    <a:pt x="357552" y="71994"/>
                    <a:pt x="356284" y="72685"/>
                    <a:pt x="355133" y="73492"/>
                  </a:cubicBezTo>
                  <a:cubicBezTo>
                    <a:pt x="353981" y="74298"/>
                    <a:pt x="352944" y="75450"/>
                    <a:pt x="351907" y="76487"/>
                  </a:cubicBezTo>
                  <a:cubicBezTo>
                    <a:pt x="350870" y="77638"/>
                    <a:pt x="349719" y="78790"/>
                    <a:pt x="348567" y="79712"/>
                  </a:cubicBezTo>
                  <a:cubicBezTo>
                    <a:pt x="347991" y="80288"/>
                    <a:pt x="347530" y="80864"/>
                    <a:pt x="346954" y="81325"/>
                  </a:cubicBezTo>
                  <a:cubicBezTo>
                    <a:pt x="346378" y="81785"/>
                    <a:pt x="345917" y="82361"/>
                    <a:pt x="345341" y="82822"/>
                  </a:cubicBezTo>
                  <a:cubicBezTo>
                    <a:pt x="344881" y="83283"/>
                    <a:pt x="344305" y="83744"/>
                    <a:pt x="343844" y="84204"/>
                  </a:cubicBezTo>
                  <a:cubicBezTo>
                    <a:pt x="343383" y="84550"/>
                    <a:pt x="342922" y="85011"/>
                    <a:pt x="342462" y="85241"/>
                  </a:cubicBezTo>
                  <a:lnTo>
                    <a:pt x="340503" y="86278"/>
                  </a:lnTo>
                  <a:cubicBezTo>
                    <a:pt x="340043" y="85587"/>
                    <a:pt x="339467" y="84550"/>
                    <a:pt x="338891" y="83283"/>
                  </a:cubicBezTo>
                  <a:cubicBezTo>
                    <a:pt x="338315" y="82016"/>
                    <a:pt x="337508" y="80633"/>
                    <a:pt x="336817" y="79021"/>
                  </a:cubicBezTo>
                  <a:cubicBezTo>
                    <a:pt x="336011" y="77408"/>
                    <a:pt x="335205" y="75680"/>
                    <a:pt x="334513" y="73952"/>
                  </a:cubicBezTo>
                  <a:cubicBezTo>
                    <a:pt x="333707" y="72225"/>
                    <a:pt x="332901" y="70381"/>
                    <a:pt x="332210" y="68538"/>
                  </a:cubicBezTo>
                  <a:cubicBezTo>
                    <a:pt x="331749" y="67386"/>
                    <a:pt x="331288" y="66235"/>
                    <a:pt x="330712" y="65083"/>
                  </a:cubicBezTo>
                  <a:cubicBezTo>
                    <a:pt x="330251" y="63931"/>
                    <a:pt x="329675" y="62779"/>
                    <a:pt x="329215" y="61742"/>
                  </a:cubicBezTo>
                  <a:cubicBezTo>
                    <a:pt x="328754" y="60590"/>
                    <a:pt x="328178" y="59554"/>
                    <a:pt x="327602" y="58402"/>
                  </a:cubicBezTo>
                  <a:cubicBezTo>
                    <a:pt x="327141" y="57365"/>
                    <a:pt x="326450" y="56213"/>
                    <a:pt x="325874" y="55176"/>
                  </a:cubicBezTo>
                  <a:cubicBezTo>
                    <a:pt x="325298" y="54255"/>
                    <a:pt x="324722" y="53218"/>
                    <a:pt x="324031" y="52181"/>
                  </a:cubicBezTo>
                  <a:cubicBezTo>
                    <a:pt x="323340" y="51145"/>
                    <a:pt x="322649" y="50108"/>
                    <a:pt x="321958" y="49071"/>
                  </a:cubicBezTo>
                  <a:cubicBezTo>
                    <a:pt x="321151" y="48034"/>
                    <a:pt x="320230" y="46998"/>
                    <a:pt x="319193" y="46076"/>
                  </a:cubicBezTo>
                  <a:cubicBezTo>
                    <a:pt x="318156" y="45155"/>
                    <a:pt x="317004" y="44233"/>
                    <a:pt x="315737" y="43427"/>
                  </a:cubicBezTo>
                  <a:lnTo>
                    <a:pt x="314470" y="42736"/>
                  </a:lnTo>
                  <a:lnTo>
                    <a:pt x="314240" y="42736"/>
                  </a:lnTo>
                  <a:cubicBezTo>
                    <a:pt x="312742" y="42160"/>
                    <a:pt x="311590" y="41814"/>
                    <a:pt x="310554" y="41814"/>
                  </a:cubicBezTo>
                  <a:cubicBezTo>
                    <a:pt x="309517" y="41814"/>
                    <a:pt x="308596" y="41929"/>
                    <a:pt x="307789" y="42275"/>
                  </a:cubicBezTo>
                  <a:cubicBezTo>
                    <a:pt x="307098" y="42621"/>
                    <a:pt x="306407" y="43081"/>
                    <a:pt x="305831" y="43542"/>
                  </a:cubicBezTo>
                  <a:cubicBezTo>
                    <a:pt x="305255" y="44003"/>
                    <a:pt x="304794" y="44579"/>
                    <a:pt x="304218" y="45155"/>
                  </a:cubicBezTo>
                  <a:cubicBezTo>
                    <a:pt x="303412" y="45961"/>
                    <a:pt x="302721" y="46883"/>
                    <a:pt x="302030" y="48034"/>
                  </a:cubicBezTo>
                  <a:cubicBezTo>
                    <a:pt x="301339" y="49071"/>
                    <a:pt x="300647" y="50108"/>
                    <a:pt x="299956" y="51260"/>
                  </a:cubicBezTo>
                  <a:cubicBezTo>
                    <a:pt x="299265" y="52412"/>
                    <a:pt x="298574" y="53448"/>
                    <a:pt x="297998" y="54600"/>
                  </a:cubicBezTo>
                  <a:cubicBezTo>
                    <a:pt x="297307" y="55637"/>
                    <a:pt x="296731" y="56674"/>
                    <a:pt x="296040" y="57710"/>
                  </a:cubicBezTo>
                  <a:cubicBezTo>
                    <a:pt x="295809" y="58171"/>
                    <a:pt x="295464" y="58632"/>
                    <a:pt x="295233" y="59093"/>
                  </a:cubicBezTo>
                  <a:cubicBezTo>
                    <a:pt x="294888" y="59554"/>
                    <a:pt x="294658" y="59899"/>
                    <a:pt x="294312" y="60245"/>
                  </a:cubicBezTo>
                  <a:cubicBezTo>
                    <a:pt x="294082" y="60590"/>
                    <a:pt x="293736" y="60936"/>
                    <a:pt x="293506" y="61281"/>
                  </a:cubicBezTo>
                  <a:cubicBezTo>
                    <a:pt x="293275" y="61512"/>
                    <a:pt x="292930" y="61742"/>
                    <a:pt x="292699" y="61973"/>
                  </a:cubicBezTo>
                  <a:lnTo>
                    <a:pt x="292354" y="62203"/>
                  </a:lnTo>
                  <a:cubicBezTo>
                    <a:pt x="291893" y="61512"/>
                    <a:pt x="291202" y="60590"/>
                    <a:pt x="290395" y="59438"/>
                  </a:cubicBezTo>
                  <a:cubicBezTo>
                    <a:pt x="289589" y="58171"/>
                    <a:pt x="288668" y="56789"/>
                    <a:pt x="287746" y="55291"/>
                  </a:cubicBezTo>
                  <a:cubicBezTo>
                    <a:pt x="286825" y="53794"/>
                    <a:pt x="285788" y="52066"/>
                    <a:pt x="284751" y="50338"/>
                  </a:cubicBezTo>
                  <a:cubicBezTo>
                    <a:pt x="283714" y="48610"/>
                    <a:pt x="282793" y="46767"/>
                    <a:pt x="281756" y="45040"/>
                  </a:cubicBezTo>
                  <a:cubicBezTo>
                    <a:pt x="281180" y="43888"/>
                    <a:pt x="280489" y="42736"/>
                    <a:pt x="279798" y="41584"/>
                  </a:cubicBezTo>
                  <a:cubicBezTo>
                    <a:pt x="279107" y="40432"/>
                    <a:pt x="278531" y="39280"/>
                    <a:pt x="277840" y="38243"/>
                  </a:cubicBezTo>
                  <a:cubicBezTo>
                    <a:pt x="277149" y="37091"/>
                    <a:pt x="276457" y="36055"/>
                    <a:pt x="275881" y="34903"/>
                  </a:cubicBezTo>
                  <a:cubicBezTo>
                    <a:pt x="275190" y="33866"/>
                    <a:pt x="274499" y="32714"/>
                    <a:pt x="273808" y="31677"/>
                  </a:cubicBezTo>
                  <a:cubicBezTo>
                    <a:pt x="273117" y="30756"/>
                    <a:pt x="272426" y="29604"/>
                    <a:pt x="271619" y="28682"/>
                  </a:cubicBezTo>
                  <a:cubicBezTo>
                    <a:pt x="270813" y="27646"/>
                    <a:pt x="270007" y="26609"/>
                    <a:pt x="269085" y="25688"/>
                  </a:cubicBezTo>
                  <a:cubicBezTo>
                    <a:pt x="268164" y="24651"/>
                    <a:pt x="267127" y="23729"/>
                    <a:pt x="266090" y="22923"/>
                  </a:cubicBezTo>
                  <a:cubicBezTo>
                    <a:pt x="264938" y="22001"/>
                    <a:pt x="263671" y="21195"/>
                    <a:pt x="262174" y="20504"/>
                  </a:cubicBezTo>
                  <a:lnTo>
                    <a:pt x="261137" y="20158"/>
                  </a:lnTo>
                  <a:cubicBezTo>
                    <a:pt x="259640" y="19698"/>
                    <a:pt x="258488" y="19582"/>
                    <a:pt x="257451" y="19698"/>
                  </a:cubicBezTo>
                  <a:cubicBezTo>
                    <a:pt x="256529" y="19813"/>
                    <a:pt x="255723" y="20158"/>
                    <a:pt x="255032" y="20619"/>
                  </a:cubicBezTo>
                  <a:cubicBezTo>
                    <a:pt x="254341" y="21080"/>
                    <a:pt x="253765" y="21656"/>
                    <a:pt x="253304" y="22347"/>
                  </a:cubicBezTo>
                  <a:cubicBezTo>
                    <a:pt x="252843" y="23038"/>
                    <a:pt x="252383" y="23614"/>
                    <a:pt x="251922" y="24305"/>
                  </a:cubicBezTo>
                  <a:cubicBezTo>
                    <a:pt x="251346" y="25342"/>
                    <a:pt x="250885" y="26609"/>
                    <a:pt x="250309" y="27876"/>
                  </a:cubicBezTo>
                  <a:cubicBezTo>
                    <a:pt x="249848" y="29143"/>
                    <a:pt x="249388" y="30526"/>
                    <a:pt x="248927" y="31908"/>
                  </a:cubicBezTo>
                  <a:cubicBezTo>
                    <a:pt x="248466" y="33290"/>
                    <a:pt x="248121" y="34672"/>
                    <a:pt x="247660" y="35939"/>
                  </a:cubicBezTo>
                  <a:cubicBezTo>
                    <a:pt x="247199" y="37322"/>
                    <a:pt x="246853" y="38589"/>
                    <a:pt x="246393" y="39856"/>
                  </a:cubicBezTo>
                  <a:cubicBezTo>
                    <a:pt x="246162" y="40432"/>
                    <a:pt x="245932" y="41008"/>
                    <a:pt x="245702" y="41584"/>
                  </a:cubicBezTo>
                  <a:cubicBezTo>
                    <a:pt x="245471" y="42160"/>
                    <a:pt x="245241" y="42621"/>
                    <a:pt x="245126" y="43081"/>
                  </a:cubicBezTo>
                  <a:cubicBezTo>
                    <a:pt x="244895" y="43542"/>
                    <a:pt x="244665" y="44003"/>
                    <a:pt x="244434" y="44348"/>
                  </a:cubicBezTo>
                  <a:cubicBezTo>
                    <a:pt x="244204" y="44694"/>
                    <a:pt x="243974" y="45040"/>
                    <a:pt x="243858" y="45270"/>
                  </a:cubicBezTo>
                  <a:lnTo>
                    <a:pt x="243513" y="45615"/>
                  </a:lnTo>
                  <a:cubicBezTo>
                    <a:pt x="242937" y="44924"/>
                    <a:pt x="242131" y="44003"/>
                    <a:pt x="241209" y="42851"/>
                  </a:cubicBezTo>
                  <a:cubicBezTo>
                    <a:pt x="240288" y="41699"/>
                    <a:pt x="239251" y="40317"/>
                    <a:pt x="238099" y="38819"/>
                  </a:cubicBezTo>
                  <a:cubicBezTo>
                    <a:pt x="236947" y="37322"/>
                    <a:pt x="235795" y="35709"/>
                    <a:pt x="234528" y="33981"/>
                  </a:cubicBezTo>
                  <a:cubicBezTo>
                    <a:pt x="233376" y="32253"/>
                    <a:pt x="232109" y="30526"/>
                    <a:pt x="230957" y="28798"/>
                  </a:cubicBezTo>
                  <a:cubicBezTo>
                    <a:pt x="229344" y="26609"/>
                    <a:pt x="227847" y="24536"/>
                    <a:pt x="226350" y="22347"/>
                  </a:cubicBezTo>
                  <a:cubicBezTo>
                    <a:pt x="224852" y="20274"/>
                    <a:pt x="223355" y="18200"/>
                    <a:pt x="221742" y="16242"/>
                  </a:cubicBezTo>
                  <a:cubicBezTo>
                    <a:pt x="220244" y="14284"/>
                    <a:pt x="218517" y="12441"/>
                    <a:pt x="216558" y="10713"/>
                  </a:cubicBezTo>
                  <a:cubicBezTo>
                    <a:pt x="214600" y="8985"/>
                    <a:pt x="212527" y="7487"/>
                    <a:pt x="210108" y="6105"/>
                  </a:cubicBezTo>
                  <a:lnTo>
                    <a:pt x="207689" y="5414"/>
                  </a:lnTo>
                  <a:cubicBezTo>
                    <a:pt x="206191" y="5299"/>
                    <a:pt x="205039" y="5414"/>
                    <a:pt x="204003" y="5644"/>
                  </a:cubicBezTo>
                  <a:cubicBezTo>
                    <a:pt x="203081" y="5990"/>
                    <a:pt x="202390" y="6566"/>
                    <a:pt x="201814" y="7142"/>
                  </a:cubicBezTo>
                  <a:cubicBezTo>
                    <a:pt x="201238" y="7833"/>
                    <a:pt x="200777" y="8639"/>
                    <a:pt x="200547" y="9446"/>
                  </a:cubicBezTo>
                  <a:cubicBezTo>
                    <a:pt x="200201" y="10252"/>
                    <a:pt x="199971" y="11058"/>
                    <a:pt x="199740" y="11865"/>
                  </a:cubicBezTo>
                  <a:cubicBezTo>
                    <a:pt x="199395" y="13132"/>
                    <a:pt x="199049" y="14629"/>
                    <a:pt x="198819" y="16127"/>
                  </a:cubicBezTo>
                  <a:cubicBezTo>
                    <a:pt x="198589" y="17624"/>
                    <a:pt x="198358" y="19237"/>
                    <a:pt x="198128" y="20734"/>
                  </a:cubicBezTo>
                  <a:cubicBezTo>
                    <a:pt x="197897" y="22347"/>
                    <a:pt x="197782" y="23960"/>
                    <a:pt x="197667" y="25457"/>
                  </a:cubicBezTo>
                  <a:cubicBezTo>
                    <a:pt x="197552" y="26955"/>
                    <a:pt x="197321" y="28567"/>
                    <a:pt x="197206" y="29950"/>
                  </a:cubicBezTo>
                  <a:cubicBezTo>
                    <a:pt x="197206" y="30641"/>
                    <a:pt x="196976" y="31332"/>
                    <a:pt x="196861" y="31908"/>
                  </a:cubicBezTo>
                  <a:cubicBezTo>
                    <a:pt x="196746" y="32599"/>
                    <a:pt x="196630" y="33175"/>
                    <a:pt x="196515" y="33751"/>
                  </a:cubicBezTo>
                  <a:cubicBezTo>
                    <a:pt x="196515" y="34327"/>
                    <a:pt x="196285" y="34788"/>
                    <a:pt x="196170" y="35248"/>
                  </a:cubicBezTo>
                  <a:cubicBezTo>
                    <a:pt x="196054" y="35709"/>
                    <a:pt x="195939" y="36055"/>
                    <a:pt x="195824" y="36400"/>
                  </a:cubicBezTo>
                  <a:lnTo>
                    <a:pt x="195594" y="36861"/>
                  </a:lnTo>
                  <a:cubicBezTo>
                    <a:pt x="194787" y="36170"/>
                    <a:pt x="193751" y="35248"/>
                    <a:pt x="192599" y="34096"/>
                  </a:cubicBezTo>
                  <a:cubicBezTo>
                    <a:pt x="191447" y="32945"/>
                    <a:pt x="190064" y="31447"/>
                    <a:pt x="188797" y="29950"/>
                  </a:cubicBezTo>
                  <a:cubicBezTo>
                    <a:pt x="187415" y="28337"/>
                    <a:pt x="185802" y="26724"/>
                    <a:pt x="184420" y="24881"/>
                  </a:cubicBezTo>
                  <a:cubicBezTo>
                    <a:pt x="182923" y="23153"/>
                    <a:pt x="181310" y="21310"/>
                    <a:pt x="179812" y="19582"/>
                  </a:cubicBezTo>
                  <a:cubicBezTo>
                    <a:pt x="178200" y="17739"/>
                    <a:pt x="176587" y="15896"/>
                    <a:pt x="175090" y="14168"/>
                  </a:cubicBezTo>
                  <a:cubicBezTo>
                    <a:pt x="173592" y="12441"/>
                    <a:pt x="171980" y="10713"/>
                    <a:pt x="170482" y="9100"/>
                  </a:cubicBezTo>
                  <a:cubicBezTo>
                    <a:pt x="168869" y="7487"/>
                    <a:pt x="167257" y="5990"/>
                    <a:pt x="165414" y="4608"/>
                  </a:cubicBezTo>
                  <a:cubicBezTo>
                    <a:pt x="163571" y="3225"/>
                    <a:pt x="161728" y="1958"/>
                    <a:pt x="159539" y="922"/>
                  </a:cubicBezTo>
                  <a:cubicBezTo>
                    <a:pt x="159193" y="922"/>
                    <a:pt x="158848" y="691"/>
                    <a:pt x="158502" y="576"/>
                  </a:cubicBezTo>
                  <a:cubicBezTo>
                    <a:pt x="158157" y="576"/>
                    <a:pt x="157811" y="346"/>
                    <a:pt x="157465" y="230"/>
                  </a:cubicBezTo>
                  <a:cubicBezTo>
                    <a:pt x="157120" y="230"/>
                    <a:pt x="156774" y="115"/>
                    <a:pt x="156429" y="0"/>
                  </a:cubicBezTo>
                  <a:cubicBezTo>
                    <a:pt x="156083" y="0"/>
                    <a:pt x="155738" y="0"/>
                    <a:pt x="155392" y="0"/>
                  </a:cubicBezTo>
                  <a:cubicBezTo>
                    <a:pt x="154010" y="115"/>
                    <a:pt x="152858" y="576"/>
                    <a:pt x="152052" y="1152"/>
                  </a:cubicBezTo>
                  <a:cubicBezTo>
                    <a:pt x="151245" y="1728"/>
                    <a:pt x="150669" y="2419"/>
                    <a:pt x="150209" y="3341"/>
                  </a:cubicBezTo>
                  <a:cubicBezTo>
                    <a:pt x="149748" y="4147"/>
                    <a:pt x="149517" y="5184"/>
                    <a:pt x="149287" y="6105"/>
                  </a:cubicBezTo>
                  <a:cubicBezTo>
                    <a:pt x="149057" y="7142"/>
                    <a:pt x="148941" y="8063"/>
                    <a:pt x="148826" y="8985"/>
                  </a:cubicBezTo>
                  <a:cubicBezTo>
                    <a:pt x="148711" y="10482"/>
                    <a:pt x="148711" y="12095"/>
                    <a:pt x="148826" y="13823"/>
                  </a:cubicBezTo>
                  <a:cubicBezTo>
                    <a:pt x="148826" y="15551"/>
                    <a:pt x="148941" y="17279"/>
                    <a:pt x="149057" y="19006"/>
                  </a:cubicBezTo>
                  <a:cubicBezTo>
                    <a:pt x="149057" y="20734"/>
                    <a:pt x="149287" y="22577"/>
                    <a:pt x="149402" y="24305"/>
                  </a:cubicBezTo>
                  <a:cubicBezTo>
                    <a:pt x="149517" y="26033"/>
                    <a:pt x="149633" y="27761"/>
                    <a:pt x="149633" y="29374"/>
                  </a:cubicBezTo>
                  <a:cubicBezTo>
                    <a:pt x="149633" y="30180"/>
                    <a:pt x="149633" y="30986"/>
                    <a:pt x="149633" y="31677"/>
                  </a:cubicBezTo>
                  <a:cubicBezTo>
                    <a:pt x="149633" y="32484"/>
                    <a:pt x="149633" y="33175"/>
                    <a:pt x="149633" y="33751"/>
                  </a:cubicBezTo>
                  <a:cubicBezTo>
                    <a:pt x="149633" y="34442"/>
                    <a:pt x="149633" y="35018"/>
                    <a:pt x="149517" y="35479"/>
                  </a:cubicBezTo>
                  <a:cubicBezTo>
                    <a:pt x="149517" y="36055"/>
                    <a:pt x="149517" y="36400"/>
                    <a:pt x="149402" y="36861"/>
                  </a:cubicBezTo>
                  <a:lnTo>
                    <a:pt x="149402" y="37437"/>
                  </a:lnTo>
                  <a:cubicBezTo>
                    <a:pt x="148596" y="36976"/>
                    <a:pt x="147790" y="36170"/>
                    <a:pt x="146638" y="35364"/>
                  </a:cubicBezTo>
                  <a:cubicBezTo>
                    <a:pt x="145601" y="34442"/>
                    <a:pt x="144334" y="33405"/>
                    <a:pt x="143067" y="32253"/>
                  </a:cubicBezTo>
                  <a:cubicBezTo>
                    <a:pt x="141684" y="31101"/>
                    <a:pt x="140302" y="29834"/>
                    <a:pt x="138920" y="28567"/>
                  </a:cubicBezTo>
                  <a:cubicBezTo>
                    <a:pt x="137538" y="27185"/>
                    <a:pt x="136040" y="25803"/>
                    <a:pt x="134543" y="24420"/>
                  </a:cubicBezTo>
                  <a:cubicBezTo>
                    <a:pt x="132584" y="22577"/>
                    <a:pt x="130626" y="20734"/>
                    <a:pt x="128783" y="19006"/>
                  </a:cubicBezTo>
                  <a:cubicBezTo>
                    <a:pt x="126825" y="17279"/>
                    <a:pt x="124982" y="15551"/>
                    <a:pt x="123024" y="13823"/>
                  </a:cubicBezTo>
                  <a:cubicBezTo>
                    <a:pt x="121180" y="12210"/>
                    <a:pt x="119222" y="10598"/>
                    <a:pt x="117264" y="9330"/>
                  </a:cubicBezTo>
                  <a:cubicBezTo>
                    <a:pt x="115306" y="7948"/>
                    <a:pt x="113232" y="6796"/>
                    <a:pt x="111159" y="5760"/>
                  </a:cubicBezTo>
                  <a:cubicBezTo>
                    <a:pt x="110698" y="5529"/>
                    <a:pt x="110237" y="5414"/>
                    <a:pt x="109661" y="5184"/>
                  </a:cubicBezTo>
                  <a:cubicBezTo>
                    <a:pt x="109201" y="5068"/>
                    <a:pt x="108625" y="4838"/>
                    <a:pt x="108164" y="4838"/>
                  </a:cubicBezTo>
                  <a:cubicBezTo>
                    <a:pt x="107703" y="4838"/>
                    <a:pt x="107127" y="4723"/>
                    <a:pt x="106666" y="4723"/>
                  </a:cubicBezTo>
                  <a:cubicBezTo>
                    <a:pt x="106206" y="4723"/>
                    <a:pt x="105630" y="4723"/>
                    <a:pt x="105169" y="4953"/>
                  </a:cubicBezTo>
                  <a:lnTo>
                    <a:pt x="113463" y="18430"/>
                  </a:lnTo>
                  <a:lnTo>
                    <a:pt x="112080" y="16357"/>
                  </a:lnTo>
                  <a:lnTo>
                    <a:pt x="112080" y="18430"/>
                  </a:lnTo>
                  <a:cubicBezTo>
                    <a:pt x="112080" y="18430"/>
                    <a:pt x="112541" y="18546"/>
                    <a:pt x="112541" y="18546"/>
                  </a:cubicBezTo>
                  <a:cubicBezTo>
                    <a:pt x="112887" y="18661"/>
                    <a:pt x="113693" y="19237"/>
                    <a:pt x="114730" y="20043"/>
                  </a:cubicBezTo>
                  <a:cubicBezTo>
                    <a:pt x="115766" y="20850"/>
                    <a:pt x="117034" y="21886"/>
                    <a:pt x="118416" y="23153"/>
                  </a:cubicBezTo>
                  <a:cubicBezTo>
                    <a:pt x="119913" y="24420"/>
                    <a:pt x="121526" y="25918"/>
                    <a:pt x="123139" y="27415"/>
                  </a:cubicBezTo>
                  <a:cubicBezTo>
                    <a:pt x="124867" y="28913"/>
                    <a:pt x="126594" y="30641"/>
                    <a:pt x="128207" y="32253"/>
                  </a:cubicBezTo>
                  <a:cubicBezTo>
                    <a:pt x="130165" y="34096"/>
                    <a:pt x="132124" y="35824"/>
                    <a:pt x="133967" y="37667"/>
                  </a:cubicBezTo>
                  <a:cubicBezTo>
                    <a:pt x="135925" y="39395"/>
                    <a:pt x="137768" y="41123"/>
                    <a:pt x="139611" y="42851"/>
                  </a:cubicBezTo>
                  <a:cubicBezTo>
                    <a:pt x="141454" y="44464"/>
                    <a:pt x="143412" y="46076"/>
                    <a:pt x="145371" y="47343"/>
                  </a:cubicBezTo>
                  <a:cubicBezTo>
                    <a:pt x="147329" y="48726"/>
                    <a:pt x="149287" y="49878"/>
                    <a:pt x="151476" y="50799"/>
                  </a:cubicBezTo>
                  <a:cubicBezTo>
                    <a:pt x="151936" y="50914"/>
                    <a:pt x="152282" y="51145"/>
                    <a:pt x="152743" y="51260"/>
                  </a:cubicBezTo>
                  <a:cubicBezTo>
                    <a:pt x="153203" y="51375"/>
                    <a:pt x="153664" y="51490"/>
                    <a:pt x="154010" y="51605"/>
                  </a:cubicBezTo>
                  <a:cubicBezTo>
                    <a:pt x="154471" y="51605"/>
                    <a:pt x="154931" y="51721"/>
                    <a:pt x="155277" y="51721"/>
                  </a:cubicBezTo>
                  <a:cubicBezTo>
                    <a:pt x="155738" y="51721"/>
                    <a:pt x="156083" y="51721"/>
                    <a:pt x="156429" y="51721"/>
                  </a:cubicBezTo>
                  <a:cubicBezTo>
                    <a:pt x="157811" y="51375"/>
                    <a:pt x="158963" y="50914"/>
                    <a:pt x="159654" y="50338"/>
                  </a:cubicBezTo>
                  <a:cubicBezTo>
                    <a:pt x="160460" y="49647"/>
                    <a:pt x="160921" y="48841"/>
                    <a:pt x="161267" y="47919"/>
                  </a:cubicBezTo>
                  <a:cubicBezTo>
                    <a:pt x="161612" y="46998"/>
                    <a:pt x="161843" y="46076"/>
                    <a:pt x="161958" y="45040"/>
                  </a:cubicBezTo>
                  <a:cubicBezTo>
                    <a:pt x="162073" y="44118"/>
                    <a:pt x="162188" y="42966"/>
                    <a:pt x="162303" y="42045"/>
                  </a:cubicBezTo>
                  <a:cubicBezTo>
                    <a:pt x="162303" y="40432"/>
                    <a:pt x="162303" y="38819"/>
                    <a:pt x="162303" y="37091"/>
                  </a:cubicBezTo>
                  <a:cubicBezTo>
                    <a:pt x="162303" y="35364"/>
                    <a:pt x="162188" y="33520"/>
                    <a:pt x="162073" y="31793"/>
                  </a:cubicBezTo>
                  <a:cubicBezTo>
                    <a:pt x="161958" y="30065"/>
                    <a:pt x="161843" y="28222"/>
                    <a:pt x="161728" y="26494"/>
                  </a:cubicBezTo>
                  <a:cubicBezTo>
                    <a:pt x="161728" y="24766"/>
                    <a:pt x="161497" y="23153"/>
                    <a:pt x="161497" y="21541"/>
                  </a:cubicBezTo>
                  <a:cubicBezTo>
                    <a:pt x="161497" y="20734"/>
                    <a:pt x="161497" y="20043"/>
                    <a:pt x="161497" y="19352"/>
                  </a:cubicBezTo>
                  <a:cubicBezTo>
                    <a:pt x="161497" y="18661"/>
                    <a:pt x="161497" y="17970"/>
                    <a:pt x="161497" y="17394"/>
                  </a:cubicBezTo>
                  <a:cubicBezTo>
                    <a:pt x="161497" y="16703"/>
                    <a:pt x="161497" y="16242"/>
                    <a:pt x="161612" y="15781"/>
                  </a:cubicBezTo>
                  <a:cubicBezTo>
                    <a:pt x="161612" y="15320"/>
                    <a:pt x="161728" y="14860"/>
                    <a:pt x="161843" y="14514"/>
                  </a:cubicBezTo>
                  <a:cubicBezTo>
                    <a:pt x="162649" y="15320"/>
                    <a:pt x="163686" y="16242"/>
                    <a:pt x="164838" y="17509"/>
                  </a:cubicBezTo>
                  <a:cubicBezTo>
                    <a:pt x="165990" y="18661"/>
                    <a:pt x="167257" y="20158"/>
                    <a:pt x="168524" y="21656"/>
                  </a:cubicBezTo>
                  <a:cubicBezTo>
                    <a:pt x="169906" y="23153"/>
                    <a:pt x="171288" y="24766"/>
                    <a:pt x="172786" y="26494"/>
                  </a:cubicBezTo>
                  <a:cubicBezTo>
                    <a:pt x="174168" y="28222"/>
                    <a:pt x="175781" y="29950"/>
                    <a:pt x="177163" y="31677"/>
                  </a:cubicBezTo>
                  <a:cubicBezTo>
                    <a:pt x="178891" y="33520"/>
                    <a:pt x="180388" y="35364"/>
                    <a:pt x="182001" y="37091"/>
                  </a:cubicBezTo>
                  <a:cubicBezTo>
                    <a:pt x="183614" y="38819"/>
                    <a:pt x="185111" y="40547"/>
                    <a:pt x="186724" y="42160"/>
                  </a:cubicBezTo>
                  <a:cubicBezTo>
                    <a:pt x="188337" y="43772"/>
                    <a:pt x="189949" y="45270"/>
                    <a:pt x="191792" y="46652"/>
                  </a:cubicBezTo>
                  <a:cubicBezTo>
                    <a:pt x="193635" y="48034"/>
                    <a:pt x="195478" y="49186"/>
                    <a:pt x="197552" y="50223"/>
                  </a:cubicBezTo>
                  <a:lnTo>
                    <a:pt x="200547" y="51029"/>
                  </a:lnTo>
                  <a:cubicBezTo>
                    <a:pt x="202159" y="51029"/>
                    <a:pt x="203311" y="50799"/>
                    <a:pt x="204233" y="50338"/>
                  </a:cubicBezTo>
                  <a:cubicBezTo>
                    <a:pt x="205154" y="49878"/>
                    <a:pt x="205846" y="49302"/>
                    <a:pt x="206421" y="48610"/>
                  </a:cubicBezTo>
                  <a:cubicBezTo>
                    <a:pt x="206882" y="47919"/>
                    <a:pt x="207343" y="47113"/>
                    <a:pt x="207689" y="46191"/>
                  </a:cubicBezTo>
                  <a:cubicBezTo>
                    <a:pt x="208034" y="45270"/>
                    <a:pt x="208265" y="44464"/>
                    <a:pt x="208495" y="43542"/>
                  </a:cubicBezTo>
                  <a:cubicBezTo>
                    <a:pt x="208840" y="42160"/>
                    <a:pt x="209071" y="40662"/>
                    <a:pt x="209301" y="39165"/>
                  </a:cubicBezTo>
                  <a:cubicBezTo>
                    <a:pt x="209532" y="37552"/>
                    <a:pt x="209762" y="36055"/>
                    <a:pt x="209877" y="34442"/>
                  </a:cubicBezTo>
                  <a:cubicBezTo>
                    <a:pt x="210108" y="32829"/>
                    <a:pt x="210223" y="31332"/>
                    <a:pt x="210338" y="29719"/>
                  </a:cubicBezTo>
                  <a:cubicBezTo>
                    <a:pt x="210453" y="28222"/>
                    <a:pt x="210684" y="26724"/>
                    <a:pt x="210799" y="25342"/>
                  </a:cubicBezTo>
                  <a:cubicBezTo>
                    <a:pt x="210799" y="24651"/>
                    <a:pt x="211029" y="24075"/>
                    <a:pt x="211144" y="23384"/>
                  </a:cubicBezTo>
                  <a:cubicBezTo>
                    <a:pt x="211259" y="22808"/>
                    <a:pt x="211375" y="22232"/>
                    <a:pt x="211490" y="21656"/>
                  </a:cubicBezTo>
                  <a:cubicBezTo>
                    <a:pt x="211490" y="21080"/>
                    <a:pt x="211720" y="20619"/>
                    <a:pt x="211835" y="20158"/>
                  </a:cubicBezTo>
                  <a:cubicBezTo>
                    <a:pt x="211951" y="19698"/>
                    <a:pt x="212066" y="19352"/>
                    <a:pt x="212181" y="19006"/>
                  </a:cubicBezTo>
                  <a:cubicBezTo>
                    <a:pt x="212872" y="19813"/>
                    <a:pt x="213678" y="20734"/>
                    <a:pt x="214485" y="21886"/>
                  </a:cubicBezTo>
                  <a:cubicBezTo>
                    <a:pt x="215406" y="23038"/>
                    <a:pt x="216443" y="24420"/>
                    <a:pt x="217480" y="25803"/>
                  </a:cubicBezTo>
                  <a:cubicBezTo>
                    <a:pt x="218517" y="27300"/>
                    <a:pt x="219668" y="28798"/>
                    <a:pt x="220820" y="30410"/>
                  </a:cubicBezTo>
                  <a:cubicBezTo>
                    <a:pt x="221972" y="32023"/>
                    <a:pt x="223124" y="33636"/>
                    <a:pt x="224161" y="35248"/>
                  </a:cubicBezTo>
                  <a:cubicBezTo>
                    <a:pt x="225774" y="37437"/>
                    <a:pt x="227386" y="39626"/>
                    <a:pt x="228884" y="41814"/>
                  </a:cubicBezTo>
                  <a:cubicBezTo>
                    <a:pt x="230381" y="43888"/>
                    <a:pt x="231879" y="45961"/>
                    <a:pt x="233491" y="47919"/>
                  </a:cubicBezTo>
                  <a:cubicBezTo>
                    <a:pt x="235104" y="49878"/>
                    <a:pt x="236717" y="51721"/>
                    <a:pt x="238675" y="53448"/>
                  </a:cubicBezTo>
                  <a:cubicBezTo>
                    <a:pt x="240633" y="55061"/>
                    <a:pt x="242707" y="56674"/>
                    <a:pt x="245241" y="57941"/>
                  </a:cubicBezTo>
                  <a:lnTo>
                    <a:pt x="246393" y="58402"/>
                  </a:lnTo>
                  <a:cubicBezTo>
                    <a:pt x="248005" y="58747"/>
                    <a:pt x="249272" y="58747"/>
                    <a:pt x="250309" y="58517"/>
                  </a:cubicBezTo>
                  <a:cubicBezTo>
                    <a:pt x="251461" y="58286"/>
                    <a:pt x="252267" y="57941"/>
                    <a:pt x="252958" y="57365"/>
                  </a:cubicBezTo>
                  <a:cubicBezTo>
                    <a:pt x="253650" y="56904"/>
                    <a:pt x="254226" y="56213"/>
                    <a:pt x="254686" y="55522"/>
                  </a:cubicBezTo>
                  <a:cubicBezTo>
                    <a:pt x="255147" y="54831"/>
                    <a:pt x="255493" y="54024"/>
                    <a:pt x="255953" y="53333"/>
                  </a:cubicBezTo>
                  <a:cubicBezTo>
                    <a:pt x="256529" y="52181"/>
                    <a:pt x="257105" y="50914"/>
                    <a:pt x="257566" y="49647"/>
                  </a:cubicBezTo>
                  <a:cubicBezTo>
                    <a:pt x="258027" y="48380"/>
                    <a:pt x="258488" y="46998"/>
                    <a:pt x="258948" y="45615"/>
                  </a:cubicBezTo>
                  <a:cubicBezTo>
                    <a:pt x="259409" y="44233"/>
                    <a:pt x="259755" y="42851"/>
                    <a:pt x="260215" y="41469"/>
                  </a:cubicBezTo>
                  <a:cubicBezTo>
                    <a:pt x="260561" y="40202"/>
                    <a:pt x="261022" y="38819"/>
                    <a:pt x="261367" y="37667"/>
                  </a:cubicBezTo>
                  <a:cubicBezTo>
                    <a:pt x="261598" y="37091"/>
                    <a:pt x="261828" y="36515"/>
                    <a:pt x="262059" y="36055"/>
                  </a:cubicBezTo>
                  <a:cubicBezTo>
                    <a:pt x="262289" y="35594"/>
                    <a:pt x="262519" y="35133"/>
                    <a:pt x="262634" y="34672"/>
                  </a:cubicBezTo>
                  <a:cubicBezTo>
                    <a:pt x="262865" y="34212"/>
                    <a:pt x="262980" y="33866"/>
                    <a:pt x="263210" y="33520"/>
                  </a:cubicBezTo>
                  <a:cubicBezTo>
                    <a:pt x="263441" y="33175"/>
                    <a:pt x="263671" y="32945"/>
                    <a:pt x="263902" y="32714"/>
                  </a:cubicBezTo>
                  <a:cubicBezTo>
                    <a:pt x="264017" y="32945"/>
                    <a:pt x="264247" y="33175"/>
                    <a:pt x="264478" y="33520"/>
                  </a:cubicBezTo>
                  <a:cubicBezTo>
                    <a:pt x="264708" y="33751"/>
                    <a:pt x="264823" y="34096"/>
                    <a:pt x="265169" y="34442"/>
                  </a:cubicBezTo>
                  <a:cubicBezTo>
                    <a:pt x="265399" y="34788"/>
                    <a:pt x="265629" y="35133"/>
                    <a:pt x="265975" y="35594"/>
                  </a:cubicBezTo>
                  <a:cubicBezTo>
                    <a:pt x="266205" y="36055"/>
                    <a:pt x="266436" y="36400"/>
                    <a:pt x="266781" y="36861"/>
                  </a:cubicBezTo>
                  <a:cubicBezTo>
                    <a:pt x="267588" y="38243"/>
                    <a:pt x="268509" y="39626"/>
                    <a:pt x="269316" y="41238"/>
                  </a:cubicBezTo>
                  <a:cubicBezTo>
                    <a:pt x="270237" y="42851"/>
                    <a:pt x="271159" y="44464"/>
                    <a:pt x="272080" y="46076"/>
                  </a:cubicBezTo>
                  <a:cubicBezTo>
                    <a:pt x="273002" y="47804"/>
                    <a:pt x="274038" y="49532"/>
                    <a:pt x="274960" y="51260"/>
                  </a:cubicBezTo>
                  <a:cubicBezTo>
                    <a:pt x="275997" y="52988"/>
                    <a:pt x="276918" y="54716"/>
                    <a:pt x="277955" y="56443"/>
                  </a:cubicBezTo>
                  <a:cubicBezTo>
                    <a:pt x="278992" y="58171"/>
                    <a:pt x="280028" y="59784"/>
                    <a:pt x="281065" y="61397"/>
                  </a:cubicBezTo>
                  <a:cubicBezTo>
                    <a:pt x="282102" y="63009"/>
                    <a:pt x="283138" y="64622"/>
                    <a:pt x="284290" y="66119"/>
                  </a:cubicBezTo>
                  <a:cubicBezTo>
                    <a:pt x="285442" y="67617"/>
                    <a:pt x="286709" y="69114"/>
                    <a:pt x="288322" y="70497"/>
                  </a:cubicBezTo>
                  <a:cubicBezTo>
                    <a:pt x="289819" y="71879"/>
                    <a:pt x="291663" y="73146"/>
                    <a:pt x="293736" y="74183"/>
                  </a:cubicBezTo>
                  <a:cubicBezTo>
                    <a:pt x="295349" y="74759"/>
                    <a:pt x="296501" y="74989"/>
                    <a:pt x="297652" y="74989"/>
                  </a:cubicBezTo>
                  <a:cubicBezTo>
                    <a:pt x="298689" y="74989"/>
                    <a:pt x="299611" y="74759"/>
                    <a:pt x="300417" y="74413"/>
                  </a:cubicBezTo>
                  <a:cubicBezTo>
                    <a:pt x="301108" y="74068"/>
                    <a:pt x="301799" y="73607"/>
                    <a:pt x="302375" y="73031"/>
                  </a:cubicBezTo>
                  <a:cubicBezTo>
                    <a:pt x="302951" y="72455"/>
                    <a:pt x="303527" y="71879"/>
                    <a:pt x="303988" y="71418"/>
                  </a:cubicBezTo>
                  <a:cubicBezTo>
                    <a:pt x="304794" y="70612"/>
                    <a:pt x="305601" y="69575"/>
                    <a:pt x="306292" y="68538"/>
                  </a:cubicBezTo>
                  <a:cubicBezTo>
                    <a:pt x="306983" y="67502"/>
                    <a:pt x="307674" y="66350"/>
                    <a:pt x="308365" y="65313"/>
                  </a:cubicBezTo>
                  <a:cubicBezTo>
                    <a:pt x="309056" y="64161"/>
                    <a:pt x="309632" y="63009"/>
                    <a:pt x="310323" y="61973"/>
                  </a:cubicBezTo>
                  <a:cubicBezTo>
                    <a:pt x="310899" y="60936"/>
                    <a:pt x="311590" y="59784"/>
                    <a:pt x="312166" y="58862"/>
                  </a:cubicBezTo>
                  <a:cubicBezTo>
                    <a:pt x="312397" y="58402"/>
                    <a:pt x="312742" y="57941"/>
                    <a:pt x="313088" y="57480"/>
                  </a:cubicBezTo>
                  <a:cubicBezTo>
                    <a:pt x="313434" y="57019"/>
                    <a:pt x="313664" y="56674"/>
                    <a:pt x="313894" y="56328"/>
                  </a:cubicBezTo>
                  <a:cubicBezTo>
                    <a:pt x="314240" y="55983"/>
                    <a:pt x="314470" y="55637"/>
                    <a:pt x="314701" y="55291"/>
                  </a:cubicBezTo>
                  <a:cubicBezTo>
                    <a:pt x="315046" y="54946"/>
                    <a:pt x="315277" y="54716"/>
                    <a:pt x="315507" y="54600"/>
                  </a:cubicBezTo>
                  <a:lnTo>
                    <a:pt x="315622" y="54600"/>
                  </a:lnTo>
                  <a:cubicBezTo>
                    <a:pt x="316198" y="55637"/>
                    <a:pt x="316889" y="56789"/>
                    <a:pt x="317580" y="58286"/>
                  </a:cubicBezTo>
                  <a:cubicBezTo>
                    <a:pt x="318272" y="59669"/>
                    <a:pt x="319078" y="61397"/>
                    <a:pt x="319884" y="63124"/>
                  </a:cubicBezTo>
                  <a:cubicBezTo>
                    <a:pt x="320691" y="64852"/>
                    <a:pt x="321497" y="66811"/>
                    <a:pt x="322418" y="68769"/>
                  </a:cubicBezTo>
                  <a:cubicBezTo>
                    <a:pt x="323225" y="70727"/>
                    <a:pt x="324146" y="72685"/>
                    <a:pt x="324953" y="74644"/>
                  </a:cubicBezTo>
                  <a:cubicBezTo>
                    <a:pt x="325989" y="76717"/>
                    <a:pt x="326796" y="78675"/>
                    <a:pt x="327717" y="80633"/>
                  </a:cubicBezTo>
                  <a:cubicBezTo>
                    <a:pt x="328639" y="82592"/>
                    <a:pt x="329445" y="84550"/>
                    <a:pt x="330597" y="86393"/>
                  </a:cubicBezTo>
                  <a:cubicBezTo>
                    <a:pt x="331634" y="88236"/>
                    <a:pt x="332901" y="90079"/>
                    <a:pt x="334398" y="91922"/>
                  </a:cubicBezTo>
                  <a:cubicBezTo>
                    <a:pt x="336011" y="93650"/>
                    <a:pt x="337854" y="95493"/>
                    <a:pt x="340158" y="97106"/>
                  </a:cubicBezTo>
                  <a:lnTo>
                    <a:pt x="341655" y="97797"/>
                  </a:lnTo>
                  <a:cubicBezTo>
                    <a:pt x="344074" y="98488"/>
                    <a:pt x="345917" y="98603"/>
                    <a:pt x="347645" y="98373"/>
                  </a:cubicBezTo>
                  <a:cubicBezTo>
                    <a:pt x="349258" y="98142"/>
                    <a:pt x="350640" y="97451"/>
                    <a:pt x="351792" y="96530"/>
                  </a:cubicBezTo>
                  <a:cubicBezTo>
                    <a:pt x="352944" y="95723"/>
                    <a:pt x="353981" y="94571"/>
                    <a:pt x="355017" y="93535"/>
                  </a:cubicBezTo>
                  <a:cubicBezTo>
                    <a:pt x="356054" y="92383"/>
                    <a:pt x="357091" y="91231"/>
                    <a:pt x="358358" y="90309"/>
                  </a:cubicBezTo>
                  <a:cubicBezTo>
                    <a:pt x="358934" y="89733"/>
                    <a:pt x="359395" y="89273"/>
                    <a:pt x="359971" y="88697"/>
                  </a:cubicBezTo>
                  <a:cubicBezTo>
                    <a:pt x="360431" y="88121"/>
                    <a:pt x="361007" y="87660"/>
                    <a:pt x="361583" y="87199"/>
                  </a:cubicBezTo>
                  <a:cubicBezTo>
                    <a:pt x="362044" y="86739"/>
                    <a:pt x="362505" y="86278"/>
                    <a:pt x="362966" y="85817"/>
                  </a:cubicBezTo>
                  <a:cubicBezTo>
                    <a:pt x="363426" y="85471"/>
                    <a:pt x="363887" y="85011"/>
                    <a:pt x="364348" y="84780"/>
                  </a:cubicBezTo>
                  <a:lnTo>
                    <a:pt x="365845" y="83859"/>
                  </a:lnTo>
                  <a:cubicBezTo>
                    <a:pt x="366306" y="84780"/>
                    <a:pt x="366882" y="86047"/>
                    <a:pt x="367343" y="87545"/>
                  </a:cubicBezTo>
                  <a:cubicBezTo>
                    <a:pt x="367919" y="88927"/>
                    <a:pt x="368495" y="90655"/>
                    <a:pt x="368955" y="92383"/>
                  </a:cubicBezTo>
                  <a:cubicBezTo>
                    <a:pt x="369531" y="94111"/>
                    <a:pt x="370107" y="95954"/>
                    <a:pt x="370683" y="97912"/>
                  </a:cubicBezTo>
                  <a:cubicBezTo>
                    <a:pt x="371259" y="99755"/>
                    <a:pt x="371835" y="101713"/>
                    <a:pt x="372411" y="103556"/>
                  </a:cubicBezTo>
                  <a:cubicBezTo>
                    <a:pt x="373217" y="105630"/>
                    <a:pt x="373793" y="107588"/>
                    <a:pt x="374485" y="109431"/>
                  </a:cubicBezTo>
                  <a:cubicBezTo>
                    <a:pt x="375176" y="111389"/>
                    <a:pt x="375752" y="113232"/>
                    <a:pt x="376558" y="115191"/>
                  </a:cubicBezTo>
                  <a:cubicBezTo>
                    <a:pt x="377364" y="117034"/>
                    <a:pt x="378401" y="118992"/>
                    <a:pt x="379783" y="120835"/>
                  </a:cubicBezTo>
                  <a:cubicBezTo>
                    <a:pt x="381166" y="122678"/>
                    <a:pt x="382778" y="124636"/>
                    <a:pt x="384967" y="126594"/>
                  </a:cubicBezTo>
                  <a:cubicBezTo>
                    <a:pt x="385312" y="126710"/>
                    <a:pt x="385543" y="126940"/>
                    <a:pt x="385773" y="127055"/>
                  </a:cubicBezTo>
                  <a:cubicBezTo>
                    <a:pt x="386004" y="127286"/>
                    <a:pt x="386349" y="127401"/>
                    <a:pt x="386580" y="127516"/>
                  </a:cubicBezTo>
                  <a:cubicBezTo>
                    <a:pt x="386810" y="127631"/>
                    <a:pt x="387040" y="127862"/>
                    <a:pt x="387271" y="127862"/>
                  </a:cubicBezTo>
                  <a:cubicBezTo>
                    <a:pt x="387501" y="127977"/>
                    <a:pt x="387731" y="128092"/>
                    <a:pt x="387962" y="128207"/>
                  </a:cubicBezTo>
                  <a:cubicBezTo>
                    <a:pt x="390035" y="128783"/>
                    <a:pt x="391763" y="129013"/>
                    <a:pt x="393376" y="129013"/>
                  </a:cubicBezTo>
                  <a:cubicBezTo>
                    <a:pt x="394873" y="129013"/>
                    <a:pt x="396256" y="128553"/>
                    <a:pt x="397638" y="128092"/>
                  </a:cubicBezTo>
                  <a:cubicBezTo>
                    <a:pt x="398905" y="127516"/>
                    <a:pt x="400172" y="126825"/>
                    <a:pt x="401324" y="126134"/>
                  </a:cubicBezTo>
                  <a:cubicBezTo>
                    <a:pt x="402591" y="125443"/>
                    <a:pt x="403743" y="124636"/>
                    <a:pt x="405125" y="123945"/>
                  </a:cubicBezTo>
                  <a:cubicBezTo>
                    <a:pt x="405816" y="123600"/>
                    <a:pt x="406392" y="123139"/>
                    <a:pt x="406968" y="122793"/>
                  </a:cubicBezTo>
                  <a:cubicBezTo>
                    <a:pt x="407544" y="122448"/>
                    <a:pt x="408120" y="122102"/>
                    <a:pt x="408696" y="121756"/>
                  </a:cubicBezTo>
                  <a:cubicBezTo>
                    <a:pt x="409272" y="121411"/>
                    <a:pt x="409848" y="121065"/>
                    <a:pt x="410309" y="120835"/>
                  </a:cubicBezTo>
                  <a:cubicBezTo>
                    <a:pt x="410885" y="120489"/>
                    <a:pt x="411346" y="120259"/>
                    <a:pt x="411806" y="120029"/>
                  </a:cubicBezTo>
                  <a:lnTo>
                    <a:pt x="413880" y="119453"/>
                  </a:lnTo>
                  <a:cubicBezTo>
                    <a:pt x="414225" y="120374"/>
                    <a:pt x="414571" y="121641"/>
                    <a:pt x="414916" y="123024"/>
                  </a:cubicBezTo>
                  <a:cubicBezTo>
                    <a:pt x="415262" y="124406"/>
                    <a:pt x="415608" y="125903"/>
                    <a:pt x="415838" y="127631"/>
                  </a:cubicBezTo>
                  <a:cubicBezTo>
                    <a:pt x="416184" y="129359"/>
                    <a:pt x="416529" y="131087"/>
                    <a:pt x="416760" y="132930"/>
                  </a:cubicBezTo>
                  <a:cubicBezTo>
                    <a:pt x="417105" y="134773"/>
                    <a:pt x="417451" y="136501"/>
                    <a:pt x="417681" y="138344"/>
                  </a:cubicBezTo>
                  <a:cubicBezTo>
                    <a:pt x="418142" y="140302"/>
                    <a:pt x="418487" y="142145"/>
                    <a:pt x="418833" y="143988"/>
                  </a:cubicBezTo>
                  <a:cubicBezTo>
                    <a:pt x="419179" y="145831"/>
                    <a:pt x="419639" y="147674"/>
                    <a:pt x="420215" y="149517"/>
                  </a:cubicBezTo>
                  <a:cubicBezTo>
                    <a:pt x="420791" y="151360"/>
                    <a:pt x="421597" y="153203"/>
                    <a:pt x="422634" y="155162"/>
                  </a:cubicBezTo>
                  <a:cubicBezTo>
                    <a:pt x="423786" y="157120"/>
                    <a:pt x="425284" y="159193"/>
                    <a:pt x="427242" y="161267"/>
                  </a:cubicBezTo>
                  <a:cubicBezTo>
                    <a:pt x="427703" y="161612"/>
                    <a:pt x="428048" y="161958"/>
                    <a:pt x="428394" y="162304"/>
                  </a:cubicBezTo>
                  <a:cubicBezTo>
                    <a:pt x="428739" y="162649"/>
                    <a:pt x="429085" y="162880"/>
                    <a:pt x="429430" y="163110"/>
                  </a:cubicBezTo>
                  <a:cubicBezTo>
                    <a:pt x="429776" y="163340"/>
                    <a:pt x="430122" y="163571"/>
                    <a:pt x="430582" y="163686"/>
                  </a:cubicBezTo>
                  <a:cubicBezTo>
                    <a:pt x="430928" y="163916"/>
                    <a:pt x="431274" y="164031"/>
                    <a:pt x="431504" y="164147"/>
                  </a:cubicBezTo>
                  <a:cubicBezTo>
                    <a:pt x="431504" y="164147"/>
                    <a:pt x="431504" y="164147"/>
                    <a:pt x="431619" y="164147"/>
                  </a:cubicBezTo>
                  <a:cubicBezTo>
                    <a:pt x="431619" y="164147"/>
                    <a:pt x="431619" y="164147"/>
                    <a:pt x="431734" y="164147"/>
                  </a:cubicBezTo>
                  <a:cubicBezTo>
                    <a:pt x="431734" y="164147"/>
                    <a:pt x="431734" y="164147"/>
                    <a:pt x="431849" y="164147"/>
                  </a:cubicBezTo>
                  <a:cubicBezTo>
                    <a:pt x="431849" y="164147"/>
                    <a:pt x="431849" y="164147"/>
                    <a:pt x="431965" y="164147"/>
                  </a:cubicBezTo>
                  <a:cubicBezTo>
                    <a:pt x="433693" y="164723"/>
                    <a:pt x="435305" y="165068"/>
                    <a:pt x="436687" y="165183"/>
                  </a:cubicBezTo>
                  <a:cubicBezTo>
                    <a:pt x="438185" y="165183"/>
                    <a:pt x="439567" y="165183"/>
                    <a:pt x="440950" y="164953"/>
                  </a:cubicBezTo>
                  <a:cubicBezTo>
                    <a:pt x="442332" y="164723"/>
                    <a:pt x="443599" y="164377"/>
                    <a:pt x="444981" y="164031"/>
                  </a:cubicBezTo>
                  <a:cubicBezTo>
                    <a:pt x="446248" y="163571"/>
                    <a:pt x="447631" y="163225"/>
                    <a:pt x="449013" y="162880"/>
                  </a:cubicBezTo>
                  <a:cubicBezTo>
                    <a:pt x="449934" y="162534"/>
                    <a:pt x="450971" y="162188"/>
                    <a:pt x="451893" y="161958"/>
                  </a:cubicBezTo>
                  <a:cubicBezTo>
                    <a:pt x="452814" y="161612"/>
                    <a:pt x="453851" y="161497"/>
                    <a:pt x="454657" y="161267"/>
                  </a:cubicBezTo>
                  <a:cubicBezTo>
                    <a:pt x="455579" y="161036"/>
                    <a:pt x="456385" y="160921"/>
                    <a:pt x="457191" y="160806"/>
                  </a:cubicBezTo>
                  <a:cubicBezTo>
                    <a:pt x="457883" y="160806"/>
                    <a:pt x="458574" y="160691"/>
                    <a:pt x="459150" y="160691"/>
                  </a:cubicBezTo>
                  <a:lnTo>
                    <a:pt x="459495" y="162304"/>
                  </a:lnTo>
                  <a:cubicBezTo>
                    <a:pt x="459726" y="163801"/>
                    <a:pt x="459956" y="165644"/>
                    <a:pt x="460071" y="167602"/>
                  </a:cubicBezTo>
                  <a:cubicBezTo>
                    <a:pt x="460071" y="169561"/>
                    <a:pt x="460186" y="171749"/>
                    <a:pt x="460302" y="173938"/>
                  </a:cubicBezTo>
                  <a:cubicBezTo>
                    <a:pt x="460302" y="176126"/>
                    <a:pt x="460417" y="178430"/>
                    <a:pt x="460647" y="180734"/>
                  </a:cubicBezTo>
                  <a:cubicBezTo>
                    <a:pt x="460762" y="183038"/>
                    <a:pt x="460993" y="185342"/>
                    <a:pt x="461453" y="187415"/>
                  </a:cubicBezTo>
                  <a:cubicBezTo>
                    <a:pt x="461684" y="188337"/>
                    <a:pt x="461799" y="189373"/>
                    <a:pt x="462029" y="190410"/>
                  </a:cubicBezTo>
                  <a:cubicBezTo>
                    <a:pt x="462260" y="191447"/>
                    <a:pt x="462605" y="192483"/>
                    <a:pt x="462951" y="193635"/>
                  </a:cubicBezTo>
                  <a:cubicBezTo>
                    <a:pt x="463412" y="194787"/>
                    <a:pt x="463872" y="195939"/>
                    <a:pt x="464679" y="197091"/>
                  </a:cubicBezTo>
                  <a:cubicBezTo>
                    <a:pt x="465370" y="198243"/>
                    <a:pt x="466291" y="199510"/>
                    <a:pt x="467443" y="200892"/>
                  </a:cubicBezTo>
                  <a:cubicBezTo>
                    <a:pt x="468019" y="201584"/>
                    <a:pt x="468595" y="202159"/>
                    <a:pt x="469171" y="202620"/>
                  </a:cubicBezTo>
                  <a:cubicBezTo>
                    <a:pt x="469747" y="203081"/>
                    <a:pt x="470323" y="203542"/>
                    <a:pt x="470899" y="203887"/>
                  </a:cubicBezTo>
                  <a:cubicBezTo>
                    <a:pt x="471475" y="204233"/>
                    <a:pt x="471936" y="204578"/>
                    <a:pt x="472512" y="204809"/>
                  </a:cubicBezTo>
                  <a:cubicBezTo>
                    <a:pt x="472972" y="205039"/>
                    <a:pt x="473548" y="205270"/>
                    <a:pt x="474009" y="205500"/>
                  </a:cubicBezTo>
                  <a:cubicBezTo>
                    <a:pt x="476428" y="206306"/>
                    <a:pt x="478962" y="206767"/>
                    <a:pt x="481612" y="206882"/>
                  </a:cubicBezTo>
                  <a:cubicBezTo>
                    <a:pt x="484146" y="206997"/>
                    <a:pt x="486795" y="206882"/>
                    <a:pt x="489330" y="206882"/>
                  </a:cubicBezTo>
                  <a:cubicBezTo>
                    <a:pt x="491749" y="206767"/>
                    <a:pt x="494168" y="206537"/>
                    <a:pt x="496126" y="206422"/>
                  </a:cubicBezTo>
                  <a:cubicBezTo>
                    <a:pt x="498199" y="206422"/>
                    <a:pt x="499927" y="206422"/>
                    <a:pt x="501194" y="206767"/>
                  </a:cubicBezTo>
                  <a:cubicBezTo>
                    <a:pt x="501425" y="208265"/>
                    <a:pt x="501309" y="210223"/>
                    <a:pt x="501194" y="212411"/>
                  </a:cubicBezTo>
                  <a:cubicBezTo>
                    <a:pt x="500964" y="214600"/>
                    <a:pt x="500618" y="217019"/>
                    <a:pt x="500388" y="219553"/>
                  </a:cubicBezTo>
                  <a:cubicBezTo>
                    <a:pt x="500042" y="222087"/>
                    <a:pt x="499812" y="224852"/>
                    <a:pt x="499697" y="227617"/>
                  </a:cubicBezTo>
                  <a:cubicBezTo>
                    <a:pt x="499697" y="230381"/>
                    <a:pt x="499697" y="233031"/>
                    <a:pt x="500042" y="235680"/>
                  </a:cubicBezTo>
                  <a:cubicBezTo>
                    <a:pt x="500042" y="236371"/>
                    <a:pt x="500273" y="236947"/>
                    <a:pt x="500388" y="237638"/>
                  </a:cubicBezTo>
                  <a:cubicBezTo>
                    <a:pt x="500503" y="238329"/>
                    <a:pt x="500733" y="239020"/>
                    <a:pt x="501079" y="239827"/>
                  </a:cubicBezTo>
                  <a:cubicBezTo>
                    <a:pt x="501309" y="240633"/>
                    <a:pt x="501770" y="241439"/>
                    <a:pt x="502231" y="242246"/>
                  </a:cubicBezTo>
                  <a:cubicBezTo>
                    <a:pt x="502692" y="243052"/>
                    <a:pt x="503152" y="243858"/>
                    <a:pt x="503844" y="244780"/>
                  </a:cubicBezTo>
                  <a:cubicBezTo>
                    <a:pt x="504765" y="245817"/>
                    <a:pt x="505571" y="246738"/>
                    <a:pt x="506378" y="247545"/>
                  </a:cubicBezTo>
                  <a:cubicBezTo>
                    <a:pt x="507184" y="248351"/>
                    <a:pt x="507990" y="248927"/>
                    <a:pt x="508797" y="249503"/>
                  </a:cubicBezTo>
                  <a:cubicBezTo>
                    <a:pt x="509603" y="249964"/>
                    <a:pt x="510294" y="250424"/>
                    <a:pt x="511101" y="250770"/>
                  </a:cubicBezTo>
                  <a:cubicBezTo>
                    <a:pt x="511792" y="251115"/>
                    <a:pt x="512483" y="251461"/>
                    <a:pt x="513174" y="251691"/>
                  </a:cubicBezTo>
                  <a:cubicBezTo>
                    <a:pt x="515363" y="252498"/>
                    <a:pt x="517666" y="253074"/>
                    <a:pt x="519970" y="253534"/>
                  </a:cubicBezTo>
                  <a:cubicBezTo>
                    <a:pt x="522274" y="253995"/>
                    <a:pt x="524693" y="254341"/>
                    <a:pt x="526997" y="254571"/>
                  </a:cubicBezTo>
                  <a:cubicBezTo>
                    <a:pt x="529301" y="254917"/>
                    <a:pt x="531489" y="255147"/>
                    <a:pt x="533448" y="255493"/>
                  </a:cubicBezTo>
                  <a:cubicBezTo>
                    <a:pt x="535406" y="255838"/>
                    <a:pt x="537134" y="256184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6760"/>
                    <a:pt x="538516" y="256760"/>
                    <a:pt x="538516" y="256760"/>
                  </a:cubicBezTo>
                  <a:cubicBezTo>
                    <a:pt x="538516" y="257336"/>
                    <a:pt x="538516" y="258027"/>
                    <a:pt x="538286" y="258833"/>
                  </a:cubicBezTo>
                  <a:cubicBezTo>
                    <a:pt x="538170" y="259640"/>
                    <a:pt x="537940" y="260561"/>
                    <a:pt x="537710" y="261483"/>
                  </a:cubicBezTo>
                  <a:cubicBezTo>
                    <a:pt x="537479" y="262519"/>
                    <a:pt x="537249" y="263441"/>
                    <a:pt x="536903" y="264478"/>
                  </a:cubicBezTo>
                  <a:cubicBezTo>
                    <a:pt x="536558" y="265514"/>
                    <a:pt x="536212" y="266551"/>
                    <a:pt x="535867" y="267588"/>
                  </a:cubicBezTo>
                  <a:cubicBezTo>
                    <a:pt x="535521" y="268970"/>
                    <a:pt x="535060" y="270352"/>
                    <a:pt x="534599" y="271735"/>
                  </a:cubicBezTo>
                  <a:cubicBezTo>
                    <a:pt x="534139" y="273117"/>
                    <a:pt x="533793" y="274499"/>
                    <a:pt x="533563" y="275881"/>
                  </a:cubicBezTo>
                  <a:cubicBezTo>
                    <a:pt x="533217" y="277264"/>
                    <a:pt x="532987" y="278761"/>
                    <a:pt x="532987" y="280259"/>
                  </a:cubicBezTo>
                  <a:cubicBezTo>
                    <a:pt x="532987" y="281871"/>
                    <a:pt x="532987" y="283484"/>
                    <a:pt x="533217" y="285212"/>
                  </a:cubicBezTo>
                  <a:cubicBezTo>
                    <a:pt x="533217" y="285673"/>
                    <a:pt x="533448" y="286133"/>
                    <a:pt x="533563" y="286594"/>
                  </a:cubicBezTo>
                  <a:cubicBezTo>
                    <a:pt x="533678" y="287055"/>
                    <a:pt x="533908" y="287631"/>
                    <a:pt x="534024" y="288207"/>
                  </a:cubicBezTo>
                  <a:cubicBezTo>
                    <a:pt x="534254" y="288783"/>
                    <a:pt x="534484" y="289359"/>
                    <a:pt x="534715" y="289935"/>
                  </a:cubicBezTo>
                  <a:cubicBezTo>
                    <a:pt x="535060" y="290511"/>
                    <a:pt x="535291" y="291087"/>
                    <a:pt x="535751" y="291663"/>
                  </a:cubicBezTo>
                  <a:cubicBezTo>
                    <a:pt x="537019" y="293621"/>
                    <a:pt x="538286" y="295118"/>
                    <a:pt x="539553" y="296270"/>
                  </a:cubicBezTo>
                  <a:cubicBezTo>
                    <a:pt x="540820" y="297422"/>
                    <a:pt x="541972" y="298344"/>
                    <a:pt x="543239" y="299150"/>
                  </a:cubicBezTo>
                  <a:cubicBezTo>
                    <a:pt x="544506" y="299841"/>
                    <a:pt x="545658" y="300417"/>
                    <a:pt x="546925" y="300878"/>
                  </a:cubicBezTo>
                  <a:cubicBezTo>
                    <a:pt x="548077" y="301454"/>
                    <a:pt x="549344" y="301915"/>
                    <a:pt x="550496" y="302490"/>
                  </a:cubicBezTo>
                  <a:cubicBezTo>
                    <a:pt x="551878" y="302951"/>
                    <a:pt x="553376" y="303412"/>
                    <a:pt x="554873" y="303873"/>
                  </a:cubicBezTo>
                  <a:cubicBezTo>
                    <a:pt x="556255" y="304334"/>
                    <a:pt x="557753" y="304794"/>
                    <a:pt x="559250" y="305255"/>
                  </a:cubicBezTo>
                  <a:cubicBezTo>
                    <a:pt x="560633" y="305716"/>
                    <a:pt x="562130" y="306177"/>
                    <a:pt x="563397" y="306522"/>
                  </a:cubicBezTo>
                  <a:cubicBezTo>
                    <a:pt x="564664" y="306983"/>
                    <a:pt x="566046" y="307444"/>
                    <a:pt x="567198" y="307904"/>
                  </a:cubicBezTo>
                  <a:cubicBezTo>
                    <a:pt x="567659" y="308020"/>
                    <a:pt x="568005" y="308250"/>
                    <a:pt x="568465" y="308365"/>
                  </a:cubicBezTo>
                  <a:cubicBezTo>
                    <a:pt x="568926" y="308480"/>
                    <a:pt x="569272" y="308711"/>
                    <a:pt x="569617" y="308826"/>
                  </a:cubicBezTo>
                  <a:cubicBezTo>
                    <a:pt x="569963" y="308941"/>
                    <a:pt x="570309" y="309056"/>
                    <a:pt x="570654" y="309287"/>
                  </a:cubicBezTo>
                  <a:cubicBezTo>
                    <a:pt x="570884" y="309402"/>
                    <a:pt x="571230" y="309632"/>
                    <a:pt x="571460" y="309748"/>
                  </a:cubicBezTo>
                  <a:cubicBezTo>
                    <a:pt x="571345" y="310323"/>
                    <a:pt x="571115" y="310899"/>
                    <a:pt x="570769" y="311591"/>
                  </a:cubicBezTo>
                  <a:cubicBezTo>
                    <a:pt x="570539" y="312282"/>
                    <a:pt x="570193" y="313088"/>
                    <a:pt x="569733" y="313894"/>
                  </a:cubicBezTo>
                  <a:cubicBezTo>
                    <a:pt x="569387" y="314701"/>
                    <a:pt x="568926" y="315622"/>
                    <a:pt x="568465" y="316429"/>
                  </a:cubicBezTo>
                  <a:cubicBezTo>
                    <a:pt x="568005" y="317235"/>
                    <a:pt x="567429" y="318156"/>
                    <a:pt x="566853" y="319078"/>
                  </a:cubicBezTo>
                  <a:cubicBezTo>
                    <a:pt x="566162" y="320460"/>
                    <a:pt x="565471" y="321727"/>
                    <a:pt x="564779" y="322879"/>
                  </a:cubicBezTo>
                  <a:cubicBezTo>
                    <a:pt x="564088" y="324146"/>
                    <a:pt x="563397" y="325413"/>
                    <a:pt x="562821" y="326796"/>
                  </a:cubicBezTo>
                  <a:cubicBezTo>
                    <a:pt x="562245" y="328178"/>
                    <a:pt x="561784" y="329560"/>
                    <a:pt x="561554" y="331173"/>
                  </a:cubicBezTo>
                  <a:cubicBezTo>
                    <a:pt x="561324" y="332786"/>
                    <a:pt x="561209" y="334513"/>
                    <a:pt x="561554" y="336587"/>
                  </a:cubicBezTo>
                  <a:cubicBezTo>
                    <a:pt x="561554" y="336932"/>
                    <a:pt x="561669" y="337278"/>
                    <a:pt x="561784" y="337624"/>
                  </a:cubicBezTo>
                  <a:cubicBezTo>
                    <a:pt x="561784" y="337969"/>
                    <a:pt x="562015" y="338430"/>
                    <a:pt x="562130" y="338776"/>
                  </a:cubicBezTo>
                  <a:cubicBezTo>
                    <a:pt x="562360" y="339236"/>
                    <a:pt x="562476" y="339582"/>
                    <a:pt x="562591" y="340043"/>
                  </a:cubicBezTo>
                  <a:cubicBezTo>
                    <a:pt x="562821" y="340503"/>
                    <a:pt x="562936" y="340849"/>
                    <a:pt x="563282" y="341310"/>
                  </a:cubicBezTo>
                  <a:cubicBezTo>
                    <a:pt x="564203" y="342922"/>
                    <a:pt x="565010" y="344189"/>
                    <a:pt x="565931" y="345341"/>
                  </a:cubicBezTo>
                  <a:cubicBezTo>
                    <a:pt x="566853" y="346493"/>
                    <a:pt x="567774" y="347415"/>
                    <a:pt x="568811" y="348221"/>
                  </a:cubicBezTo>
                  <a:cubicBezTo>
                    <a:pt x="569733" y="349027"/>
                    <a:pt x="570769" y="349719"/>
                    <a:pt x="571691" y="350410"/>
                  </a:cubicBezTo>
                  <a:cubicBezTo>
                    <a:pt x="572612" y="351101"/>
                    <a:pt x="573649" y="351677"/>
                    <a:pt x="574571" y="352368"/>
                  </a:cubicBezTo>
                  <a:cubicBezTo>
                    <a:pt x="576068" y="353174"/>
                    <a:pt x="577450" y="353981"/>
                    <a:pt x="579063" y="354787"/>
                  </a:cubicBezTo>
                  <a:cubicBezTo>
                    <a:pt x="580561" y="355593"/>
                    <a:pt x="582058" y="356285"/>
                    <a:pt x="583671" y="357091"/>
                  </a:cubicBezTo>
                  <a:cubicBezTo>
                    <a:pt x="585168" y="357782"/>
                    <a:pt x="586666" y="358473"/>
                    <a:pt x="588163" y="359164"/>
                  </a:cubicBezTo>
                  <a:cubicBezTo>
                    <a:pt x="589661" y="359855"/>
                    <a:pt x="591043" y="360547"/>
                    <a:pt x="592425" y="361238"/>
                  </a:cubicBezTo>
                  <a:cubicBezTo>
                    <a:pt x="593116" y="361583"/>
                    <a:pt x="593692" y="361929"/>
                    <a:pt x="594268" y="362274"/>
                  </a:cubicBezTo>
                  <a:cubicBezTo>
                    <a:pt x="594959" y="362620"/>
                    <a:pt x="595535" y="362966"/>
                    <a:pt x="595996" y="363196"/>
                  </a:cubicBezTo>
                  <a:cubicBezTo>
                    <a:pt x="596572" y="363541"/>
                    <a:pt x="597033" y="363772"/>
                    <a:pt x="597494" y="364117"/>
                  </a:cubicBezTo>
                  <a:cubicBezTo>
                    <a:pt x="597954" y="364463"/>
                    <a:pt x="598415" y="364693"/>
                    <a:pt x="598761" y="364924"/>
                  </a:cubicBezTo>
                  <a:cubicBezTo>
                    <a:pt x="598530" y="365385"/>
                    <a:pt x="598185" y="366076"/>
                    <a:pt x="597609" y="366652"/>
                  </a:cubicBezTo>
                  <a:cubicBezTo>
                    <a:pt x="597148" y="367343"/>
                    <a:pt x="596572" y="368034"/>
                    <a:pt x="595996" y="368725"/>
                  </a:cubicBezTo>
                  <a:cubicBezTo>
                    <a:pt x="595420" y="369416"/>
                    <a:pt x="594729" y="370223"/>
                    <a:pt x="593923" y="371029"/>
                  </a:cubicBezTo>
                  <a:cubicBezTo>
                    <a:pt x="593231" y="371835"/>
                    <a:pt x="592425" y="372642"/>
                    <a:pt x="591619" y="373333"/>
                  </a:cubicBezTo>
                  <a:cubicBezTo>
                    <a:pt x="590697" y="374485"/>
                    <a:pt x="589776" y="375406"/>
                    <a:pt x="588854" y="376443"/>
                  </a:cubicBezTo>
                  <a:cubicBezTo>
                    <a:pt x="587933" y="377480"/>
                    <a:pt x="587011" y="378516"/>
                    <a:pt x="586205" y="379668"/>
                  </a:cubicBezTo>
                  <a:cubicBezTo>
                    <a:pt x="585399" y="380820"/>
                    <a:pt x="584823" y="382087"/>
                    <a:pt x="584477" y="383585"/>
                  </a:cubicBezTo>
                  <a:cubicBezTo>
                    <a:pt x="584131" y="385082"/>
                    <a:pt x="584016" y="386925"/>
                    <a:pt x="584247" y="389229"/>
                  </a:cubicBezTo>
                  <a:lnTo>
                    <a:pt x="585168" y="392109"/>
                  </a:lnTo>
                  <a:cubicBezTo>
                    <a:pt x="585859" y="393721"/>
                    <a:pt x="586550" y="395104"/>
                    <a:pt x="587357" y="396371"/>
                  </a:cubicBezTo>
                  <a:cubicBezTo>
                    <a:pt x="588163" y="397638"/>
                    <a:pt x="589085" y="398675"/>
                    <a:pt x="590006" y="399596"/>
                  </a:cubicBezTo>
                  <a:cubicBezTo>
                    <a:pt x="590928" y="400518"/>
                    <a:pt x="591849" y="401439"/>
                    <a:pt x="592771" y="402246"/>
                  </a:cubicBezTo>
                  <a:cubicBezTo>
                    <a:pt x="593692" y="403052"/>
                    <a:pt x="594614" y="403858"/>
                    <a:pt x="595535" y="404549"/>
                  </a:cubicBezTo>
                  <a:cubicBezTo>
                    <a:pt x="596918" y="405586"/>
                    <a:pt x="598415" y="406623"/>
                    <a:pt x="599913" y="407660"/>
                  </a:cubicBezTo>
                  <a:cubicBezTo>
                    <a:pt x="601410" y="408696"/>
                    <a:pt x="602907" y="409733"/>
                    <a:pt x="604520" y="410654"/>
                  </a:cubicBezTo>
                  <a:cubicBezTo>
                    <a:pt x="606018" y="411691"/>
                    <a:pt x="607515" y="412613"/>
                    <a:pt x="609128" y="413534"/>
                  </a:cubicBezTo>
                  <a:cubicBezTo>
                    <a:pt x="610625" y="414456"/>
                    <a:pt x="612008" y="415377"/>
                    <a:pt x="613505" y="416299"/>
                  </a:cubicBezTo>
                  <a:cubicBezTo>
                    <a:pt x="614081" y="416760"/>
                    <a:pt x="614772" y="417220"/>
                    <a:pt x="615348" y="417566"/>
                  </a:cubicBezTo>
                  <a:cubicBezTo>
                    <a:pt x="615924" y="418027"/>
                    <a:pt x="616500" y="418487"/>
                    <a:pt x="617076" y="418833"/>
                  </a:cubicBezTo>
                  <a:cubicBezTo>
                    <a:pt x="617652" y="419294"/>
                    <a:pt x="618113" y="419639"/>
                    <a:pt x="618573" y="419985"/>
                  </a:cubicBezTo>
                  <a:cubicBezTo>
                    <a:pt x="619034" y="420330"/>
                    <a:pt x="619380" y="420676"/>
                    <a:pt x="619725" y="421022"/>
                  </a:cubicBezTo>
                  <a:cubicBezTo>
                    <a:pt x="619380" y="421482"/>
                    <a:pt x="618919" y="421943"/>
                    <a:pt x="618343" y="422404"/>
                  </a:cubicBezTo>
                  <a:cubicBezTo>
                    <a:pt x="617767" y="422865"/>
                    <a:pt x="617076" y="423441"/>
                    <a:pt x="616270" y="424017"/>
                  </a:cubicBezTo>
                  <a:cubicBezTo>
                    <a:pt x="615463" y="424593"/>
                    <a:pt x="614657" y="425168"/>
                    <a:pt x="613735" y="425744"/>
                  </a:cubicBezTo>
                  <a:cubicBezTo>
                    <a:pt x="612814" y="426320"/>
                    <a:pt x="611892" y="426896"/>
                    <a:pt x="610971" y="427357"/>
                  </a:cubicBezTo>
                  <a:cubicBezTo>
                    <a:pt x="609819" y="428279"/>
                    <a:pt x="608552" y="429085"/>
                    <a:pt x="607285" y="429776"/>
                  </a:cubicBezTo>
                  <a:cubicBezTo>
                    <a:pt x="606018" y="430582"/>
                    <a:pt x="604866" y="431274"/>
                    <a:pt x="603829" y="432310"/>
                  </a:cubicBezTo>
                  <a:cubicBezTo>
                    <a:pt x="602792" y="433232"/>
                    <a:pt x="601986" y="434499"/>
                    <a:pt x="601410" y="435996"/>
                  </a:cubicBezTo>
                  <a:cubicBezTo>
                    <a:pt x="600834" y="437609"/>
                    <a:pt x="600604" y="439567"/>
                    <a:pt x="600719" y="442217"/>
                  </a:cubicBezTo>
                  <a:lnTo>
                    <a:pt x="600949" y="443023"/>
                  </a:lnTo>
                  <a:lnTo>
                    <a:pt x="601180" y="443945"/>
                  </a:lnTo>
                  <a:cubicBezTo>
                    <a:pt x="601756" y="445557"/>
                    <a:pt x="602332" y="446824"/>
                    <a:pt x="603138" y="448091"/>
                  </a:cubicBezTo>
                  <a:cubicBezTo>
                    <a:pt x="603829" y="449358"/>
                    <a:pt x="604635" y="450510"/>
                    <a:pt x="605442" y="451432"/>
                  </a:cubicBezTo>
                  <a:cubicBezTo>
                    <a:pt x="606248" y="452469"/>
                    <a:pt x="607170" y="453390"/>
                    <a:pt x="607976" y="454312"/>
                  </a:cubicBezTo>
                  <a:cubicBezTo>
                    <a:pt x="608782" y="455233"/>
                    <a:pt x="609704" y="456040"/>
                    <a:pt x="610510" y="456846"/>
                  </a:cubicBezTo>
                  <a:cubicBezTo>
                    <a:pt x="611892" y="458113"/>
                    <a:pt x="613390" y="459495"/>
                    <a:pt x="614772" y="460762"/>
                  </a:cubicBezTo>
                  <a:cubicBezTo>
                    <a:pt x="616270" y="462029"/>
                    <a:pt x="617767" y="463297"/>
                    <a:pt x="619265" y="464564"/>
                  </a:cubicBezTo>
                  <a:cubicBezTo>
                    <a:pt x="620762" y="465831"/>
                    <a:pt x="622375" y="466983"/>
                    <a:pt x="623757" y="468250"/>
                  </a:cubicBezTo>
                  <a:cubicBezTo>
                    <a:pt x="625254" y="469402"/>
                    <a:pt x="626752" y="470669"/>
                    <a:pt x="628019" y="471821"/>
                  </a:cubicBezTo>
                  <a:cubicBezTo>
                    <a:pt x="628710" y="472397"/>
                    <a:pt x="629286" y="472973"/>
                    <a:pt x="629862" y="473433"/>
                  </a:cubicBezTo>
                  <a:cubicBezTo>
                    <a:pt x="630438" y="474009"/>
                    <a:pt x="631014" y="474470"/>
                    <a:pt x="631590" y="474931"/>
                  </a:cubicBezTo>
                  <a:cubicBezTo>
                    <a:pt x="632166" y="475392"/>
                    <a:pt x="632627" y="475852"/>
                    <a:pt x="633087" y="476313"/>
                  </a:cubicBezTo>
                  <a:cubicBezTo>
                    <a:pt x="633548" y="476774"/>
                    <a:pt x="633894" y="477119"/>
                    <a:pt x="634239" y="477465"/>
                  </a:cubicBezTo>
                  <a:cubicBezTo>
                    <a:pt x="633779" y="477926"/>
                    <a:pt x="633087" y="478387"/>
                    <a:pt x="632166" y="478732"/>
                  </a:cubicBezTo>
                  <a:cubicBezTo>
                    <a:pt x="631360" y="479193"/>
                    <a:pt x="630208" y="479538"/>
                    <a:pt x="629171" y="479999"/>
                  </a:cubicBezTo>
                  <a:cubicBezTo>
                    <a:pt x="628019" y="480345"/>
                    <a:pt x="626752" y="480806"/>
                    <a:pt x="625370" y="481151"/>
                  </a:cubicBezTo>
                  <a:cubicBezTo>
                    <a:pt x="624103" y="481497"/>
                    <a:pt x="622720" y="481842"/>
                    <a:pt x="621453" y="482303"/>
                  </a:cubicBezTo>
                  <a:cubicBezTo>
                    <a:pt x="620301" y="482879"/>
                    <a:pt x="618919" y="483225"/>
                    <a:pt x="617652" y="483685"/>
                  </a:cubicBezTo>
                  <a:cubicBezTo>
                    <a:pt x="616385" y="484146"/>
                    <a:pt x="615118" y="484607"/>
                    <a:pt x="614081" y="485298"/>
                  </a:cubicBezTo>
                  <a:cubicBezTo>
                    <a:pt x="613044" y="485989"/>
                    <a:pt x="612123" y="486911"/>
                    <a:pt x="611432" y="488293"/>
                  </a:cubicBezTo>
                  <a:cubicBezTo>
                    <a:pt x="610740" y="489675"/>
                    <a:pt x="610395" y="491518"/>
                    <a:pt x="610395" y="493937"/>
                  </a:cubicBezTo>
                  <a:lnTo>
                    <a:pt x="610395" y="494744"/>
                  </a:lnTo>
                  <a:cubicBezTo>
                    <a:pt x="610856" y="496356"/>
                    <a:pt x="611316" y="497739"/>
                    <a:pt x="611892" y="499121"/>
                  </a:cubicBezTo>
                  <a:cubicBezTo>
                    <a:pt x="612468" y="500503"/>
                    <a:pt x="613159" y="501655"/>
                    <a:pt x="613966" y="502807"/>
                  </a:cubicBezTo>
                  <a:cubicBezTo>
                    <a:pt x="614657" y="503959"/>
                    <a:pt x="615463" y="504996"/>
                    <a:pt x="616270" y="506032"/>
                  </a:cubicBezTo>
                  <a:cubicBezTo>
                    <a:pt x="617076" y="507069"/>
                    <a:pt x="617882" y="507990"/>
                    <a:pt x="618804" y="509027"/>
                  </a:cubicBezTo>
                  <a:cubicBezTo>
                    <a:pt x="620071" y="510525"/>
                    <a:pt x="621338" y="511907"/>
                    <a:pt x="622720" y="513404"/>
                  </a:cubicBezTo>
                  <a:cubicBezTo>
                    <a:pt x="624103" y="514902"/>
                    <a:pt x="625600" y="516284"/>
                    <a:pt x="626982" y="517782"/>
                  </a:cubicBezTo>
                  <a:cubicBezTo>
                    <a:pt x="628365" y="519164"/>
                    <a:pt x="629747" y="520661"/>
                    <a:pt x="631244" y="522044"/>
                  </a:cubicBezTo>
                  <a:cubicBezTo>
                    <a:pt x="632627" y="523426"/>
                    <a:pt x="633894" y="524693"/>
                    <a:pt x="635276" y="526075"/>
                  </a:cubicBezTo>
                  <a:cubicBezTo>
                    <a:pt x="635967" y="526767"/>
                    <a:pt x="636543" y="527343"/>
                    <a:pt x="637119" y="528034"/>
                  </a:cubicBezTo>
                  <a:cubicBezTo>
                    <a:pt x="637695" y="528725"/>
                    <a:pt x="638271" y="529301"/>
                    <a:pt x="638732" y="529877"/>
                  </a:cubicBezTo>
                  <a:cubicBezTo>
                    <a:pt x="639192" y="530453"/>
                    <a:pt x="639768" y="531029"/>
                    <a:pt x="640114" y="531489"/>
                  </a:cubicBezTo>
                  <a:cubicBezTo>
                    <a:pt x="640575" y="531950"/>
                    <a:pt x="640920" y="532411"/>
                    <a:pt x="641266" y="532872"/>
                  </a:cubicBezTo>
                  <a:lnTo>
                    <a:pt x="641496" y="533217"/>
                  </a:lnTo>
                  <a:cubicBezTo>
                    <a:pt x="640920" y="533563"/>
                    <a:pt x="640114" y="533793"/>
                    <a:pt x="639077" y="534024"/>
                  </a:cubicBezTo>
                  <a:cubicBezTo>
                    <a:pt x="638041" y="534139"/>
                    <a:pt x="636889" y="534369"/>
                    <a:pt x="635622" y="534484"/>
                  </a:cubicBezTo>
                  <a:cubicBezTo>
                    <a:pt x="634355" y="534600"/>
                    <a:pt x="632972" y="534715"/>
                    <a:pt x="631475" y="534830"/>
                  </a:cubicBezTo>
                  <a:cubicBezTo>
                    <a:pt x="629977" y="534830"/>
                    <a:pt x="628480" y="535060"/>
                    <a:pt x="627098" y="535060"/>
                  </a:cubicBezTo>
                  <a:cubicBezTo>
                    <a:pt x="625715" y="535406"/>
                    <a:pt x="624218" y="535406"/>
                    <a:pt x="622720" y="535636"/>
                  </a:cubicBezTo>
                  <a:cubicBezTo>
                    <a:pt x="621223" y="535867"/>
                    <a:pt x="619840" y="535982"/>
                    <a:pt x="618573" y="536327"/>
                  </a:cubicBezTo>
                  <a:cubicBezTo>
                    <a:pt x="617306" y="536788"/>
                    <a:pt x="616154" y="537479"/>
                    <a:pt x="615348" y="538516"/>
                  </a:cubicBezTo>
                  <a:cubicBezTo>
                    <a:pt x="614427" y="539668"/>
                    <a:pt x="613735" y="541281"/>
                    <a:pt x="613390" y="543584"/>
                  </a:cubicBezTo>
                  <a:lnTo>
                    <a:pt x="613620" y="546234"/>
                  </a:lnTo>
                  <a:cubicBezTo>
                    <a:pt x="614311" y="548998"/>
                    <a:pt x="615348" y="551417"/>
                    <a:pt x="616615" y="553721"/>
                  </a:cubicBezTo>
                  <a:cubicBezTo>
                    <a:pt x="617767" y="556025"/>
                    <a:pt x="619149" y="558098"/>
                    <a:pt x="620762" y="560172"/>
                  </a:cubicBezTo>
                  <a:cubicBezTo>
                    <a:pt x="622259" y="562245"/>
                    <a:pt x="623872" y="564319"/>
                    <a:pt x="625600" y="566277"/>
                  </a:cubicBezTo>
                  <a:cubicBezTo>
                    <a:pt x="627328" y="568350"/>
                    <a:pt x="628941" y="570424"/>
                    <a:pt x="630668" y="572612"/>
                  </a:cubicBezTo>
                  <a:cubicBezTo>
                    <a:pt x="631475" y="573649"/>
                    <a:pt x="632281" y="574686"/>
                    <a:pt x="633087" y="575607"/>
                  </a:cubicBezTo>
                  <a:cubicBezTo>
                    <a:pt x="633894" y="576644"/>
                    <a:pt x="634700" y="577566"/>
                    <a:pt x="635391" y="578602"/>
                  </a:cubicBezTo>
                  <a:cubicBezTo>
                    <a:pt x="636198" y="579524"/>
                    <a:pt x="636889" y="580445"/>
                    <a:pt x="637580" y="581367"/>
                  </a:cubicBezTo>
                  <a:cubicBezTo>
                    <a:pt x="638271" y="582288"/>
                    <a:pt x="638847" y="583095"/>
                    <a:pt x="639423" y="583901"/>
                  </a:cubicBezTo>
                  <a:lnTo>
                    <a:pt x="641381" y="586781"/>
                  </a:lnTo>
                  <a:cubicBezTo>
                    <a:pt x="640690" y="586896"/>
                    <a:pt x="639768" y="587011"/>
                    <a:pt x="638617" y="586896"/>
                  </a:cubicBezTo>
                  <a:cubicBezTo>
                    <a:pt x="637580" y="586896"/>
                    <a:pt x="636198" y="586781"/>
                    <a:pt x="634815" y="586551"/>
                  </a:cubicBezTo>
                  <a:cubicBezTo>
                    <a:pt x="633433" y="586435"/>
                    <a:pt x="631820" y="586090"/>
                    <a:pt x="630208" y="585975"/>
                  </a:cubicBezTo>
                  <a:cubicBezTo>
                    <a:pt x="628595" y="585744"/>
                    <a:pt x="626982" y="585514"/>
                    <a:pt x="625370" y="585283"/>
                  </a:cubicBezTo>
                  <a:cubicBezTo>
                    <a:pt x="623757" y="585283"/>
                    <a:pt x="622144" y="585053"/>
                    <a:pt x="620532" y="584823"/>
                  </a:cubicBezTo>
                  <a:cubicBezTo>
                    <a:pt x="618919" y="584592"/>
                    <a:pt x="617421" y="584477"/>
                    <a:pt x="615924" y="584592"/>
                  </a:cubicBezTo>
                  <a:cubicBezTo>
                    <a:pt x="614427" y="584592"/>
                    <a:pt x="613159" y="585053"/>
                    <a:pt x="611892" y="585975"/>
                  </a:cubicBezTo>
                  <a:cubicBezTo>
                    <a:pt x="610740" y="586896"/>
                    <a:pt x="609819" y="588163"/>
                    <a:pt x="609013" y="590237"/>
                  </a:cubicBezTo>
                  <a:cubicBezTo>
                    <a:pt x="609013" y="590582"/>
                    <a:pt x="609013" y="590928"/>
                    <a:pt x="609013" y="591273"/>
                  </a:cubicBezTo>
                  <a:cubicBezTo>
                    <a:pt x="609013" y="591619"/>
                    <a:pt x="609013" y="592080"/>
                    <a:pt x="609013" y="592425"/>
                  </a:cubicBezTo>
                  <a:cubicBezTo>
                    <a:pt x="609013" y="592771"/>
                    <a:pt x="609013" y="593116"/>
                    <a:pt x="609013" y="593577"/>
                  </a:cubicBezTo>
                  <a:cubicBezTo>
                    <a:pt x="609013" y="593923"/>
                    <a:pt x="609013" y="594383"/>
                    <a:pt x="609128" y="594729"/>
                  </a:cubicBezTo>
                  <a:cubicBezTo>
                    <a:pt x="609704" y="597148"/>
                    <a:pt x="610510" y="599452"/>
                    <a:pt x="611547" y="601756"/>
                  </a:cubicBezTo>
                  <a:cubicBezTo>
                    <a:pt x="612468" y="604059"/>
                    <a:pt x="613735" y="606133"/>
                    <a:pt x="615002" y="608322"/>
                  </a:cubicBezTo>
                  <a:cubicBezTo>
                    <a:pt x="616270" y="610395"/>
                    <a:pt x="617652" y="612584"/>
                    <a:pt x="619034" y="614772"/>
                  </a:cubicBezTo>
                  <a:cubicBezTo>
                    <a:pt x="620416" y="616961"/>
                    <a:pt x="621914" y="619149"/>
                    <a:pt x="623296" y="621338"/>
                  </a:cubicBezTo>
                  <a:cubicBezTo>
                    <a:pt x="624333" y="622835"/>
                    <a:pt x="625370" y="624333"/>
                    <a:pt x="626406" y="625830"/>
                  </a:cubicBezTo>
                  <a:cubicBezTo>
                    <a:pt x="627328" y="627328"/>
                    <a:pt x="628249" y="628825"/>
                    <a:pt x="629171" y="630208"/>
                  </a:cubicBezTo>
                  <a:cubicBezTo>
                    <a:pt x="629977" y="631590"/>
                    <a:pt x="630784" y="632972"/>
                    <a:pt x="631475" y="634009"/>
                  </a:cubicBezTo>
                  <a:cubicBezTo>
                    <a:pt x="632166" y="635161"/>
                    <a:pt x="632627" y="636198"/>
                    <a:pt x="633087" y="636889"/>
                  </a:cubicBezTo>
                  <a:cubicBezTo>
                    <a:pt x="632857" y="636889"/>
                    <a:pt x="632511" y="636889"/>
                    <a:pt x="632166" y="636889"/>
                  </a:cubicBezTo>
                  <a:cubicBezTo>
                    <a:pt x="631820" y="636889"/>
                    <a:pt x="631475" y="636889"/>
                    <a:pt x="631244" y="636774"/>
                  </a:cubicBezTo>
                  <a:cubicBezTo>
                    <a:pt x="630899" y="636774"/>
                    <a:pt x="630438" y="636774"/>
                    <a:pt x="630092" y="636543"/>
                  </a:cubicBezTo>
                  <a:cubicBezTo>
                    <a:pt x="629632" y="636543"/>
                    <a:pt x="629286" y="636428"/>
                    <a:pt x="628825" y="636198"/>
                  </a:cubicBezTo>
                  <a:cubicBezTo>
                    <a:pt x="627558" y="635852"/>
                    <a:pt x="626176" y="635507"/>
                    <a:pt x="624794" y="634931"/>
                  </a:cubicBezTo>
                  <a:cubicBezTo>
                    <a:pt x="623296" y="634470"/>
                    <a:pt x="621799" y="633894"/>
                    <a:pt x="620186" y="633433"/>
                  </a:cubicBezTo>
                  <a:cubicBezTo>
                    <a:pt x="618573" y="632972"/>
                    <a:pt x="616961" y="632396"/>
                    <a:pt x="615463" y="631936"/>
                  </a:cubicBezTo>
                  <a:cubicBezTo>
                    <a:pt x="613851" y="631360"/>
                    <a:pt x="612353" y="630899"/>
                    <a:pt x="610856" y="630553"/>
                  </a:cubicBezTo>
                  <a:cubicBezTo>
                    <a:pt x="609589" y="630323"/>
                    <a:pt x="608321" y="629977"/>
                    <a:pt x="607170" y="629747"/>
                  </a:cubicBezTo>
                  <a:cubicBezTo>
                    <a:pt x="605902" y="629517"/>
                    <a:pt x="604751" y="629286"/>
                    <a:pt x="603483" y="629286"/>
                  </a:cubicBezTo>
                  <a:cubicBezTo>
                    <a:pt x="602332" y="629286"/>
                    <a:pt x="601180" y="629632"/>
                    <a:pt x="600258" y="630208"/>
                  </a:cubicBezTo>
                  <a:cubicBezTo>
                    <a:pt x="599221" y="630784"/>
                    <a:pt x="598300" y="631820"/>
                    <a:pt x="597494" y="633318"/>
                  </a:cubicBezTo>
                  <a:cubicBezTo>
                    <a:pt x="597263" y="633894"/>
                    <a:pt x="597148" y="634355"/>
                    <a:pt x="597033" y="634931"/>
                  </a:cubicBezTo>
                  <a:cubicBezTo>
                    <a:pt x="597033" y="635507"/>
                    <a:pt x="596918" y="636082"/>
                    <a:pt x="596918" y="636658"/>
                  </a:cubicBezTo>
                  <a:cubicBezTo>
                    <a:pt x="596918" y="637234"/>
                    <a:pt x="596918" y="637810"/>
                    <a:pt x="596918" y="638386"/>
                  </a:cubicBezTo>
                  <a:cubicBezTo>
                    <a:pt x="596918" y="638962"/>
                    <a:pt x="597033" y="639538"/>
                    <a:pt x="597148" y="640114"/>
                  </a:cubicBezTo>
                  <a:cubicBezTo>
                    <a:pt x="597609" y="642303"/>
                    <a:pt x="598185" y="644376"/>
                    <a:pt x="598991" y="646450"/>
                  </a:cubicBezTo>
                  <a:cubicBezTo>
                    <a:pt x="599797" y="648523"/>
                    <a:pt x="600719" y="650712"/>
                    <a:pt x="601640" y="652785"/>
                  </a:cubicBezTo>
                  <a:cubicBezTo>
                    <a:pt x="602677" y="654859"/>
                    <a:pt x="603714" y="657047"/>
                    <a:pt x="604866" y="659236"/>
                  </a:cubicBezTo>
                  <a:cubicBezTo>
                    <a:pt x="605902" y="661424"/>
                    <a:pt x="607054" y="663613"/>
                    <a:pt x="608206" y="665802"/>
                  </a:cubicBezTo>
                  <a:cubicBezTo>
                    <a:pt x="609128" y="667529"/>
                    <a:pt x="610049" y="669142"/>
                    <a:pt x="610856" y="670870"/>
                  </a:cubicBezTo>
                  <a:cubicBezTo>
                    <a:pt x="611662" y="672483"/>
                    <a:pt x="612468" y="674095"/>
                    <a:pt x="613159" y="675593"/>
                  </a:cubicBezTo>
                  <a:cubicBezTo>
                    <a:pt x="613851" y="677090"/>
                    <a:pt x="614542" y="678473"/>
                    <a:pt x="615118" y="679740"/>
                  </a:cubicBezTo>
                  <a:cubicBezTo>
                    <a:pt x="615694" y="681007"/>
                    <a:pt x="616154" y="682043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385" y="682850"/>
                  </a:cubicBezTo>
                  <a:lnTo>
                    <a:pt x="616385" y="682850"/>
                  </a:lnTo>
                  <a:cubicBezTo>
                    <a:pt x="616385" y="682850"/>
                    <a:pt x="616385" y="682850"/>
                    <a:pt x="616270" y="682850"/>
                  </a:cubicBezTo>
                  <a:cubicBezTo>
                    <a:pt x="614772" y="682504"/>
                    <a:pt x="612699" y="681583"/>
                    <a:pt x="610395" y="680546"/>
                  </a:cubicBezTo>
                  <a:cubicBezTo>
                    <a:pt x="608091" y="679394"/>
                    <a:pt x="605442" y="678012"/>
                    <a:pt x="602677" y="676630"/>
                  </a:cubicBezTo>
                  <a:cubicBezTo>
                    <a:pt x="599913" y="675247"/>
                    <a:pt x="597148" y="673750"/>
                    <a:pt x="594383" y="672483"/>
                  </a:cubicBezTo>
                  <a:cubicBezTo>
                    <a:pt x="591619" y="671216"/>
                    <a:pt x="588969" y="670179"/>
                    <a:pt x="586666" y="669488"/>
                  </a:cubicBezTo>
                  <a:cubicBezTo>
                    <a:pt x="585975" y="669372"/>
                    <a:pt x="585168" y="669142"/>
                    <a:pt x="584477" y="669027"/>
                  </a:cubicBezTo>
                  <a:cubicBezTo>
                    <a:pt x="583671" y="669027"/>
                    <a:pt x="582980" y="668912"/>
                    <a:pt x="582173" y="669027"/>
                  </a:cubicBezTo>
                  <a:cubicBezTo>
                    <a:pt x="581482" y="669027"/>
                    <a:pt x="580676" y="669372"/>
                    <a:pt x="579985" y="669718"/>
                  </a:cubicBezTo>
                  <a:cubicBezTo>
                    <a:pt x="579293" y="670179"/>
                    <a:pt x="578602" y="670640"/>
                    <a:pt x="578026" y="671446"/>
                  </a:cubicBezTo>
                  <a:cubicBezTo>
                    <a:pt x="577566" y="672137"/>
                    <a:pt x="577335" y="672828"/>
                    <a:pt x="577105" y="673635"/>
                  </a:cubicBezTo>
                  <a:cubicBezTo>
                    <a:pt x="576874" y="674441"/>
                    <a:pt x="576874" y="675132"/>
                    <a:pt x="576759" y="676054"/>
                  </a:cubicBezTo>
                  <a:cubicBezTo>
                    <a:pt x="576759" y="676860"/>
                    <a:pt x="576759" y="677666"/>
                    <a:pt x="576759" y="678473"/>
                  </a:cubicBezTo>
                  <a:cubicBezTo>
                    <a:pt x="576759" y="679279"/>
                    <a:pt x="576990" y="680085"/>
                    <a:pt x="577105" y="680776"/>
                  </a:cubicBezTo>
                  <a:cubicBezTo>
                    <a:pt x="577796" y="684002"/>
                    <a:pt x="578833" y="687688"/>
                    <a:pt x="580215" y="691604"/>
                  </a:cubicBezTo>
                  <a:cubicBezTo>
                    <a:pt x="581597" y="695521"/>
                    <a:pt x="583095" y="699552"/>
                    <a:pt x="584707" y="703354"/>
                  </a:cubicBezTo>
                  <a:cubicBezTo>
                    <a:pt x="586205" y="707270"/>
                    <a:pt x="587702" y="710956"/>
                    <a:pt x="588969" y="714182"/>
                  </a:cubicBezTo>
                  <a:cubicBezTo>
                    <a:pt x="590121" y="717407"/>
                    <a:pt x="591158" y="720287"/>
                    <a:pt x="591504" y="722245"/>
                  </a:cubicBezTo>
                  <a:cubicBezTo>
                    <a:pt x="589891" y="721669"/>
                    <a:pt x="587702" y="720287"/>
                    <a:pt x="585053" y="718444"/>
                  </a:cubicBezTo>
                  <a:cubicBezTo>
                    <a:pt x="582404" y="716601"/>
                    <a:pt x="579409" y="714527"/>
                    <a:pt x="576183" y="712223"/>
                  </a:cubicBezTo>
                  <a:cubicBezTo>
                    <a:pt x="572958" y="710035"/>
                    <a:pt x="569617" y="707731"/>
                    <a:pt x="566507" y="705888"/>
                  </a:cubicBezTo>
                  <a:cubicBezTo>
                    <a:pt x="563282" y="704045"/>
                    <a:pt x="560172" y="702432"/>
                    <a:pt x="557522" y="701626"/>
                  </a:cubicBezTo>
                  <a:cubicBezTo>
                    <a:pt x="556946" y="701511"/>
                    <a:pt x="556370" y="701395"/>
                    <a:pt x="555910" y="701395"/>
                  </a:cubicBezTo>
                  <a:cubicBezTo>
                    <a:pt x="555334" y="701395"/>
                    <a:pt x="554758" y="701395"/>
                    <a:pt x="554297" y="701395"/>
                  </a:cubicBezTo>
                  <a:cubicBezTo>
                    <a:pt x="553721" y="701395"/>
                    <a:pt x="553260" y="701626"/>
                    <a:pt x="552684" y="701856"/>
                  </a:cubicBezTo>
                  <a:cubicBezTo>
                    <a:pt x="552108" y="702087"/>
                    <a:pt x="551648" y="702432"/>
                    <a:pt x="551187" y="702893"/>
                  </a:cubicBezTo>
                  <a:cubicBezTo>
                    <a:pt x="550381" y="703815"/>
                    <a:pt x="549689" y="704851"/>
                    <a:pt x="549344" y="706003"/>
                  </a:cubicBezTo>
                  <a:cubicBezTo>
                    <a:pt x="548998" y="707155"/>
                    <a:pt x="548768" y="708307"/>
                    <a:pt x="548653" y="709459"/>
                  </a:cubicBezTo>
                  <a:cubicBezTo>
                    <a:pt x="548653" y="710726"/>
                    <a:pt x="548653" y="711993"/>
                    <a:pt x="548768" y="713260"/>
                  </a:cubicBezTo>
                  <a:cubicBezTo>
                    <a:pt x="548883" y="714412"/>
                    <a:pt x="549113" y="715794"/>
                    <a:pt x="549229" y="716946"/>
                  </a:cubicBezTo>
                  <a:cubicBezTo>
                    <a:pt x="549689" y="719826"/>
                    <a:pt x="550381" y="722821"/>
                    <a:pt x="551187" y="726046"/>
                  </a:cubicBezTo>
                  <a:cubicBezTo>
                    <a:pt x="551993" y="729272"/>
                    <a:pt x="552800" y="732497"/>
                    <a:pt x="553721" y="735607"/>
                  </a:cubicBezTo>
                  <a:cubicBezTo>
                    <a:pt x="554527" y="738832"/>
                    <a:pt x="555449" y="741827"/>
                    <a:pt x="556140" y="744592"/>
                  </a:cubicBezTo>
                  <a:cubicBezTo>
                    <a:pt x="556831" y="747357"/>
                    <a:pt x="557407" y="749891"/>
                    <a:pt x="557753" y="751964"/>
                  </a:cubicBezTo>
                  <a:lnTo>
                    <a:pt x="557983" y="753922"/>
                  </a:lnTo>
                  <a:cubicBezTo>
                    <a:pt x="557292" y="753462"/>
                    <a:pt x="556486" y="752886"/>
                    <a:pt x="555449" y="752079"/>
                  </a:cubicBezTo>
                  <a:cubicBezTo>
                    <a:pt x="554412" y="751273"/>
                    <a:pt x="553260" y="750467"/>
                    <a:pt x="551993" y="749430"/>
                  </a:cubicBezTo>
                  <a:cubicBezTo>
                    <a:pt x="550841" y="748393"/>
                    <a:pt x="549459" y="747357"/>
                    <a:pt x="548192" y="746205"/>
                  </a:cubicBezTo>
                  <a:cubicBezTo>
                    <a:pt x="546810" y="745053"/>
                    <a:pt x="545427" y="743901"/>
                    <a:pt x="544160" y="742519"/>
                  </a:cubicBezTo>
                  <a:cubicBezTo>
                    <a:pt x="542202" y="740906"/>
                    <a:pt x="540359" y="739178"/>
                    <a:pt x="538516" y="737565"/>
                  </a:cubicBezTo>
                  <a:cubicBezTo>
                    <a:pt x="536673" y="735953"/>
                    <a:pt x="534830" y="734340"/>
                    <a:pt x="533102" y="732843"/>
                  </a:cubicBezTo>
                  <a:cubicBezTo>
                    <a:pt x="531259" y="731345"/>
                    <a:pt x="529416" y="730078"/>
                    <a:pt x="527573" y="728926"/>
                  </a:cubicBezTo>
                  <a:cubicBezTo>
                    <a:pt x="525730" y="727774"/>
                    <a:pt x="523887" y="726968"/>
                    <a:pt x="521928" y="726392"/>
                  </a:cubicBezTo>
                  <a:cubicBezTo>
                    <a:pt x="521468" y="726277"/>
                    <a:pt x="521122" y="726277"/>
                    <a:pt x="520661" y="726277"/>
                  </a:cubicBezTo>
                  <a:cubicBezTo>
                    <a:pt x="520201" y="726277"/>
                    <a:pt x="519855" y="726277"/>
                    <a:pt x="519394" y="726277"/>
                  </a:cubicBezTo>
                  <a:cubicBezTo>
                    <a:pt x="518933" y="726277"/>
                    <a:pt x="518588" y="726277"/>
                    <a:pt x="518127" y="726507"/>
                  </a:cubicBezTo>
                  <a:cubicBezTo>
                    <a:pt x="517782" y="726507"/>
                    <a:pt x="517321" y="726737"/>
                    <a:pt x="516860" y="726968"/>
                  </a:cubicBezTo>
                  <a:cubicBezTo>
                    <a:pt x="515708" y="727774"/>
                    <a:pt x="514902" y="728696"/>
                    <a:pt x="514326" y="729732"/>
                  </a:cubicBezTo>
                  <a:cubicBezTo>
                    <a:pt x="513750" y="730769"/>
                    <a:pt x="513404" y="731921"/>
                    <a:pt x="513174" y="733188"/>
                  </a:cubicBezTo>
                  <a:cubicBezTo>
                    <a:pt x="512944" y="734455"/>
                    <a:pt x="512944" y="735838"/>
                    <a:pt x="512828" y="737105"/>
                  </a:cubicBezTo>
                  <a:cubicBezTo>
                    <a:pt x="512828" y="738372"/>
                    <a:pt x="512828" y="739754"/>
                    <a:pt x="512828" y="741136"/>
                  </a:cubicBezTo>
                  <a:cubicBezTo>
                    <a:pt x="512828" y="743094"/>
                    <a:pt x="513059" y="745283"/>
                    <a:pt x="513289" y="747472"/>
                  </a:cubicBezTo>
                  <a:cubicBezTo>
                    <a:pt x="513520" y="749660"/>
                    <a:pt x="513750" y="751964"/>
                    <a:pt x="514096" y="754268"/>
                  </a:cubicBezTo>
                  <a:cubicBezTo>
                    <a:pt x="514441" y="756572"/>
                    <a:pt x="514787" y="758876"/>
                    <a:pt x="515017" y="761064"/>
                  </a:cubicBezTo>
                  <a:cubicBezTo>
                    <a:pt x="515363" y="763253"/>
                    <a:pt x="515708" y="765441"/>
                    <a:pt x="515823" y="767515"/>
                  </a:cubicBezTo>
                  <a:cubicBezTo>
                    <a:pt x="515823" y="768436"/>
                    <a:pt x="516054" y="769473"/>
                    <a:pt x="516054" y="770279"/>
                  </a:cubicBezTo>
                  <a:cubicBezTo>
                    <a:pt x="516054" y="771201"/>
                    <a:pt x="516169" y="772007"/>
                    <a:pt x="516284" y="772929"/>
                  </a:cubicBezTo>
                  <a:cubicBezTo>
                    <a:pt x="516284" y="773735"/>
                    <a:pt x="516284" y="774426"/>
                    <a:pt x="516399" y="775117"/>
                  </a:cubicBezTo>
                  <a:cubicBezTo>
                    <a:pt x="516399" y="775809"/>
                    <a:pt x="516399" y="776385"/>
                    <a:pt x="516399" y="776845"/>
                  </a:cubicBezTo>
                  <a:cubicBezTo>
                    <a:pt x="515593" y="776154"/>
                    <a:pt x="514441" y="775233"/>
                    <a:pt x="513289" y="774081"/>
                  </a:cubicBezTo>
                  <a:cubicBezTo>
                    <a:pt x="512022" y="772814"/>
                    <a:pt x="510755" y="771431"/>
                    <a:pt x="509373" y="769934"/>
                  </a:cubicBezTo>
                  <a:cubicBezTo>
                    <a:pt x="507990" y="768321"/>
                    <a:pt x="506493" y="766709"/>
                    <a:pt x="504880" y="764981"/>
                  </a:cubicBezTo>
                  <a:cubicBezTo>
                    <a:pt x="503383" y="763253"/>
                    <a:pt x="501770" y="761410"/>
                    <a:pt x="500157" y="759682"/>
                  </a:cubicBezTo>
                  <a:cubicBezTo>
                    <a:pt x="498430" y="757839"/>
                    <a:pt x="496817" y="755881"/>
                    <a:pt x="495089" y="754153"/>
                  </a:cubicBezTo>
                  <a:cubicBezTo>
                    <a:pt x="493476" y="752310"/>
                    <a:pt x="491749" y="750582"/>
                    <a:pt x="490136" y="749084"/>
                  </a:cubicBezTo>
                  <a:cubicBezTo>
                    <a:pt x="488523" y="747472"/>
                    <a:pt x="486795" y="746089"/>
                    <a:pt x="484952" y="744938"/>
                  </a:cubicBezTo>
                  <a:cubicBezTo>
                    <a:pt x="483224" y="743786"/>
                    <a:pt x="481266" y="742749"/>
                    <a:pt x="479193" y="742058"/>
                  </a:cubicBezTo>
                  <a:cubicBezTo>
                    <a:pt x="478962" y="742058"/>
                    <a:pt x="478617" y="741943"/>
                    <a:pt x="478386" y="741943"/>
                  </a:cubicBezTo>
                  <a:cubicBezTo>
                    <a:pt x="478041" y="741943"/>
                    <a:pt x="477810" y="741943"/>
                    <a:pt x="477465" y="741943"/>
                  </a:cubicBezTo>
                  <a:cubicBezTo>
                    <a:pt x="477119" y="741943"/>
                    <a:pt x="476774" y="741943"/>
                    <a:pt x="476543" y="741943"/>
                  </a:cubicBezTo>
                  <a:cubicBezTo>
                    <a:pt x="476198" y="741943"/>
                    <a:pt x="475852" y="741943"/>
                    <a:pt x="475507" y="742173"/>
                  </a:cubicBezTo>
                  <a:cubicBezTo>
                    <a:pt x="474240" y="742634"/>
                    <a:pt x="473203" y="743325"/>
                    <a:pt x="472397" y="744246"/>
                  </a:cubicBezTo>
                  <a:cubicBezTo>
                    <a:pt x="471590" y="745168"/>
                    <a:pt x="471129" y="746205"/>
                    <a:pt x="470669" y="747241"/>
                  </a:cubicBezTo>
                  <a:cubicBezTo>
                    <a:pt x="470208" y="748393"/>
                    <a:pt x="469977" y="749660"/>
                    <a:pt x="469747" y="750812"/>
                  </a:cubicBezTo>
                  <a:cubicBezTo>
                    <a:pt x="469517" y="752079"/>
                    <a:pt x="469402" y="753346"/>
                    <a:pt x="469056" y="754614"/>
                  </a:cubicBezTo>
                  <a:cubicBezTo>
                    <a:pt x="468826" y="756572"/>
                    <a:pt x="468710" y="758645"/>
                    <a:pt x="468595" y="760834"/>
                  </a:cubicBezTo>
                  <a:cubicBezTo>
                    <a:pt x="468480" y="763023"/>
                    <a:pt x="468480" y="765211"/>
                    <a:pt x="468480" y="767400"/>
                  </a:cubicBezTo>
                  <a:cubicBezTo>
                    <a:pt x="468480" y="769588"/>
                    <a:pt x="468480" y="771892"/>
                    <a:pt x="468480" y="774081"/>
                  </a:cubicBezTo>
                  <a:cubicBezTo>
                    <a:pt x="468480" y="776269"/>
                    <a:pt x="468480" y="778343"/>
                    <a:pt x="468480" y="780416"/>
                  </a:cubicBezTo>
                  <a:cubicBezTo>
                    <a:pt x="468480" y="781338"/>
                    <a:pt x="468480" y="782375"/>
                    <a:pt x="468365" y="783181"/>
                  </a:cubicBezTo>
                  <a:cubicBezTo>
                    <a:pt x="468365" y="784102"/>
                    <a:pt x="468365" y="784909"/>
                    <a:pt x="468250" y="785715"/>
                  </a:cubicBezTo>
                  <a:cubicBezTo>
                    <a:pt x="468250" y="786521"/>
                    <a:pt x="468134" y="787213"/>
                    <a:pt x="468019" y="787904"/>
                  </a:cubicBezTo>
                  <a:cubicBezTo>
                    <a:pt x="468019" y="788480"/>
                    <a:pt x="467789" y="789056"/>
                    <a:pt x="467674" y="789516"/>
                  </a:cubicBezTo>
                  <a:cubicBezTo>
                    <a:pt x="466867" y="788710"/>
                    <a:pt x="465946" y="787558"/>
                    <a:pt x="464794" y="786061"/>
                  </a:cubicBezTo>
                  <a:cubicBezTo>
                    <a:pt x="463642" y="784678"/>
                    <a:pt x="462490" y="783066"/>
                    <a:pt x="461108" y="781223"/>
                  </a:cubicBezTo>
                  <a:cubicBezTo>
                    <a:pt x="459841" y="779380"/>
                    <a:pt x="458458" y="777421"/>
                    <a:pt x="456961" y="775463"/>
                  </a:cubicBezTo>
                  <a:cubicBezTo>
                    <a:pt x="455579" y="773390"/>
                    <a:pt x="454081" y="771431"/>
                    <a:pt x="452699" y="769358"/>
                  </a:cubicBezTo>
                  <a:cubicBezTo>
                    <a:pt x="450971" y="767169"/>
                    <a:pt x="449358" y="764866"/>
                    <a:pt x="447861" y="762677"/>
                  </a:cubicBezTo>
                  <a:cubicBezTo>
                    <a:pt x="446248" y="760488"/>
                    <a:pt x="444751" y="758300"/>
                    <a:pt x="443023" y="756457"/>
                  </a:cubicBezTo>
                  <a:cubicBezTo>
                    <a:pt x="441410" y="754498"/>
                    <a:pt x="439682" y="752771"/>
                    <a:pt x="437609" y="751273"/>
                  </a:cubicBezTo>
                  <a:cubicBezTo>
                    <a:pt x="435651" y="749776"/>
                    <a:pt x="433462" y="748508"/>
                    <a:pt x="430928" y="747587"/>
                  </a:cubicBezTo>
                  <a:lnTo>
                    <a:pt x="428739" y="747587"/>
                  </a:lnTo>
                  <a:cubicBezTo>
                    <a:pt x="427242" y="747587"/>
                    <a:pt x="426090" y="748163"/>
                    <a:pt x="425168" y="748739"/>
                  </a:cubicBezTo>
                  <a:cubicBezTo>
                    <a:pt x="424247" y="749315"/>
                    <a:pt x="423441" y="750236"/>
                    <a:pt x="422865" y="751158"/>
                  </a:cubicBezTo>
                  <a:cubicBezTo>
                    <a:pt x="422289" y="752195"/>
                    <a:pt x="421713" y="753231"/>
                    <a:pt x="421367" y="754383"/>
                  </a:cubicBezTo>
                  <a:cubicBezTo>
                    <a:pt x="420906" y="755535"/>
                    <a:pt x="420561" y="756687"/>
                    <a:pt x="420215" y="757839"/>
                  </a:cubicBezTo>
                  <a:cubicBezTo>
                    <a:pt x="419639" y="759682"/>
                    <a:pt x="419179" y="761640"/>
                    <a:pt x="418718" y="763598"/>
                  </a:cubicBezTo>
                  <a:cubicBezTo>
                    <a:pt x="418257" y="765672"/>
                    <a:pt x="417911" y="767745"/>
                    <a:pt x="417451" y="769819"/>
                  </a:cubicBezTo>
                  <a:cubicBezTo>
                    <a:pt x="417105" y="771892"/>
                    <a:pt x="416760" y="773966"/>
                    <a:pt x="416414" y="776039"/>
                  </a:cubicBezTo>
                  <a:cubicBezTo>
                    <a:pt x="416068" y="778112"/>
                    <a:pt x="415723" y="780186"/>
                    <a:pt x="415377" y="782029"/>
                  </a:cubicBezTo>
                  <a:cubicBezTo>
                    <a:pt x="415262" y="782950"/>
                    <a:pt x="415032" y="783757"/>
                    <a:pt x="414801" y="784563"/>
                  </a:cubicBezTo>
                  <a:cubicBezTo>
                    <a:pt x="414571" y="785369"/>
                    <a:pt x="414341" y="786176"/>
                    <a:pt x="414110" y="786867"/>
                  </a:cubicBezTo>
                  <a:cubicBezTo>
                    <a:pt x="413880" y="787558"/>
                    <a:pt x="413649" y="788249"/>
                    <a:pt x="413534" y="788825"/>
                  </a:cubicBezTo>
                  <a:cubicBezTo>
                    <a:pt x="413304" y="789401"/>
                    <a:pt x="413073" y="789977"/>
                    <a:pt x="412843" y="790323"/>
                  </a:cubicBezTo>
                  <a:cubicBezTo>
                    <a:pt x="412613" y="789977"/>
                    <a:pt x="412382" y="789747"/>
                    <a:pt x="412152" y="789401"/>
                  </a:cubicBezTo>
                  <a:cubicBezTo>
                    <a:pt x="411922" y="789056"/>
                    <a:pt x="411576" y="788595"/>
                    <a:pt x="411346" y="788249"/>
                  </a:cubicBezTo>
                  <a:cubicBezTo>
                    <a:pt x="411115" y="787788"/>
                    <a:pt x="410770" y="787443"/>
                    <a:pt x="410424" y="786982"/>
                  </a:cubicBezTo>
                  <a:cubicBezTo>
                    <a:pt x="410078" y="786521"/>
                    <a:pt x="409848" y="785945"/>
                    <a:pt x="409502" y="785485"/>
                  </a:cubicBezTo>
                  <a:cubicBezTo>
                    <a:pt x="408466" y="783872"/>
                    <a:pt x="407429" y="782029"/>
                    <a:pt x="406392" y="780186"/>
                  </a:cubicBezTo>
                  <a:cubicBezTo>
                    <a:pt x="405356" y="778228"/>
                    <a:pt x="404204" y="776269"/>
                    <a:pt x="403052" y="774196"/>
                  </a:cubicBezTo>
                  <a:cubicBezTo>
                    <a:pt x="401900" y="772123"/>
                    <a:pt x="400748" y="769934"/>
                    <a:pt x="399596" y="767860"/>
                  </a:cubicBezTo>
                  <a:cubicBezTo>
                    <a:pt x="398444" y="765787"/>
                    <a:pt x="397177" y="763598"/>
                    <a:pt x="396025" y="761640"/>
                  </a:cubicBezTo>
                  <a:cubicBezTo>
                    <a:pt x="394758" y="759682"/>
                    <a:pt x="393606" y="757609"/>
                    <a:pt x="392454" y="755650"/>
                  </a:cubicBezTo>
                  <a:cubicBezTo>
                    <a:pt x="391302" y="753692"/>
                    <a:pt x="390035" y="751849"/>
                    <a:pt x="388653" y="750006"/>
                  </a:cubicBezTo>
                  <a:cubicBezTo>
                    <a:pt x="387271" y="748278"/>
                    <a:pt x="385773" y="746665"/>
                    <a:pt x="384045" y="745283"/>
                  </a:cubicBezTo>
                  <a:cubicBezTo>
                    <a:pt x="382318" y="743901"/>
                    <a:pt x="380244" y="742749"/>
                    <a:pt x="377825" y="741943"/>
                  </a:cubicBezTo>
                  <a:cubicBezTo>
                    <a:pt x="376097" y="741712"/>
                    <a:pt x="374715" y="741943"/>
                    <a:pt x="373448" y="742173"/>
                  </a:cubicBezTo>
                  <a:cubicBezTo>
                    <a:pt x="372181" y="742519"/>
                    <a:pt x="371259" y="743210"/>
                    <a:pt x="370338" y="743901"/>
                  </a:cubicBezTo>
                  <a:cubicBezTo>
                    <a:pt x="369416" y="744707"/>
                    <a:pt x="368725" y="745629"/>
                    <a:pt x="368034" y="746550"/>
                  </a:cubicBezTo>
                  <a:cubicBezTo>
                    <a:pt x="367343" y="747472"/>
                    <a:pt x="366767" y="748508"/>
                    <a:pt x="366191" y="749430"/>
                  </a:cubicBezTo>
                  <a:cubicBezTo>
                    <a:pt x="365269" y="750927"/>
                    <a:pt x="364463" y="752655"/>
                    <a:pt x="363657" y="754498"/>
                  </a:cubicBezTo>
                  <a:cubicBezTo>
                    <a:pt x="362850" y="756341"/>
                    <a:pt x="362044" y="758184"/>
                    <a:pt x="361353" y="760028"/>
                  </a:cubicBezTo>
                  <a:cubicBezTo>
                    <a:pt x="360546" y="761986"/>
                    <a:pt x="359855" y="763829"/>
                    <a:pt x="359164" y="765787"/>
                  </a:cubicBezTo>
                  <a:cubicBezTo>
                    <a:pt x="358473" y="767630"/>
                    <a:pt x="357782" y="769473"/>
                    <a:pt x="357091" y="771086"/>
                  </a:cubicBezTo>
                  <a:cubicBezTo>
                    <a:pt x="356745" y="771892"/>
                    <a:pt x="356400" y="772698"/>
                    <a:pt x="356054" y="773505"/>
                  </a:cubicBezTo>
                  <a:cubicBezTo>
                    <a:pt x="355708" y="774311"/>
                    <a:pt x="355363" y="775002"/>
                    <a:pt x="355017" y="775693"/>
                  </a:cubicBezTo>
                  <a:cubicBezTo>
                    <a:pt x="354672" y="776385"/>
                    <a:pt x="354326" y="776961"/>
                    <a:pt x="353981" y="777421"/>
                  </a:cubicBezTo>
                  <a:cubicBezTo>
                    <a:pt x="353635" y="777882"/>
                    <a:pt x="353289" y="778343"/>
                    <a:pt x="353059" y="778804"/>
                  </a:cubicBezTo>
                  <a:lnTo>
                    <a:pt x="353059" y="778804"/>
                  </a:lnTo>
                  <a:cubicBezTo>
                    <a:pt x="352368" y="777767"/>
                    <a:pt x="351446" y="776154"/>
                    <a:pt x="350640" y="774311"/>
                  </a:cubicBezTo>
                  <a:cubicBezTo>
                    <a:pt x="349719" y="772468"/>
                    <a:pt x="348797" y="770279"/>
                    <a:pt x="347760" y="767860"/>
                  </a:cubicBezTo>
                  <a:cubicBezTo>
                    <a:pt x="346724" y="765557"/>
                    <a:pt x="345687" y="763023"/>
                    <a:pt x="344650" y="760488"/>
                  </a:cubicBezTo>
                  <a:cubicBezTo>
                    <a:pt x="343614" y="757954"/>
                    <a:pt x="342577" y="755305"/>
                    <a:pt x="341655" y="752771"/>
                  </a:cubicBezTo>
                  <a:cubicBezTo>
                    <a:pt x="340388" y="750121"/>
                    <a:pt x="339236" y="747587"/>
                    <a:pt x="338200" y="745053"/>
                  </a:cubicBezTo>
                  <a:cubicBezTo>
                    <a:pt x="337163" y="742519"/>
                    <a:pt x="336011" y="739984"/>
                    <a:pt x="334744" y="737681"/>
                  </a:cubicBezTo>
                  <a:cubicBezTo>
                    <a:pt x="333477" y="735262"/>
                    <a:pt x="331979" y="733073"/>
                    <a:pt x="330021" y="730999"/>
                  </a:cubicBezTo>
                  <a:cubicBezTo>
                    <a:pt x="328178" y="728926"/>
                    <a:pt x="325874" y="727083"/>
                    <a:pt x="322994" y="725470"/>
                  </a:cubicBezTo>
                  <a:lnTo>
                    <a:pt x="321151" y="725010"/>
                  </a:lnTo>
                  <a:cubicBezTo>
                    <a:pt x="318272" y="724779"/>
                    <a:pt x="315853" y="725355"/>
                    <a:pt x="313779" y="726277"/>
                  </a:cubicBezTo>
                  <a:cubicBezTo>
                    <a:pt x="311821" y="727313"/>
                    <a:pt x="310093" y="728696"/>
                    <a:pt x="308596" y="730424"/>
                  </a:cubicBezTo>
                  <a:cubicBezTo>
                    <a:pt x="307098" y="732151"/>
                    <a:pt x="305831" y="734110"/>
                    <a:pt x="304449" y="736183"/>
                  </a:cubicBezTo>
                  <a:cubicBezTo>
                    <a:pt x="303066" y="738257"/>
                    <a:pt x="301684" y="740330"/>
                    <a:pt x="300187" y="742288"/>
                  </a:cubicBezTo>
                  <a:cubicBezTo>
                    <a:pt x="299496" y="743325"/>
                    <a:pt x="298804" y="744362"/>
                    <a:pt x="298113" y="745283"/>
                  </a:cubicBezTo>
                  <a:cubicBezTo>
                    <a:pt x="297422" y="746320"/>
                    <a:pt x="296731" y="747241"/>
                    <a:pt x="296155" y="748163"/>
                  </a:cubicBezTo>
                  <a:cubicBezTo>
                    <a:pt x="295464" y="749084"/>
                    <a:pt x="294888" y="749891"/>
                    <a:pt x="294197" y="750697"/>
                  </a:cubicBezTo>
                  <a:cubicBezTo>
                    <a:pt x="293621" y="751503"/>
                    <a:pt x="293045" y="752195"/>
                    <a:pt x="292354" y="752771"/>
                  </a:cubicBezTo>
                  <a:lnTo>
                    <a:pt x="290395" y="754844"/>
                  </a:lnTo>
                  <a:cubicBezTo>
                    <a:pt x="289819" y="753462"/>
                    <a:pt x="289128" y="751849"/>
                    <a:pt x="288552" y="749776"/>
                  </a:cubicBezTo>
                  <a:cubicBezTo>
                    <a:pt x="287861" y="747817"/>
                    <a:pt x="287170" y="745513"/>
                    <a:pt x="286479" y="743094"/>
                  </a:cubicBezTo>
                  <a:cubicBezTo>
                    <a:pt x="285788" y="740675"/>
                    <a:pt x="285097" y="738026"/>
                    <a:pt x="284406" y="735377"/>
                  </a:cubicBezTo>
                  <a:cubicBezTo>
                    <a:pt x="283714" y="732727"/>
                    <a:pt x="283023" y="729963"/>
                    <a:pt x="282332" y="727429"/>
                  </a:cubicBezTo>
                  <a:cubicBezTo>
                    <a:pt x="281411" y="724664"/>
                    <a:pt x="280719" y="722015"/>
                    <a:pt x="280028" y="719365"/>
                  </a:cubicBezTo>
                  <a:cubicBezTo>
                    <a:pt x="279337" y="716716"/>
                    <a:pt x="278531" y="714182"/>
                    <a:pt x="277609" y="711648"/>
                  </a:cubicBezTo>
                  <a:cubicBezTo>
                    <a:pt x="276573" y="709113"/>
                    <a:pt x="275421" y="706694"/>
                    <a:pt x="273693" y="704390"/>
                  </a:cubicBezTo>
                  <a:cubicBezTo>
                    <a:pt x="272080" y="702087"/>
                    <a:pt x="269892" y="699783"/>
                    <a:pt x="267127" y="697709"/>
                  </a:cubicBezTo>
                  <a:lnTo>
                    <a:pt x="263095" y="696097"/>
                  </a:lnTo>
                  <a:cubicBezTo>
                    <a:pt x="260446" y="695751"/>
                    <a:pt x="258142" y="696097"/>
                    <a:pt x="255953" y="696673"/>
                  </a:cubicBezTo>
                  <a:cubicBezTo>
                    <a:pt x="253880" y="697364"/>
                    <a:pt x="252037" y="698401"/>
                    <a:pt x="250194" y="699552"/>
                  </a:cubicBezTo>
                  <a:cubicBezTo>
                    <a:pt x="248466" y="700820"/>
                    <a:pt x="246738" y="702317"/>
                    <a:pt x="245010" y="703815"/>
                  </a:cubicBezTo>
                  <a:cubicBezTo>
                    <a:pt x="243283" y="705312"/>
                    <a:pt x="241555" y="706925"/>
                    <a:pt x="239712" y="708422"/>
                  </a:cubicBezTo>
                  <a:cubicBezTo>
                    <a:pt x="238905" y="709228"/>
                    <a:pt x="237984" y="709920"/>
                    <a:pt x="237177" y="710726"/>
                  </a:cubicBezTo>
                  <a:cubicBezTo>
                    <a:pt x="236371" y="711532"/>
                    <a:pt x="235565" y="712223"/>
                    <a:pt x="234643" y="712915"/>
                  </a:cubicBezTo>
                  <a:cubicBezTo>
                    <a:pt x="233837" y="713606"/>
                    <a:pt x="233030" y="714297"/>
                    <a:pt x="232339" y="714873"/>
                  </a:cubicBezTo>
                  <a:cubicBezTo>
                    <a:pt x="231648" y="715449"/>
                    <a:pt x="230842" y="716025"/>
                    <a:pt x="230151" y="716485"/>
                  </a:cubicBezTo>
                  <a:lnTo>
                    <a:pt x="227041" y="718213"/>
                  </a:lnTo>
                  <a:cubicBezTo>
                    <a:pt x="226695" y="716831"/>
                    <a:pt x="226350" y="715103"/>
                    <a:pt x="225889" y="713145"/>
                  </a:cubicBezTo>
                  <a:cubicBezTo>
                    <a:pt x="225543" y="711187"/>
                    <a:pt x="225198" y="708883"/>
                    <a:pt x="224852" y="706464"/>
                  </a:cubicBezTo>
                  <a:cubicBezTo>
                    <a:pt x="224506" y="704045"/>
                    <a:pt x="224276" y="701395"/>
                    <a:pt x="223931" y="698861"/>
                  </a:cubicBezTo>
                  <a:cubicBezTo>
                    <a:pt x="223585" y="696212"/>
                    <a:pt x="223355" y="693563"/>
                    <a:pt x="223009" y="690913"/>
                  </a:cubicBezTo>
                  <a:cubicBezTo>
                    <a:pt x="222548" y="688149"/>
                    <a:pt x="222203" y="685499"/>
                    <a:pt x="221857" y="682850"/>
                  </a:cubicBezTo>
                  <a:cubicBezTo>
                    <a:pt x="221511" y="680200"/>
                    <a:pt x="221166" y="677666"/>
                    <a:pt x="220475" y="675132"/>
                  </a:cubicBezTo>
                  <a:cubicBezTo>
                    <a:pt x="219899" y="672598"/>
                    <a:pt x="218862" y="670064"/>
                    <a:pt x="217480" y="667414"/>
                  </a:cubicBezTo>
                  <a:cubicBezTo>
                    <a:pt x="216098" y="664880"/>
                    <a:pt x="214139" y="662231"/>
                    <a:pt x="211490" y="659697"/>
                  </a:cubicBezTo>
                  <a:cubicBezTo>
                    <a:pt x="211029" y="659236"/>
                    <a:pt x="210453" y="658890"/>
                    <a:pt x="209877" y="658545"/>
                  </a:cubicBezTo>
                  <a:cubicBezTo>
                    <a:pt x="209301" y="658199"/>
                    <a:pt x="208840" y="657969"/>
                    <a:pt x="208265" y="657623"/>
                  </a:cubicBezTo>
                  <a:cubicBezTo>
                    <a:pt x="207689" y="657393"/>
                    <a:pt x="207228" y="657162"/>
                    <a:pt x="206652" y="657047"/>
                  </a:cubicBezTo>
                  <a:cubicBezTo>
                    <a:pt x="206191" y="656817"/>
                    <a:pt x="205615" y="656702"/>
                    <a:pt x="205154" y="656702"/>
                  </a:cubicBezTo>
                  <a:cubicBezTo>
                    <a:pt x="202735" y="656356"/>
                    <a:pt x="200547" y="656356"/>
                    <a:pt x="198473" y="656702"/>
                  </a:cubicBezTo>
                  <a:cubicBezTo>
                    <a:pt x="196400" y="656932"/>
                    <a:pt x="194327" y="657623"/>
                    <a:pt x="192368" y="658314"/>
                  </a:cubicBezTo>
                  <a:cubicBezTo>
                    <a:pt x="190410" y="659121"/>
                    <a:pt x="188452" y="659927"/>
                    <a:pt x="186494" y="660964"/>
                  </a:cubicBezTo>
                  <a:cubicBezTo>
                    <a:pt x="184535" y="661885"/>
                    <a:pt x="182577" y="662922"/>
                    <a:pt x="180619" y="663959"/>
                  </a:cubicBezTo>
                  <a:cubicBezTo>
                    <a:pt x="179237" y="664765"/>
                    <a:pt x="177739" y="665456"/>
                    <a:pt x="176357" y="666147"/>
                  </a:cubicBezTo>
                  <a:cubicBezTo>
                    <a:pt x="174975" y="666838"/>
                    <a:pt x="173477" y="667414"/>
                    <a:pt x="172210" y="667990"/>
                  </a:cubicBezTo>
                  <a:cubicBezTo>
                    <a:pt x="170943" y="668566"/>
                    <a:pt x="169561" y="669027"/>
                    <a:pt x="168524" y="669372"/>
                  </a:cubicBezTo>
                  <a:cubicBezTo>
                    <a:pt x="167372" y="669718"/>
                    <a:pt x="166450" y="670064"/>
                    <a:pt x="165644" y="670179"/>
                  </a:cubicBezTo>
                  <a:lnTo>
                    <a:pt x="165298" y="667990"/>
                  </a:lnTo>
                  <a:cubicBezTo>
                    <a:pt x="165183" y="665686"/>
                    <a:pt x="165068" y="662922"/>
                    <a:pt x="165298" y="659927"/>
                  </a:cubicBezTo>
                  <a:cubicBezTo>
                    <a:pt x="165298" y="656932"/>
                    <a:pt x="165529" y="653707"/>
                    <a:pt x="165759" y="650366"/>
                  </a:cubicBezTo>
                  <a:cubicBezTo>
                    <a:pt x="165874" y="647026"/>
                    <a:pt x="166105" y="643570"/>
                    <a:pt x="166220" y="640229"/>
                  </a:cubicBezTo>
                  <a:cubicBezTo>
                    <a:pt x="166220" y="636889"/>
                    <a:pt x="166220" y="633548"/>
                    <a:pt x="165990" y="630438"/>
                  </a:cubicBezTo>
                  <a:cubicBezTo>
                    <a:pt x="165759" y="629056"/>
                    <a:pt x="165644" y="627674"/>
                    <a:pt x="165414" y="626291"/>
                  </a:cubicBezTo>
                  <a:cubicBezTo>
                    <a:pt x="165183" y="624909"/>
                    <a:pt x="164953" y="623411"/>
                    <a:pt x="164492" y="621914"/>
                  </a:cubicBezTo>
                  <a:cubicBezTo>
                    <a:pt x="164031" y="620417"/>
                    <a:pt x="163455" y="618919"/>
                    <a:pt x="162534" y="617306"/>
                  </a:cubicBezTo>
                  <a:cubicBezTo>
                    <a:pt x="161728" y="615809"/>
                    <a:pt x="160576" y="614081"/>
                    <a:pt x="159078" y="612468"/>
                  </a:cubicBezTo>
                  <a:cubicBezTo>
                    <a:pt x="158272" y="611662"/>
                    <a:pt x="157465" y="610971"/>
                    <a:pt x="156659" y="610395"/>
                  </a:cubicBezTo>
                  <a:cubicBezTo>
                    <a:pt x="155853" y="609819"/>
                    <a:pt x="155047" y="609243"/>
                    <a:pt x="154355" y="608897"/>
                  </a:cubicBezTo>
                  <a:cubicBezTo>
                    <a:pt x="153549" y="608437"/>
                    <a:pt x="152743" y="608091"/>
                    <a:pt x="152052" y="607861"/>
                  </a:cubicBezTo>
                  <a:cubicBezTo>
                    <a:pt x="151360" y="607630"/>
                    <a:pt x="150669" y="607400"/>
                    <a:pt x="149978" y="607285"/>
                  </a:cubicBezTo>
                  <a:cubicBezTo>
                    <a:pt x="146522" y="606709"/>
                    <a:pt x="142721" y="606709"/>
                    <a:pt x="138920" y="607170"/>
                  </a:cubicBezTo>
                  <a:cubicBezTo>
                    <a:pt x="135003" y="607630"/>
                    <a:pt x="131087" y="608322"/>
                    <a:pt x="127286" y="609243"/>
                  </a:cubicBezTo>
                  <a:cubicBezTo>
                    <a:pt x="123484" y="610049"/>
                    <a:pt x="119798" y="610971"/>
                    <a:pt x="116688" y="611662"/>
                  </a:cubicBezTo>
                  <a:cubicBezTo>
                    <a:pt x="113463" y="612353"/>
                    <a:pt x="110698" y="612699"/>
                    <a:pt x="108740" y="612584"/>
                  </a:cubicBezTo>
                  <a:cubicBezTo>
                    <a:pt x="108740" y="610280"/>
                    <a:pt x="109085" y="607400"/>
                    <a:pt x="109777" y="604059"/>
                  </a:cubicBezTo>
                  <a:cubicBezTo>
                    <a:pt x="110468" y="600834"/>
                    <a:pt x="111389" y="597033"/>
                    <a:pt x="112311" y="593116"/>
                  </a:cubicBezTo>
                  <a:cubicBezTo>
                    <a:pt x="113232" y="589200"/>
                    <a:pt x="114154" y="585168"/>
                    <a:pt x="114845" y="581137"/>
                  </a:cubicBezTo>
                  <a:cubicBezTo>
                    <a:pt x="115536" y="577105"/>
                    <a:pt x="115882" y="573188"/>
                    <a:pt x="115766" y="569617"/>
                  </a:cubicBezTo>
                  <a:cubicBezTo>
                    <a:pt x="115766" y="568811"/>
                    <a:pt x="115651" y="567774"/>
                    <a:pt x="115421" y="566853"/>
                  </a:cubicBezTo>
                  <a:cubicBezTo>
                    <a:pt x="115306" y="565931"/>
                    <a:pt x="115075" y="564895"/>
                    <a:pt x="114730" y="563858"/>
                  </a:cubicBezTo>
                  <a:cubicBezTo>
                    <a:pt x="114384" y="562821"/>
                    <a:pt x="113923" y="561785"/>
                    <a:pt x="113463" y="560633"/>
                  </a:cubicBezTo>
                  <a:cubicBezTo>
                    <a:pt x="112887" y="559596"/>
                    <a:pt x="112196" y="558444"/>
                    <a:pt x="111389" y="557292"/>
                  </a:cubicBezTo>
                  <a:cubicBezTo>
                    <a:pt x="110237" y="555910"/>
                    <a:pt x="109201" y="554758"/>
                    <a:pt x="108049" y="553836"/>
                  </a:cubicBezTo>
                  <a:cubicBezTo>
                    <a:pt x="106897" y="552915"/>
                    <a:pt x="105860" y="552224"/>
                    <a:pt x="104708" y="551533"/>
                  </a:cubicBezTo>
                  <a:cubicBezTo>
                    <a:pt x="103556" y="550957"/>
                    <a:pt x="102520" y="550496"/>
                    <a:pt x="101483" y="550150"/>
                  </a:cubicBezTo>
                  <a:cubicBezTo>
                    <a:pt x="100446" y="549805"/>
                    <a:pt x="99409" y="549459"/>
                    <a:pt x="98373" y="549229"/>
                  </a:cubicBezTo>
                  <a:cubicBezTo>
                    <a:pt x="95147" y="548538"/>
                    <a:pt x="91692" y="548077"/>
                    <a:pt x="88121" y="547846"/>
                  </a:cubicBezTo>
                  <a:cubicBezTo>
                    <a:pt x="84550" y="547616"/>
                    <a:pt x="80749" y="547501"/>
                    <a:pt x="77178" y="547501"/>
                  </a:cubicBezTo>
                  <a:cubicBezTo>
                    <a:pt x="73607" y="547501"/>
                    <a:pt x="70151" y="547501"/>
                    <a:pt x="67041" y="547386"/>
                  </a:cubicBezTo>
                  <a:cubicBezTo>
                    <a:pt x="63931" y="547386"/>
                    <a:pt x="61166" y="547040"/>
                    <a:pt x="58978" y="546464"/>
                  </a:cubicBezTo>
                  <a:cubicBezTo>
                    <a:pt x="58978" y="546464"/>
                    <a:pt x="58978" y="546464"/>
                    <a:pt x="58862" y="546464"/>
                  </a:cubicBezTo>
                  <a:cubicBezTo>
                    <a:pt x="58862" y="546464"/>
                    <a:pt x="58862" y="546464"/>
                    <a:pt x="58862" y="546464"/>
                  </a:cubicBezTo>
                  <a:cubicBezTo>
                    <a:pt x="58862" y="546464"/>
                    <a:pt x="58747" y="546464"/>
                    <a:pt x="58747" y="546464"/>
                  </a:cubicBezTo>
                  <a:cubicBezTo>
                    <a:pt x="58747" y="546464"/>
                    <a:pt x="58747" y="546464"/>
                    <a:pt x="58632" y="546464"/>
                  </a:cubicBezTo>
                  <a:cubicBezTo>
                    <a:pt x="58862" y="545543"/>
                    <a:pt x="59208" y="544506"/>
                    <a:pt x="59554" y="543354"/>
                  </a:cubicBezTo>
                  <a:cubicBezTo>
                    <a:pt x="59899" y="542087"/>
                    <a:pt x="60475" y="540820"/>
                    <a:pt x="61051" y="539322"/>
                  </a:cubicBezTo>
                  <a:cubicBezTo>
                    <a:pt x="61627" y="537940"/>
                    <a:pt x="62318" y="536327"/>
                    <a:pt x="63009" y="534830"/>
                  </a:cubicBezTo>
                  <a:cubicBezTo>
                    <a:pt x="63700" y="533332"/>
                    <a:pt x="64507" y="531835"/>
                    <a:pt x="65313" y="530337"/>
                  </a:cubicBezTo>
                  <a:cubicBezTo>
                    <a:pt x="66235" y="528264"/>
                    <a:pt x="67271" y="526191"/>
                    <a:pt x="68193" y="524232"/>
                  </a:cubicBezTo>
                  <a:cubicBezTo>
                    <a:pt x="69114" y="522274"/>
                    <a:pt x="70036" y="520316"/>
                    <a:pt x="70842" y="518242"/>
                  </a:cubicBezTo>
                  <a:cubicBezTo>
                    <a:pt x="71649" y="516284"/>
                    <a:pt x="72224" y="514211"/>
                    <a:pt x="72685" y="512022"/>
                  </a:cubicBezTo>
                  <a:cubicBezTo>
                    <a:pt x="73146" y="509834"/>
                    <a:pt x="73376" y="507530"/>
                    <a:pt x="73261" y="505226"/>
                  </a:cubicBezTo>
                  <a:cubicBezTo>
                    <a:pt x="73261" y="504535"/>
                    <a:pt x="73261" y="503959"/>
                    <a:pt x="73031" y="503268"/>
                  </a:cubicBezTo>
                  <a:cubicBezTo>
                    <a:pt x="73031" y="502577"/>
                    <a:pt x="72800" y="501885"/>
                    <a:pt x="72570" y="501194"/>
                  </a:cubicBezTo>
                  <a:cubicBezTo>
                    <a:pt x="72340" y="500388"/>
                    <a:pt x="72109" y="499697"/>
                    <a:pt x="71764" y="498890"/>
                  </a:cubicBezTo>
                  <a:cubicBezTo>
                    <a:pt x="71418" y="498084"/>
                    <a:pt x="71073" y="497393"/>
                    <a:pt x="70612" y="496587"/>
                  </a:cubicBezTo>
                  <a:cubicBezTo>
                    <a:pt x="68884" y="494168"/>
                    <a:pt x="67156" y="492209"/>
                    <a:pt x="65428" y="490712"/>
                  </a:cubicBezTo>
                  <a:cubicBezTo>
                    <a:pt x="63700" y="489214"/>
                    <a:pt x="61857" y="488063"/>
                    <a:pt x="60129" y="487256"/>
                  </a:cubicBezTo>
                  <a:cubicBezTo>
                    <a:pt x="58402" y="486450"/>
                    <a:pt x="56559" y="485759"/>
                    <a:pt x="54716" y="485183"/>
                  </a:cubicBezTo>
                  <a:cubicBezTo>
                    <a:pt x="52988" y="484607"/>
                    <a:pt x="51145" y="484146"/>
                    <a:pt x="49302" y="483570"/>
                  </a:cubicBezTo>
                  <a:cubicBezTo>
                    <a:pt x="47113" y="482994"/>
                    <a:pt x="44924" y="482533"/>
                    <a:pt x="42620" y="481957"/>
                  </a:cubicBezTo>
                  <a:cubicBezTo>
                    <a:pt x="40432" y="481497"/>
                    <a:pt x="38128" y="480921"/>
                    <a:pt x="35824" y="480460"/>
                  </a:cubicBezTo>
                  <a:cubicBezTo>
                    <a:pt x="33520" y="479999"/>
                    <a:pt x="31332" y="479538"/>
                    <a:pt x="29258" y="479078"/>
                  </a:cubicBezTo>
                  <a:cubicBezTo>
                    <a:pt x="27185" y="478617"/>
                    <a:pt x="25112" y="478156"/>
                    <a:pt x="23269" y="477695"/>
                  </a:cubicBezTo>
                  <a:cubicBezTo>
                    <a:pt x="22577" y="477580"/>
                    <a:pt x="22001" y="477350"/>
                    <a:pt x="21425" y="477235"/>
                  </a:cubicBezTo>
                  <a:cubicBezTo>
                    <a:pt x="20734" y="477119"/>
                    <a:pt x="20274" y="476889"/>
                    <a:pt x="19698" y="476659"/>
                  </a:cubicBezTo>
                  <a:cubicBezTo>
                    <a:pt x="19122" y="476543"/>
                    <a:pt x="18661" y="476313"/>
                    <a:pt x="18200" y="476198"/>
                  </a:cubicBezTo>
                  <a:cubicBezTo>
                    <a:pt x="17739" y="476083"/>
                    <a:pt x="17279" y="475852"/>
                    <a:pt x="16818" y="475737"/>
                  </a:cubicBezTo>
                  <a:cubicBezTo>
                    <a:pt x="17163" y="475046"/>
                    <a:pt x="17739" y="474124"/>
                    <a:pt x="18315" y="473088"/>
                  </a:cubicBezTo>
                  <a:cubicBezTo>
                    <a:pt x="19006" y="472051"/>
                    <a:pt x="19698" y="470899"/>
                    <a:pt x="20504" y="469632"/>
                  </a:cubicBezTo>
                  <a:cubicBezTo>
                    <a:pt x="21425" y="468480"/>
                    <a:pt x="22347" y="467213"/>
                    <a:pt x="23269" y="465946"/>
                  </a:cubicBezTo>
                  <a:cubicBezTo>
                    <a:pt x="24305" y="464679"/>
                    <a:pt x="25342" y="463412"/>
                    <a:pt x="26494" y="462260"/>
                  </a:cubicBezTo>
                  <a:cubicBezTo>
                    <a:pt x="27876" y="460302"/>
                    <a:pt x="29374" y="458574"/>
                    <a:pt x="30871" y="456846"/>
                  </a:cubicBezTo>
                  <a:cubicBezTo>
                    <a:pt x="32253" y="455118"/>
                    <a:pt x="33751" y="453390"/>
                    <a:pt x="34903" y="451547"/>
                  </a:cubicBezTo>
                  <a:cubicBezTo>
                    <a:pt x="36055" y="449704"/>
                    <a:pt x="37207" y="447746"/>
                    <a:pt x="37898" y="445557"/>
                  </a:cubicBezTo>
                  <a:cubicBezTo>
                    <a:pt x="38589" y="443369"/>
                    <a:pt x="39165" y="441065"/>
                    <a:pt x="39165" y="438415"/>
                  </a:cubicBezTo>
                  <a:cubicBezTo>
                    <a:pt x="39165" y="437955"/>
                    <a:pt x="39165" y="437494"/>
                    <a:pt x="39050" y="437033"/>
                  </a:cubicBezTo>
                  <a:cubicBezTo>
                    <a:pt x="39050" y="436572"/>
                    <a:pt x="38934" y="436227"/>
                    <a:pt x="38819" y="435651"/>
                  </a:cubicBezTo>
                  <a:cubicBezTo>
                    <a:pt x="38819" y="435190"/>
                    <a:pt x="38589" y="434729"/>
                    <a:pt x="38474" y="434269"/>
                  </a:cubicBezTo>
                  <a:cubicBezTo>
                    <a:pt x="38358" y="433808"/>
                    <a:pt x="38243" y="433347"/>
                    <a:pt x="38013" y="432886"/>
                  </a:cubicBezTo>
                  <a:cubicBezTo>
                    <a:pt x="37207" y="431158"/>
                    <a:pt x="36170" y="429661"/>
                    <a:pt x="35248" y="428394"/>
                  </a:cubicBezTo>
                  <a:cubicBezTo>
                    <a:pt x="34212" y="427127"/>
                    <a:pt x="33175" y="425975"/>
                    <a:pt x="32138" y="425053"/>
                  </a:cubicBezTo>
                  <a:cubicBezTo>
                    <a:pt x="31101" y="424017"/>
                    <a:pt x="29950" y="423210"/>
                    <a:pt x="28913" y="422519"/>
                  </a:cubicBezTo>
                  <a:cubicBezTo>
                    <a:pt x="27761" y="421713"/>
                    <a:pt x="26724" y="421137"/>
                    <a:pt x="25687" y="420446"/>
                  </a:cubicBezTo>
                  <a:lnTo>
                    <a:pt x="21771" y="434729"/>
                  </a:lnTo>
                  <a:lnTo>
                    <a:pt x="22923" y="435536"/>
                  </a:lnTo>
                  <a:cubicBezTo>
                    <a:pt x="22577" y="436112"/>
                    <a:pt x="22117" y="437033"/>
                    <a:pt x="21541" y="438070"/>
                  </a:cubicBezTo>
                  <a:cubicBezTo>
                    <a:pt x="20965" y="439107"/>
                    <a:pt x="20158" y="440143"/>
                    <a:pt x="19352" y="441410"/>
                  </a:cubicBezTo>
                  <a:cubicBezTo>
                    <a:pt x="18430" y="442677"/>
                    <a:pt x="17509" y="443945"/>
                    <a:pt x="16472" y="445327"/>
                  </a:cubicBezTo>
                  <a:cubicBezTo>
                    <a:pt x="15436" y="446594"/>
                    <a:pt x="14284" y="447976"/>
                    <a:pt x="13132" y="449243"/>
                  </a:cubicBezTo>
                  <a:cubicBezTo>
                    <a:pt x="11634" y="451086"/>
                    <a:pt x="10137" y="452814"/>
                    <a:pt x="8639" y="454657"/>
                  </a:cubicBezTo>
                  <a:cubicBezTo>
                    <a:pt x="7142" y="456385"/>
                    <a:pt x="5644" y="458228"/>
                    <a:pt x="4377" y="460071"/>
                  </a:cubicBezTo>
                  <a:cubicBezTo>
                    <a:pt x="3110" y="461914"/>
                    <a:pt x="2073" y="463873"/>
                    <a:pt x="1267" y="466176"/>
                  </a:cubicBezTo>
                  <a:cubicBezTo>
                    <a:pt x="576" y="468365"/>
                    <a:pt x="0" y="470899"/>
                    <a:pt x="0" y="473664"/>
                  </a:cubicBezTo>
                  <a:cubicBezTo>
                    <a:pt x="0" y="474124"/>
                    <a:pt x="0" y="474585"/>
                    <a:pt x="115" y="475161"/>
                  </a:cubicBezTo>
                  <a:cubicBezTo>
                    <a:pt x="115" y="475737"/>
                    <a:pt x="230" y="476313"/>
                    <a:pt x="346" y="476889"/>
                  </a:cubicBezTo>
                  <a:cubicBezTo>
                    <a:pt x="461" y="477465"/>
                    <a:pt x="691" y="478041"/>
                    <a:pt x="922" y="478732"/>
                  </a:cubicBezTo>
                  <a:cubicBezTo>
                    <a:pt x="1152" y="479423"/>
                    <a:pt x="1382" y="479999"/>
                    <a:pt x="1728" y="480575"/>
                  </a:cubicBezTo>
                  <a:cubicBezTo>
                    <a:pt x="3456" y="483340"/>
                    <a:pt x="5184" y="485528"/>
                    <a:pt x="7027" y="487141"/>
                  </a:cubicBezTo>
                  <a:cubicBezTo>
                    <a:pt x="8870" y="488869"/>
                    <a:pt x="10713" y="490021"/>
                    <a:pt x="12671" y="490942"/>
                  </a:cubicBezTo>
                  <a:cubicBezTo>
                    <a:pt x="14629" y="491864"/>
                    <a:pt x="16472" y="492555"/>
                    <a:pt x="18430" y="493131"/>
                  </a:cubicBezTo>
                  <a:cubicBezTo>
                    <a:pt x="20389" y="493707"/>
                    <a:pt x="22347" y="494168"/>
                    <a:pt x="24190" y="494859"/>
                  </a:cubicBezTo>
                  <a:cubicBezTo>
                    <a:pt x="26379" y="495435"/>
                    <a:pt x="28682" y="495895"/>
                    <a:pt x="30986" y="496356"/>
                  </a:cubicBezTo>
                  <a:cubicBezTo>
                    <a:pt x="33290" y="496932"/>
                    <a:pt x="35594" y="497278"/>
                    <a:pt x="37782" y="497739"/>
                  </a:cubicBezTo>
                  <a:cubicBezTo>
                    <a:pt x="39971" y="498199"/>
                    <a:pt x="42275" y="498660"/>
                    <a:pt x="44348" y="499121"/>
                  </a:cubicBezTo>
                  <a:cubicBezTo>
                    <a:pt x="46422" y="499582"/>
                    <a:pt x="48495" y="500042"/>
                    <a:pt x="50338" y="500503"/>
                  </a:cubicBezTo>
                  <a:cubicBezTo>
                    <a:pt x="51145" y="500733"/>
                    <a:pt x="51721" y="500849"/>
                    <a:pt x="52412" y="501079"/>
                  </a:cubicBezTo>
                  <a:cubicBezTo>
                    <a:pt x="53103" y="501309"/>
                    <a:pt x="53794" y="501425"/>
                    <a:pt x="54370" y="501655"/>
                  </a:cubicBezTo>
                  <a:cubicBezTo>
                    <a:pt x="54946" y="501885"/>
                    <a:pt x="55522" y="502001"/>
                    <a:pt x="55983" y="502231"/>
                  </a:cubicBezTo>
                  <a:cubicBezTo>
                    <a:pt x="56443" y="502346"/>
                    <a:pt x="56904" y="502577"/>
                    <a:pt x="57250" y="502807"/>
                  </a:cubicBezTo>
                  <a:cubicBezTo>
                    <a:pt x="57135" y="503613"/>
                    <a:pt x="56789" y="504650"/>
                    <a:pt x="56443" y="505917"/>
                  </a:cubicBezTo>
                  <a:cubicBezTo>
                    <a:pt x="56098" y="507069"/>
                    <a:pt x="55522" y="508451"/>
                    <a:pt x="54946" y="509949"/>
                  </a:cubicBezTo>
                  <a:cubicBezTo>
                    <a:pt x="54370" y="511446"/>
                    <a:pt x="53679" y="513059"/>
                    <a:pt x="52872" y="514556"/>
                  </a:cubicBezTo>
                  <a:cubicBezTo>
                    <a:pt x="52066" y="516169"/>
                    <a:pt x="51375" y="517782"/>
                    <a:pt x="50453" y="519394"/>
                  </a:cubicBezTo>
                  <a:cubicBezTo>
                    <a:pt x="49532" y="521468"/>
                    <a:pt x="48495" y="523541"/>
                    <a:pt x="47459" y="525499"/>
                  </a:cubicBezTo>
                  <a:cubicBezTo>
                    <a:pt x="46537" y="527458"/>
                    <a:pt x="45615" y="529531"/>
                    <a:pt x="44694" y="531605"/>
                  </a:cubicBezTo>
                  <a:cubicBezTo>
                    <a:pt x="43888" y="533678"/>
                    <a:pt x="43196" y="535751"/>
                    <a:pt x="42736" y="538055"/>
                  </a:cubicBezTo>
                  <a:cubicBezTo>
                    <a:pt x="42275" y="540244"/>
                    <a:pt x="42045" y="542548"/>
                    <a:pt x="42045" y="545082"/>
                  </a:cubicBezTo>
                  <a:cubicBezTo>
                    <a:pt x="42045" y="545773"/>
                    <a:pt x="42160" y="546464"/>
                    <a:pt x="42275" y="547270"/>
                  </a:cubicBezTo>
                  <a:cubicBezTo>
                    <a:pt x="42390" y="548077"/>
                    <a:pt x="42620" y="548883"/>
                    <a:pt x="42851" y="549805"/>
                  </a:cubicBezTo>
                  <a:cubicBezTo>
                    <a:pt x="43081" y="550611"/>
                    <a:pt x="43427" y="551533"/>
                    <a:pt x="43888" y="552339"/>
                  </a:cubicBezTo>
                  <a:cubicBezTo>
                    <a:pt x="44348" y="553260"/>
                    <a:pt x="44809" y="554067"/>
                    <a:pt x="45385" y="554988"/>
                  </a:cubicBezTo>
                  <a:cubicBezTo>
                    <a:pt x="46537" y="556601"/>
                    <a:pt x="47689" y="557868"/>
                    <a:pt x="48956" y="559020"/>
                  </a:cubicBezTo>
                  <a:cubicBezTo>
                    <a:pt x="50108" y="560057"/>
                    <a:pt x="51375" y="560978"/>
                    <a:pt x="52642" y="561554"/>
                  </a:cubicBezTo>
                  <a:cubicBezTo>
                    <a:pt x="53909" y="562245"/>
                    <a:pt x="55061" y="562706"/>
                    <a:pt x="56213" y="563167"/>
                  </a:cubicBezTo>
                  <a:cubicBezTo>
                    <a:pt x="57365" y="563628"/>
                    <a:pt x="58517" y="563858"/>
                    <a:pt x="59554" y="564204"/>
                  </a:cubicBezTo>
                  <a:cubicBezTo>
                    <a:pt x="62894" y="564895"/>
                    <a:pt x="66465" y="565240"/>
                    <a:pt x="70266" y="565471"/>
                  </a:cubicBezTo>
                  <a:cubicBezTo>
                    <a:pt x="73952" y="565701"/>
                    <a:pt x="77754" y="565701"/>
                    <a:pt x="81440" y="565701"/>
                  </a:cubicBezTo>
                  <a:cubicBezTo>
                    <a:pt x="85011" y="565701"/>
                    <a:pt x="88466" y="565701"/>
                    <a:pt x="91576" y="565701"/>
                  </a:cubicBezTo>
                  <a:cubicBezTo>
                    <a:pt x="94687" y="565701"/>
                    <a:pt x="97336" y="566047"/>
                    <a:pt x="99525" y="566507"/>
                  </a:cubicBezTo>
                  <a:cubicBezTo>
                    <a:pt x="99525" y="566507"/>
                    <a:pt x="99525" y="566507"/>
                    <a:pt x="99525" y="566507"/>
                  </a:cubicBezTo>
                  <a:lnTo>
                    <a:pt x="99525" y="566507"/>
                  </a:lnTo>
                  <a:cubicBezTo>
                    <a:pt x="99525" y="566507"/>
                    <a:pt x="99525" y="566507"/>
                    <a:pt x="99525" y="566507"/>
                  </a:cubicBezTo>
                  <a:lnTo>
                    <a:pt x="100216" y="566507"/>
                  </a:lnTo>
                  <a:cubicBezTo>
                    <a:pt x="100331" y="568811"/>
                    <a:pt x="99985" y="571576"/>
                    <a:pt x="99294" y="574916"/>
                  </a:cubicBezTo>
                  <a:cubicBezTo>
                    <a:pt x="98603" y="578142"/>
                    <a:pt x="97682" y="581943"/>
                    <a:pt x="96645" y="585859"/>
                  </a:cubicBezTo>
                  <a:cubicBezTo>
                    <a:pt x="95723" y="589776"/>
                    <a:pt x="94687" y="594038"/>
                    <a:pt x="93995" y="598070"/>
                  </a:cubicBezTo>
                  <a:cubicBezTo>
                    <a:pt x="93304" y="602216"/>
                    <a:pt x="92844" y="606248"/>
                    <a:pt x="93074" y="610049"/>
                  </a:cubicBezTo>
                  <a:cubicBezTo>
                    <a:pt x="93074" y="610971"/>
                    <a:pt x="93304" y="612008"/>
                    <a:pt x="93420" y="613160"/>
                  </a:cubicBezTo>
                  <a:cubicBezTo>
                    <a:pt x="93650" y="614196"/>
                    <a:pt x="93880" y="615348"/>
                    <a:pt x="94226" y="616500"/>
                  </a:cubicBezTo>
                  <a:cubicBezTo>
                    <a:pt x="94571" y="617652"/>
                    <a:pt x="95147" y="618919"/>
                    <a:pt x="95839" y="620071"/>
                  </a:cubicBezTo>
                  <a:cubicBezTo>
                    <a:pt x="96530" y="621223"/>
                    <a:pt x="97336" y="622490"/>
                    <a:pt x="98373" y="623757"/>
                  </a:cubicBezTo>
                  <a:cubicBezTo>
                    <a:pt x="99179" y="624679"/>
                    <a:pt x="100101" y="625485"/>
                    <a:pt x="100907" y="626176"/>
                  </a:cubicBezTo>
                  <a:cubicBezTo>
                    <a:pt x="101828" y="626867"/>
                    <a:pt x="102635" y="627443"/>
                    <a:pt x="103556" y="627904"/>
                  </a:cubicBezTo>
                  <a:cubicBezTo>
                    <a:pt x="104478" y="628365"/>
                    <a:pt x="105284" y="628710"/>
                    <a:pt x="106091" y="629056"/>
                  </a:cubicBezTo>
                  <a:cubicBezTo>
                    <a:pt x="106897" y="629401"/>
                    <a:pt x="107703" y="629517"/>
                    <a:pt x="108510" y="629747"/>
                  </a:cubicBezTo>
                  <a:cubicBezTo>
                    <a:pt x="112080" y="630323"/>
                    <a:pt x="116112" y="630208"/>
                    <a:pt x="120144" y="629747"/>
                  </a:cubicBezTo>
                  <a:cubicBezTo>
                    <a:pt x="124175" y="629286"/>
                    <a:pt x="128322" y="628480"/>
                    <a:pt x="132124" y="627558"/>
                  </a:cubicBezTo>
                  <a:cubicBezTo>
                    <a:pt x="135925" y="626637"/>
                    <a:pt x="139611" y="625715"/>
                    <a:pt x="142721" y="625139"/>
                  </a:cubicBezTo>
                  <a:cubicBezTo>
                    <a:pt x="145831" y="624448"/>
                    <a:pt x="148481" y="624103"/>
                    <a:pt x="150324" y="624333"/>
                  </a:cubicBezTo>
                  <a:lnTo>
                    <a:pt x="150669" y="627328"/>
                  </a:lnTo>
                  <a:cubicBezTo>
                    <a:pt x="150900" y="629632"/>
                    <a:pt x="150900" y="632281"/>
                    <a:pt x="150784" y="635276"/>
                  </a:cubicBezTo>
                  <a:cubicBezTo>
                    <a:pt x="150784" y="638271"/>
                    <a:pt x="150554" y="641496"/>
                    <a:pt x="150324" y="644837"/>
                  </a:cubicBezTo>
                  <a:cubicBezTo>
                    <a:pt x="150093" y="648177"/>
                    <a:pt x="149978" y="651633"/>
                    <a:pt x="149863" y="655089"/>
                  </a:cubicBezTo>
                  <a:cubicBezTo>
                    <a:pt x="149863" y="658545"/>
                    <a:pt x="149863" y="661885"/>
                    <a:pt x="149978" y="664995"/>
                  </a:cubicBezTo>
                  <a:cubicBezTo>
                    <a:pt x="150209" y="666493"/>
                    <a:pt x="150324" y="667990"/>
                    <a:pt x="150554" y="669603"/>
                  </a:cubicBezTo>
                  <a:cubicBezTo>
                    <a:pt x="150784" y="671100"/>
                    <a:pt x="151130" y="672828"/>
                    <a:pt x="151591" y="674441"/>
                  </a:cubicBezTo>
                  <a:cubicBezTo>
                    <a:pt x="152167" y="676054"/>
                    <a:pt x="152858" y="677781"/>
                    <a:pt x="153895" y="679394"/>
                  </a:cubicBezTo>
                  <a:cubicBezTo>
                    <a:pt x="154931" y="681007"/>
                    <a:pt x="156198" y="682735"/>
                    <a:pt x="157926" y="684463"/>
                  </a:cubicBezTo>
                  <a:cubicBezTo>
                    <a:pt x="158617" y="685038"/>
                    <a:pt x="159193" y="685499"/>
                    <a:pt x="159884" y="685960"/>
                  </a:cubicBezTo>
                  <a:cubicBezTo>
                    <a:pt x="160460" y="686421"/>
                    <a:pt x="161152" y="686766"/>
                    <a:pt x="161728" y="687112"/>
                  </a:cubicBezTo>
                  <a:cubicBezTo>
                    <a:pt x="162419" y="687457"/>
                    <a:pt x="162995" y="687688"/>
                    <a:pt x="163571" y="687918"/>
                  </a:cubicBezTo>
                  <a:cubicBezTo>
                    <a:pt x="164147" y="688149"/>
                    <a:pt x="164722" y="688264"/>
                    <a:pt x="165298" y="688379"/>
                  </a:cubicBezTo>
                  <a:cubicBezTo>
                    <a:pt x="167717" y="688725"/>
                    <a:pt x="170021" y="688609"/>
                    <a:pt x="172210" y="688379"/>
                  </a:cubicBezTo>
                  <a:cubicBezTo>
                    <a:pt x="174399" y="688033"/>
                    <a:pt x="176357" y="687342"/>
                    <a:pt x="178430" y="686651"/>
                  </a:cubicBezTo>
                  <a:cubicBezTo>
                    <a:pt x="180388" y="685845"/>
                    <a:pt x="182347" y="684923"/>
                    <a:pt x="184305" y="683887"/>
                  </a:cubicBezTo>
                  <a:cubicBezTo>
                    <a:pt x="186263" y="682850"/>
                    <a:pt x="188221" y="681928"/>
                    <a:pt x="190180" y="680892"/>
                  </a:cubicBezTo>
                  <a:cubicBezTo>
                    <a:pt x="191677" y="679970"/>
                    <a:pt x="193290" y="679279"/>
                    <a:pt x="194672" y="678473"/>
                  </a:cubicBezTo>
                  <a:cubicBezTo>
                    <a:pt x="196170" y="677781"/>
                    <a:pt x="197667" y="677090"/>
                    <a:pt x="199049" y="676514"/>
                  </a:cubicBezTo>
                  <a:cubicBezTo>
                    <a:pt x="200432" y="675938"/>
                    <a:pt x="201814" y="675478"/>
                    <a:pt x="202851" y="675132"/>
                  </a:cubicBezTo>
                  <a:cubicBezTo>
                    <a:pt x="204003" y="674786"/>
                    <a:pt x="204924" y="674556"/>
                    <a:pt x="205730" y="674441"/>
                  </a:cubicBezTo>
                  <a:cubicBezTo>
                    <a:pt x="205961" y="675362"/>
                    <a:pt x="206306" y="676745"/>
                    <a:pt x="206652" y="678473"/>
                  </a:cubicBezTo>
                  <a:cubicBezTo>
                    <a:pt x="206997" y="680200"/>
                    <a:pt x="207343" y="682159"/>
                    <a:pt x="207689" y="684232"/>
                  </a:cubicBezTo>
                  <a:cubicBezTo>
                    <a:pt x="208034" y="686421"/>
                    <a:pt x="208380" y="688725"/>
                    <a:pt x="208725" y="691144"/>
                  </a:cubicBezTo>
                  <a:cubicBezTo>
                    <a:pt x="209071" y="693563"/>
                    <a:pt x="209301" y="696097"/>
                    <a:pt x="209416" y="698516"/>
                  </a:cubicBezTo>
                  <a:cubicBezTo>
                    <a:pt x="209647" y="700128"/>
                    <a:pt x="209762" y="701741"/>
                    <a:pt x="209992" y="703239"/>
                  </a:cubicBezTo>
                  <a:cubicBezTo>
                    <a:pt x="210223" y="704736"/>
                    <a:pt x="210338" y="706349"/>
                    <a:pt x="210568" y="707961"/>
                  </a:cubicBezTo>
                  <a:cubicBezTo>
                    <a:pt x="210799" y="709459"/>
                    <a:pt x="211029" y="711072"/>
                    <a:pt x="211375" y="712569"/>
                  </a:cubicBezTo>
                  <a:cubicBezTo>
                    <a:pt x="211605" y="714067"/>
                    <a:pt x="211951" y="715564"/>
                    <a:pt x="212296" y="717061"/>
                  </a:cubicBezTo>
                  <a:cubicBezTo>
                    <a:pt x="212642" y="718444"/>
                    <a:pt x="213103" y="719941"/>
                    <a:pt x="213563" y="721439"/>
                  </a:cubicBezTo>
                  <a:cubicBezTo>
                    <a:pt x="214024" y="722936"/>
                    <a:pt x="214600" y="724549"/>
                    <a:pt x="215291" y="726046"/>
                  </a:cubicBezTo>
                  <a:cubicBezTo>
                    <a:pt x="215982" y="727544"/>
                    <a:pt x="216904" y="729041"/>
                    <a:pt x="218171" y="730539"/>
                  </a:cubicBezTo>
                  <a:cubicBezTo>
                    <a:pt x="219438" y="732036"/>
                    <a:pt x="220820" y="733419"/>
                    <a:pt x="222548" y="734686"/>
                  </a:cubicBezTo>
                  <a:cubicBezTo>
                    <a:pt x="223009" y="735031"/>
                    <a:pt x="223355" y="735377"/>
                    <a:pt x="223815" y="735607"/>
                  </a:cubicBezTo>
                  <a:cubicBezTo>
                    <a:pt x="224276" y="735838"/>
                    <a:pt x="224622" y="736068"/>
                    <a:pt x="225082" y="736183"/>
                  </a:cubicBezTo>
                  <a:cubicBezTo>
                    <a:pt x="225543" y="736298"/>
                    <a:pt x="225889" y="736529"/>
                    <a:pt x="226350" y="736644"/>
                  </a:cubicBezTo>
                  <a:cubicBezTo>
                    <a:pt x="226695" y="736644"/>
                    <a:pt x="227156" y="736874"/>
                    <a:pt x="227501" y="736989"/>
                  </a:cubicBezTo>
                  <a:cubicBezTo>
                    <a:pt x="230266" y="737220"/>
                    <a:pt x="232570" y="736989"/>
                    <a:pt x="234758" y="736183"/>
                  </a:cubicBezTo>
                  <a:cubicBezTo>
                    <a:pt x="236947" y="735492"/>
                    <a:pt x="238790" y="734455"/>
                    <a:pt x="240633" y="733188"/>
                  </a:cubicBezTo>
                  <a:cubicBezTo>
                    <a:pt x="242476" y="731921"/>
                    <a:pt x="244204" y="730424"/>
                    <a:pt x="245932" y="728811"/>
                  </a:cubicBezTo>
                  <a:cubicBezTo>
                    <a:pt x="247660" y="727313"/>
                    <a:pt x="249388" y="725701"/>
                    <a:pt x="251231" y="724203"/>
                  </a:cubicBezTo>
                  <a:cubicBezTo>
                    <a:pt x="252037" y="723397"/>
                    <a:pt x="252843" y="722706"/>
                    <a:pt x="253765" y="721899"/>
                  </a:cubicBezTo>
                  <a:cubicBezTo>
                    <a:pt x="254571" y="721093"/>
                    <a:pt x="255493" y="720402"/>
                    <a:pt x="256184" y="719711"/>
                  </a:cubicBezTo>
                  <a:cubicBezTo>
                    <a:pt x="256990" y="719020"/>
                    <a:pt x="257796" y="718444"/>
                    <a:pt x="258488" y="717868"/>
                  </a:cubicBezTo>
                  <a:cubicBezTo>
                    <a:pt x="259294" y="717292"/>
                    <a:pt x="259985" y="716716"/>
                    <a:pt x="260676" y="716255"/>
                  </a:cubicBezTo>
                  <a:cubicBezTo>
                    <a:pt x="261022" y="716025"/>
                    <a:pt x="261367" y="715794"/>
                    <a:pt x="261598" y="715564"/>
                  </a:cubicBezTo>
                  <a:cubicBezTo>
                    <a:pt x="261943" y="715334"/>
                    <a:pt x="262289" y="715218"/>
                    <a:pt x="262519" y="714988"/>
                  </a:cubicBezTo>
                  <a:cubicBezTo>
                    <a:pt x="262750" y="714873"/>
                    <a:pt x="263095" y="714758"/>
                    <a:pt x="263326" y="714642"/>
                  </a:cubicBezTo>
                  <a:cubicBezTo>
                    <a:pt x="263556" y="714642"/>
                    <a:pt x="263786" y="714412"/>
                    <a:pt x="264017" y="714412"/>
                  </a:cubicBezTo>
                  <a:cubicBezTo>
                    <a:pt x="264362" y="715334"/>
                    <a:pt x="264938" y="716716"/>
                    <a:pt x="265514" y="718328"/>
                  </a:cubicBezTo>
                  <a:cubicBezTo>
                    <a:pt x="266090" y="719941"/>
                    <a:pt x="266781" y="721899"/>
                    <a:pt x="267357" y="724088"/>
                  </a:cubicBezTo>
                  <a:cubicBezTo>
                    <a:pt x="268048" y="726161"/>
                    <a:pt x="268740" y="728580"/>
                    <a:pt x="269316" y="730999"/>
                  </a:cubicBezTo>
                  <a:cubicBezTo>
                    <a:pt x="270007" y="733419"/>
                    <a:pt x="270583" y="735953"/>
                    <a:pt x="271159" y="738372"/>
                  </a:cubicBezTo>
                  <a:cubicBezTo>
                    <a:pt x="271504" y="739984"/>
                    <a:pt x="271965" y="741597"/>
                    <a:pt x="272426" y="743210"/>
                  </a:cubicBezTo>
                  <a:cubicBezTo>
                    <a:pt x="272771" y="744822"/>
                    <a:pt x="273232" y="746435"/>
                    <a:pt x="273693" y="747932"/>
                  </a:cubicBezTo>
                  <a:cubicBezTo>
                    <a:pt x="274154" y="749545"/>
                    <a:pt x="274614" y="751043"/>
                    <a:pt x="275075" y="752540"/>
                  </a:cubicBezTo>
                  <a:cubicBezTo>
                    <a:pt x="275536" y="754038"/>
                    <a:pt x="276112" y="755535"/>
                    <a:pt x="276688" y="757033"/>
                  </a:cubicBezTo>
                  <a:cubicBezTo>
                    <a:pt x="277264" y="758415"/>
                    <a:pt x="277840" y="759797"/>
                    <a:pt x="278416" y="761179"/>
                  </a:cubicBezTo>
                  <a:cubicBezTo>
                    <a:pt x="279107" y="762562"/>
                    <a:pt x="279798" y="764059"/>
                    <a:pt x="280719" y="765441"/>
                  </a:cubicBezTo>
                  <a:cubicBezTo>
                    <a:pt x="281641" y="766824"/>
                    <a:pt x="282678" y="768206"/>
                    <a:pt x="284060" y="769473"/>
                  </a:cubicBezTo>
                  <a:cubicBezTo>
                    <a:pt x="285327" y="770740"/>
                    <a:pt x="286825" y="771892"/>
                    <a:pt x="288668" y="772929"/>
                  </a:cubicBezTo>
                  <a:lnTo>
                    <a:pt x="291432" y="773735"/>
                  </a:lnTo>
                  <a:cubicBezTo>
                    <a:pt x="294427" y="773735"/>
                    <a:pt x="296846" y="773274"/>
                    <a:pt x="298920" y="772238"/>
                  </a:cubicBezTo>
                  <a:cubicBezTo>
                    <a:pt x="300993" y="771201"/>
                    <a:pt x="302721" y="769703"/>
                    <a:pt x="304218" y="767860"/>
                  </a:cubicBezTo>
                  <a:cubicBezTo>
                    <a:pt x="305716" y="766133"/>
                    <a:pt x="307098" y="764059"/>
                    <a:pt x="308480" y="761986"/>
                  </a:cubicBezTo>
                  <a:cubicBezTo>
                    <a:pt x="309863" y="759912"/>
                    <a:pt x="311130" y="757724"/>
                    <a:pt x="312742" y="755881"/>
                  </a:cubicBezTo>
                  <a:cubicBezTo>
                    <a:pt x="313434" y="754844"/>
                    <a:pt x="314125" y="753807"/>
                    <a:pt x="314701" y="752771"/>
                  </a:cubicBezTo>
                  <a:cubicBezTo>
                    <a:pt x="315392" y="751734"/>
                    <a:pt x="316083" y="750812"/>
                    <a:pt x="316659" y="749891"/>
                  </a:cubicBezTo>
                  <a:cubicBezTo>
                    <a:pt x="317350" y="748969"/>
                    <a:pt x="317926" y="748163"/>
                    <a:pt x="318502" y="747357"/>
                  </a:cubicBezTo>
                  <a:cubicBezTo>
                    <a:pt x="319078" y="746550"/>
                    <a:pt x="319769" y="745859"/>
                    <a:pt x="320230" y="745168"/>
                  </a:cubicBezTo>
                  <a:lnTo>
                    <a:pt x="322649" y="742979"/>
                  </a:lnTo>
                  <a:cubicBezTo>
                    <a:pt x="323110" y="743901"/>
                    <a:pt x="323801" y="745168"/>
                    <a:pt x="324607" y="746781"/>
                  </a:cubicBezTo>
                  <a:cubicBezTo>
                    <a:pt x="325413" y="748393"/>
                    <a:pt x="326220" y="750236"/>
                    <a:pt x="327141" y="752310"/>
                  </a:cubicBezTo>
                  <a:cubicBezTo>
                    <a:pt x="328063" y="754383"/>
                    <a:pt x="329099" y="756572"/>
                    <a:pt x="330021" y="758991"/>
                  </a:cubicBezTo>
                  <a:cubicBezTo>
                    <a:pt x="330942" y="761295"/>
                    <a:pt x="331864" y="763714"/>
                    <a:pt x="332786" y="766133"/>
                  </a:cubicBezTo>
                  <a:cubicBezTo>
                    <a:pt x="333477" y="767745"/>
                    <a:pt x="334053" y="769243"/>
                    <a:pt x="334629" y="770855"/>
                  </a:cubicBezTo>
                  <a:cubicBezTo>
                    <a:pt x="335320" y="772353"/>
                    <a:pt x="335896" y="773966"/>
                    <a:pt x="336587" y="775463"/>
                  </a:cubicBezTo>
                  <a:cubicBezTo>
                    <a:pt x="337278" y="776961"/>
                    <a:pt x="337969" y="778458"/>
                    <a:pt x="338660" y="779840"/>
                  </a:cubicBezTo>
                  <a:cubicBezTo>
                    <a:pt x="339351" y="781338"/>
                    <a:pt x="340043" y="782720"/>
                    <a:pt x="340734" y="784102"/>
                  </a:cubicBezTo>
                  <a:cubicBezTo>
                    <a:pt x="341425" y="785369"/>
                    <a:pt x="342231" y="786637"/>
                    <a:pt x="343038" y="788019"/>
                  </a:cubicBezTo>
                  <a:cubicBezTo>
                    <a:pt x="343844" y="789401"/>
                    <a:pt x="344765" y="790668"/>
                    <a:pt x="345802" y="791935"/>
                  </a:cubicBezTo>
                  <a:cubicBezTo>
                    <a:pt x="346839" y="793202"/>
                    <a:pt x="347991" y="794354"/>
                    <a:pt x="349373" y="795391"/>
                  </a:cubicBezTo>
                  <a:cubicBezTo>
                    <a:pt x="350755" y="796428"/>
                    <a:pt x="352253" y="797234"/>
                    <a:pt x="353981" y="797925"/>
                  </a:cubicBezTo>
                  <a:lnTo>
                    <a:pt x="354902" y="797925"/>
                  </a:lnTo>
                  <a:cubicBezTo>
                    <a:pt x="356745" y="798271"/>
                    <a:pt x="358243" y="798156"/>
                    <a:pt x="359510" y="797695"/>
                  </a:cubicBezTo>
                  <a:cubicBezTo>
                    <a:pt x="360777" y="797349"/>
                    <a:pt x="361814" y="796658"/>
                    <a:pt x="362620" y="795852"/>
                  </a:cubicBezTo>
                  <a:cubicBezTo>
                    <a:pt x="363541" y="795045"/>
                    <a:pt x="364233" y="794124"/>
                    <a:pt x="364924" y="793087"/>
                  </a:cubicBezTo>
                  <a:cubicBezTo>
                    <a:pt x="365615" y="792166"/>
                    <a:pt x="366191" y="791014"/>
                    <a:pt x="366767" y="790092"/>
                  </a:cubicBezTo>
                  <a:cubicBezTo>
                    <a:pt x="367573" y="788480"/>
                    <a:pt x="368495" y="786752"/>
                    <a:pt x="369186" y="784909"/>
                  </a:cubicBezTo>
                  <a:cubicBezTo>
                    <a:pt x="369992" y="783066"/>
                    <a:pt x="370798" y="781223"/>
                    <a:pt x="371490" y="779264"/>
                  </a:cubicBezTo>
                  <a:cubicBezTo>
                    <a:pt x="372181" y="777306"/>
                    <a:pt x="372987" y="775463"/>
                    <a:pt x="373563" y="773620"/>
                  </a:cubicBezTo>
                  <a:cubicBezTo>
                    <a:pt x="374254" y="771777"/>
                    <a:pt x="374945" y="769934"/>
                    <a:pt x="375636" y="768321"/>
                  </a:cubicBezTo>
                  <a:cubicBezTo>
                    <a:pt x="375982" y="767515"/>
                    <a:pt x="376328" y="766709"/>
                    <a:pt x="376673" y="765902"/>
                  </a:cubicBezTo>
                  <a:cubicBezTo>
                    <a:pt x="377019" y="765096"/>
                    <a:pt x="377364" y="764405"/>
                    <a:pt x="377710" y="763829"/>
                  </a:cubicBezTo>
                  <a:cubicBezTo>
                    <a:pt x="377940" y="763138"/>
                    <a:pt x="378286" y="762562"/>
                    <a:pt x="378631" y="762101"/>
                  </a:cubicBezTo>
                  <a:cubicBezTo>
                    <a:pt x="378862" y="761525"/>
                    <a:pt x="379207" y="761179"/>
                    <a:pt x="379553" y="760834"/>
                  </a:cubicBezTo>
                  <a:lnTo>
                    <a:pt x="379898" y="760258"/>
                  </a:lnTo>
                  <a:cubicBezTo>
                    <a:pt x="380474" y="761064"/>
                    <a:pt x="381281" y="762216"/>
                    <a:pt x="382202" y="763598"/>
                  </a:cubicBezTo>
                  <a:cubicBezTo>
                    <a:pt x="383124" y="764981"/>
                    <a:pt x="384161" y="766709"/>
                    <a:pt x="385312" y="768552"/>
                  </a:cubicBezTo>
                  <a:cubicBezTo>
                    <a:pt x="386464" y="770395"/>
                    <a:pt x="387616" y="772468"/>
                    <a:pt x="388883" y="774657"/>
                  </a:cubicBezTo>
                  <a:cubicBezTo>
                    <a:pt x="390035" y="776845"/>
                    <a:pt x="391302" y="779034"/>
                    <a:pt x="392339" y="781338"/>
                  </a:cubicBezTo>
                  <a:cubicBezTo>
                    <a:pt x="393145" y="782720"/>
                    <a:pt x="393952" y="784218"/>
                    <a:pt x="394758" y="785600"/>
                  </a:cubicBezTo>
                  <a:cubicBezTo>
                    <a:pt x="395564" y="786982"/>
                    <a:pt x="396371" y="788480"/>
                    <a:pt x="397177" y="789862"/>
                  </a:cubicBezTo>
                  <a:cubicBezTo>
                    <a:pt x="397983" y="791244"/>
                    <a:pt x="398790" y="792626"/>
                    <a:pt x="399596" y="793894"/>
                  </a:cubicBezTo>
                  <a:cubicBezTo>
                    <a:pt x="400402" y="795276"/>
                    <a:pt x="401209" y="796543"/>
                    <a:pt x="402130" y="797810"/>
                  </a:cubicBezTo>
                  <a:cubicBezTo>
                    <a:pt x="402937" y="798962"/>
                    <a:pt x="403743" y="800114"/>
                    <a:pt x="404664" y="801381"/>
                  </a:cubicBezTo>
                  <a:cubicBezTo>
                    <a:pt x="405586" y="802533"/>
                    <a:pt x="406508" y="803800"/>
                    <a:pt x="407544" y="804837"/>
                  </a:cubicBezTo>
                  <a:cubicBezTo>
                    <a:pt x="408696" y="805989"/>
                    <a:pt x="409733" y="806910"/>
                    <a:pt x="411000" y="807716"/>
                  </a:cubicBezTo>
                  <a:cubicBezTo>
                    <a:pt x="412267" y="808523"/>
                    <a:pt x="413765" y="809214"/>
                    <a:pt x="415377" y="809560"/>
                  </a:cubicBezTo>
                  <a:lnTo>
                    <a:pt x="416068" y="809560"/>
                  </a:lnTo>
                  <a:cubicBezTo>
                    <a:pt x="417796" y="809675"/>
                    <a:pt x="419294" y="809329"/>
                    <a:pt x="420446" y="808753"/>
                  </a:cubicBezTo>
                  <a:cubicBezTo>
                    <a:pt x="421597" y="808177"/>
                    <a:pt x="422519" y="807256"/>
                    <a:pt x="423325" y="806334"/>
                  </a:cubicBezTo>
                  <a:cubicBezTo>
                    <a:pt x="424016" y="805297"/>
                    <a:pt x="424592" y="804146"/>
                    <a:pt x="425053" y="802994"/>
                  </a:cubicBezTo>
                  <a:cubicBezTo>
                    <a:pt x="425514" y="801842"/>
                    <a:pt x="425975" y="800690"/>
                    <a:pt x="426320" y="799538"/>
                  </a:cubicBezTo>
                  <a:cubicBezTo>
                    <a:pt x="426896" y="797695"/>
                    <a:pt x="427357" y="795737"/>
                    <a:pt x="427818" y="793778"/>
                  </a:cubicBezTo>
                  <a:cubicBezTo>
                    <a:pt x="428279" y="791705"/>
                    <a:pt x="428739" y="789631"/>
                    <a:pt x="429085" y="787558"/>
                  </a:cubicBezTo>
                  <a:cubicBezTo>
                    <a:pt x="429430" y="785485"/>
                    <a:pt x="429776" y="783296"/>
                    <a:pt x="430237" y="781223"/>
                  </a:cubicBezTo>
                  <a:cubicBezTo>
                    <a:pt x="430582" y="779149"/>
                    <a:pt x="430928" y="777076"/>
                    <a:pt x="431274" y="775233"/>
                  </a:cubicBezTo>
                  <a:cubicBezTo>
                    <a:pt x="431504" y="774311"/>
                    <a:pt x="431619" y="773390"/>
                    <a:pt x="431849" y="772468"/>
                  </a:cubicBezTo>
                  <a:cubicBezTo>
                    <a:pt x="432080" y="771547"/>
                    <a:pt x="432195" y="770855"/>
                    <a:pt x="432425" y="770049"/>
                  </a:cubicBezTo>
                  <a:cubicBezTo>
                    <a:pt x="432656" y="769243"/>
                    <a:pt x="432886" y="768667"/>
                    <a:pt x="433001" y="767976"/>
                  </a:cubicBezTo>
                  <a:cubicBezTo>
                    <a:pt x="433232" y="767400"/>
                    <a:pt x="433347" y="766824"/>
                    <a:pt x="433577" y="766478"/>
                  </a:cubicBezTo>
                  <a:lnTo>
                    <a:pt x="433808" y="765787"/>
                  </a:lnTo>
                  <a:cubicBezTo>
                    <a:pt x="434499" y="766478"/>
                    <a:pt x="435420" y="767515"/>
                    <a:pt x="436457" y="768782"/>
                  </a:cubicBezTo>
                  <a:cubicBezTo>
                    <a:pt x="437494" y="770049"/>
                    <a:pt x="438646" y="771547"/>
                    <a:pt x="440028" y="773274"/>
                  </a:cubicBezTo>
                  <a:cubicBezTo>
                    <a:pt x="441295" y="774887"/>
                    <a:pt x="442677" y="776845"/>
                    <a:pt x="444060" y="778688"/>
                  </a:cubicBezTo>
                  <a:cubicBezTo>
                    <a:pt x="445442" y="780647"/>
                    <a:pt x="446824" y="782605"/>
                    <a:pt x="448206" y="784563"/>
                  </a:cubicBezTo>
                  <a:cubicBezTo>
                    <a:pt x="450050" y="786982"/>
                    <a:pt x="451777" y="789401"/>
                    <a:pt x="453505" y="791820"/>
                  </a:cubicBezTo>
                  <a:cubicBezTo>
                    <a:pt x="455118" y="794239"/>
                    <a:pt x="456846" y="796543"/>
                    <a:pt x="458574" y="798732"/>
                  </a:cubicBezTo>
                  <a:cubicBezTo>
                    <a:pt x="460302" y="800805"/>
                    <a:pt x="462260" y="802763"/>
                    <a:pt x="464218" y="804376"/>
                  </a:cubicBezTo>
                  <a:cubicBezTo>
                    <a:pt x="466291" y="805989"/>
                    <a:pt x="468595" y="807371"/>
                    <a:pt x="471129" y="808177"/>
                  </a:cubicBezTo>
                  <a:lnTo>
                    <a:pt x="473548" y="808177"/>
                  </a:lnTo>
                  <a:cubicBezTo>
                    <a:pt x="475161" y="807947"/>
                    <a:pt x="476313" y="807256"/>
                    <a:pt x="477235" y="806449"/>
                  </a:cubicBezTo>
                  <a:cubicBezTo>
                    <a:pt x="478156" y="805643"/>
                    <a:pt x="478847" y="804491"/>
                    <a:pt x="479423" y="803454"/>
                  </a:cubicBezTo>
                  <a:cubicBezTo>
                    <a:pt x="479884" y="802302"/>
                    <a:pt x="480230" y="801035"/>
                    <a:pt x="480460" y="799768"/>
                  </a:cubicBezTo>
                  <a:cubicBezTo>
                    <a:pt x="480690" y="798501"/>
                    <a:pt x="480921" y="797234"/>
                    <a:pt x="481151" y="795967"/>
                  </a:cubicBezTo>
                  <a:cubicBezTo>
                    <a:pt x="481381" y="794009"/>
                    <a:pt x="481497" y="791820"/>
                    <a:pt x="481612" y="789631"/>
                  </a:cubicBezTo>
                  <a:cubicBezTo>
                    <a:pt x="481612" y="787443"/>
                    <a:pt x="481727" y="785254"/>
                    <a:pt x="481727" y="782950"/>
                  </a:cubicBezTo>
                  <a:cubicBezTo>
                    <a:pt x="481727" y="780762"/>
                    <a:pt x="481727" y="778458"/>
                    <a:pt x="481727" y="776269"/>
                  </a:cubicBezTo>
                  <a:cubicBezTo>
                    <a:pt x="481727" y="774081"/>
                    <a:pt x="481727" y="771892"/>
                    <a:pt x="481727" y="769934"/>
                  </a:cubicBezTo>
                  <a:cubicBezTo>
                    <a:pt x="481727" y="768897"/>
                    <a:pt x="481727" y="767976"/>
                    <a:pt x="481727" y="767054"/>
                  </a:cubicBezTo>
                  <a:cubicBezTo>
                    <a:pt x="481727" y="766133"/>
                    <a:pt x="481727" y="765211"/>
                    <a:pt x="481842" y="764520"/>
                  </a:cubicBezTo>
                  <a:cubicBezTo>
                    <a:pt x="481842" y="763714"/>
                    <a:pt x="481957" y="763023"/>
                    <a:pt x="482073" y="762331"/>
                  </a:cubicBezTo>
                  <a:cubicBezTo>
                    <a:pt x="482073" y="761640"/>
                    <a:pt x="482188" y="761064"/>
                    <a:pt x="482303" y="760604"/>
                  </a:cubicBezTo>
                  <a:lnTo>
                    <a:pt x="482533" y="759912"/>
                  </a:lnTo>
                  <a:cubicBezTo>
                    <a:pt x="483340" y="760488"/>
                    <a:pt x="484376" y="761410"/>
                    <a:pt x="485528" y="762562"/>
                  </a:cubicBezTo>
                  <a:cubicBezTo>
                    <a:pt x="486680" y="763714"/>
                    <a:pt x="488063" y="765211"/>
                    <a:pt x="489560" y="766824"/>
                  </a:cubicBezTo>
                  <a:cubicBezTo>
                    <a:pt x="491057" y="768436"/>
                    <a:pt x="492670" y="770164"/>
                    <a:pt x="494283" y="772007"/>
                  </a:cubicBezTo>
                  <a:cubicBezTo>
                    <a:pt x="495895" y="773850"/>
                    <a:pt x="497508" y="775693"/>
                    <a:pt x="499236" y="777536"/>
                  </a:cubicBezTo>
                  <a:cubicBezTo>
                    <a:pt x="500964" y="779380"/>
                    <a:pt x="502576" y="781223"/>
                    <a:pt x="504304" y="783066"/>
                  </a:cubicBezTo>
                  <a:cubicBezTo>
                    <a:pt x="505917" y="784909"/>
                    <a:pt x="507530" y="786637"/>
                    <a:pt x="509258" y="788134"/>
                  </a:cubicBezTo>
                  <a:cubicBezTo>
                    <a:pt x="510985" y="789747"/>
                    <a:pt x="512598" y="791129"/>
                    <a:pt x="514441" y="792396"/>
                  </a:cubicBezTo>
                  <a:cubicBezTo>
                    <a:pt x="516284" y="793548"/>
                    <a:pt x="518127" y="794585"/>
                    <a:pt x="520201" y="795161"/>
                  </a:cubicBezTo>
                  <a:cubicBezTo>
                    <a:pt x="520546" y="795161"/>
                    <a:pt x="520892" y="795161"/>
                    <a:pt x="521122" y="795276"/>
                  </a:cubicBezTo>
                  <a:cubicBezTo>
                    <a:pt x="521468" y="795276"/>
                    <a:pt x="521813" y="795276"/>
                    <a:pt x="522044" y="795276"/>
                  </a:cubicBezTo>
                  <a:cubicBezTo>
                    <a:pt x="522274" y="795276"/>
                    <a:pt x="522620" y="795276"/>
                    <a:pt x="522965" y="795161"/>
                  </a:cubicBezTo>
                  <a:cubicBezTo>
                    <a:pt x="523311" y="795161"/>
                    <a:pt x="523656" y="795161"/>
                    <a:pt x="523887" y="794930"/>
                  </a:cubicBezTo>
                  <a:cubicBezTo>
                    <a:pt x="525154" y="794239"/>
                    <a:pt x="526191" y="793318"/>
                    <a:pt x="526882" y="792166"/>
                  </a:cubicBezTo>
                  <a:cubicBezTo>
                    <a:pt x="527573" y="791129"/>
                    <a:pt x="528034" y="789862"/>
                    <a:pt x="528264" y="788595"/>
                  </a:cubicBezTo>
                  <a:cubicBezTo>
                    <a:pt x="528610" y="787328"/>
                    <a:pt x="528610" y="785945"/>
                    <a:pt x="528725" y="784678"/>
                  </a:cubicBezTo>
                  <a:cubicBezTo>
                    <a:pt x="528725" y="783296"/>
                    <a:pt x="528725" y="781914"/>
                    <a:pt x="528725" y="780647"/>
                  </a:cubicBezTo>
                  <a:cubicBezTo>
                    <a:pt x="528725" y="778573"/>
                    <a:pt x="528494" y="776385"/>
                    <a:pt x="528264" y="774196"/>
                  </a:cubicBezTo>
                  <a:cubicBezTo>
                    <a:pt x="528034" y="772007"/>
                    <a:pt x="527803" y="769703"/>
                    <a:pt x="527458" y="767400"/>
                  </a:cubicBezTo>
                  <a:cubicBezTo>
                    <a:pt x="527112" y="765096"/>
                    <a:pt x="526766" y="762792"/>
                    <a:pt x="526536" y="760604"/>
                  </a:cubicBezTo>
                  <a:cubicBezTo>
                    <a:pt x="526191" y="758415"/>
                    <a:pt x="525845" y="756226"/>
                    <a:pt x="525615" y="754153"/>
                  </a:cubicBezTo>
                  <a:cubicBezTo>
                    <a:pt x="525615" y="753116"/>
                    <a:pt x="525384" y="752079"/>
                    <a:pt x="525269" y="751158"/>
                  </a:cubicBezTo>
                  <a:cubicBezTo>
                    <a:pt x="525269" y="750236"/>
                    <a:pt x="525039" y="749315"/>
                    <a:pt x="525039" y="748508"/>
                  </a:cubicBezTo>
                  <a:cubicBezTo>
                    <a:pt x="525039" y="747702"/>
                    <a:pt x="524923" y="746896"/>
                    <a:pt x="524923" y="746205"/>
                  </a:cubicBezTo>
                  <a:lnTo>
                    <a:pt x="524923" y="743555"/>
                  </a:lnTo>
                  <a:cubicBezTo>
                    <a:pt x="525615" y="744016"/>
                    <a:pt x="526536" y="744592"/>
                    <a:pt x="527573" y="745398"/>
                  </a:cubicBezTo>
                  <a:cubicBezTo>
                    <a:pt x="528610" y="746205"/>
                    <a:pt x="529761" y="747126"/>
                    <a:pt x="531144" y="748163"/>
                  </a:cubicBezTo>
                  <a:cubicBezTo>
                    <a:pt x="532411" y="749200"/>
                    <a:pt x="533793" y="750351"/>
                    <a:pt x="535175" y="751619"/>
                  </a:cubicBezTo>
                  <a:cubicBezTo>
                    <a:pt x="536558" y="752886"/>
                    <a:pt x="538055" y="754153"/>
                    <a:pt x="539438" y="755420"/>
                  </a:cubicBezTo>
                  <a:cubicBezTo>
                    <a:pt x="541396" y="757148"/>
                    <a:pt x="543239" y="758760"/>
                    <a:pt x="545082" y="760373"/>
                  </a:cubicBezTo>
                  <a:cubicBezTo>
                    <a:pt x="546925" y="762101"/>
                    <a:pt x="548768" y="763598"/>
                    <a:pt x="550611" y="765096"/>
                  </a:cubicBezTo>
                  <a:cubicBezTo>
                    <a:pt x="552454" y="766593"/>
                    <a:pt x="554297" y="767860"/>
                    <a:pt x="556025" y="769012"/>
                  </a:cubicBezTo>
                  <a:cubicBezTo>
                    <a:pt x="557868" y="770164"/>
                    <a:pt x="559826" y="770971"/>
                    <a:pt x="561669" y="771547"/>
                  </a:cubicBezTo>
                  <a:cubicBezTo>
                    <a:pt x="562130" y="771662"/>
                    <a:pt x="562476" y="771662"/>
                    <a:pt x="562936" y="771662"/>
                  </a:cubicBezTo>
                  <a:cubicBezTo>
                    <a:pt x="563397" y="771662"/>
                    <a:pt x="563858" y="771662"/>
                    <a:pt x="564319" y="771662"/>
                  </a:cubicBezTo>
                  <a:cubicBezTo>
                    <a:pt x="564779" y="771662"/>
                    <a:pt x="565125" y="771431"/>
                    <a:pt x="565586" y="771316"/>
                  </a:cubicBezTo>
                  <a:cubicBezTo>
                    <a:pt x="566046" y="771201"/>
                    <a:pt x="566507" y="770971"/>
                    <a:pt x="566853" y="770740"/>
                  </a:cubicBezTo>
                  <a:cubicBezTo>
                    <a:pt x="567890" y="769703"/>
                    <a:pt x="568581" y="768552"/>
                    <a:pt x="569041" y="767400"/>
                  </a:cubicBezTo>
                  <a:cubicBezTo>
                    <a:pt x="569502" y="766248"/>
                    <a:pt x="569733" y="764866"/>
                    <a:pt x="569848" y="763598"/>
                  </a:cubicBezTo>
                  <a:cubicBezTo>
                    <a:pt x="569848" y="762331"/>
                    <a:pt x="569848" y="760949"/>
                    <a:pt x="569733" y="759567"/>
                  </a:cubicBezTo>
                  <a:cubicBezTo>
                    <a:pt x="569617" y="758184"/>
                    <a:pt x="569387" y="756917"/>
                    <a:pt x="569157" y="755650"/>
                  </a:cubicBezTo>
                  <a:cubicBezTo>
                    <a:pt x="568696" y="752771"/>
                    <a:pt x="568005" y="749776"/>
                    <a:pt x="567198" y="746550"/>
                  </a:cubicBezTo>
                  <a:cubicBezTo>
                    <a:pt x="566392" y="743325"/>
                    <a:pt x="565586" y="740100"/>
                    <a:pt x="564664" y="736989"/>
                  </a:cubicBezTo>
                  <a:cubicBezTo>
                    <a:pt x="563858" y="733879"/>
                    <a:pt x="562936" y="730884"/>
                    <a:pt x="562245" y="728005"/>
                  </a:cubicBezTo>
                  <a:cubicBezTo>
                    <a:pt x="561554" y="725240"/>
                    <a:pt x="560978" y="722706"/>
                    <a:pt x="560633" y="720747"/>
                  </a:cubicBezTo>
                  <a:lnTo>
                    <a:pt x="560287" y="718098"/>
                  </a:lnTo>
                  <a:cubicBezTo>
                    <a:pt x="561784" y="718559"/>
                    <a:pt x="563973" y="719941"/>
                    <a:pt x="566622" y="721669"/>
                  </a:cubicBezTo>
                  <a:cubicBezTo>
                    <a:pt x="569272" y="723397"/>
                    <a:pt x="572382" y="725701"/>
                    <a:pt x="575607" y="728005"/>
                  </a:cubicBezTo>
                  <a:cubicBezTo>
                    <a:pt x="578833" y="730193"/>
                    <a:pt x="582288" y="732497"/>
                    <a:pt x="585514" y="734455"/>
                  </a:cubicBezTo>
                  <a:cubicBezTo>
                    <a:pt x="588739" y="736413"/>
                    <a:pt x="591849" y="737911"/>
                    <a:pt x="594614" y="738717"/>
                  </a:cubicBezTo>
                  <a:cubicBezTo>
                    <a:pt x="595190" y="738832"/>
                    <a:pt x="595766" y="738948"/>
                    <a:pt x="596342" y="738948"/>
                  </a:cubicBezTo>
                  <a:cubicBezTo>
                    <a:pt x="596918" y="738948"/>
                    <a:pt x="597494" y="738948"/>
                    <a:pt x="598069" y="738948"/>
                  </a:cubicBezTo>
                  <a:cubicBezTo>
                    <a:pt x="598645" y="738948"/>
                    <a:pt x="599221" y="738717"/>
                    <a:pt x="599797" y="738372"/>
                  </a:cubicBezTo>
                  <a:cubicBezTo>
                    <a:pt x="600258" y="738141"/>
                    <a:pt x="600834" y="737681"/>
                    <a:pt x="601295" y="737105"/>
                  </a:cubicBezTo>
                  <a:cubicBezTo>
                    <a:pt x="601871" y="736413"/>
                    <a:pt x="602216" y="735607"/>
                    <a:pt x="602562" y="734686"/>
                  </a:cubicBezTo>
                  <a:cubicBezTo>
                    <a:pt x="602792" y="733879"/>
                    <a:pt x="602907" y="732958"/>
                    <a:pt x="603023" y="732036"/>
                  </a:cubicBezTo>
                  <a:cubicBezTo>
                    <a:pt x="603023" y="731115"/>
                    <a:pt x="603023" y="730308"/>
                    <a:pt x="603023" y="729387"/>
                  </a:cubicBezTo>
                  <a:cubicBezTo>
                    <a:pt x="603023" y="728465"/>
                    <a:pt x="602792" y="727659"/>
                    <a:pt x="602677" y="726737"/>
                  </a:cubicBezTo>
                  <a:cubicBezTo>
                    <a:pt x="601986" y="723397"/>
                    <a:pt x="600834" y="719596"/>
                    <a:pt x="599452" y="715564"/>
                  </a:cubicBezTo>
                  <a:cubicBezTo>
                    <a:pt x="598069" y="711648"/>
                    <a:pt x="596457" y="707501"/>
                    <a:pt x="594959" y="703584"/>
                  </a:cubicBezTo>
                  <a:cubicBezTo>
                    <a:pt x="593462" y="699668"/>
                    <a:pt x="591964" y="695982"/>
                    <a:pt x="590697" y="692756"/>
                  </a:cubicBezTo>
                  <a:cubicBezTo>
                    <a:pt x="589545" y="689531"/>
                    <a:pt x="588624" y="686766"/>
                    <a:pt x="588278" y="684923"/>
                  </a:cubicBezTo>
                  <a:lnTo>
                    <a:pt x="588739" y="684923"/>
                  </a:lnTo>
                  <a:cubicBezTo>
                    <a:pt x="588739" y="684923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cubicBezTo>
                    <a:pt x="588739" y="685038"/>
                    <a:pt x="588739" y="685038"/>
                    <a:pt x="588739" y="685038"/>
                  </a:cubicBezTo>
                  <a:lnTo>
                    <a:pt x="588739" y="685038"/>
                  </a:lnTo>
                  <a:cubicBezTo>
                    <a:pt x="590237" y="685384"/>
                    <a:pt x="592310" y="686306"/>
                    <a:pt x="594614" y="687342"/>
                  </a:cubicBezTo>
                  <a:cubicBezTo>
                    <a:pt x="596918" y="688494"/>
                    <a:pt x="599567" y="689876"/>
                    <a:pt x="602332" y="691259"/>
                  </a:cubicBezTo>
                  <a:cubicBezTo>
                    <a:pt x="605096" y="692641"/>
                    <a:pt x="607976" y="694138"/>
                    <a:pt x="610740" y="695290"/>
                  </a:cubicBezTo>
                  <a:cubicBezTo>
                    <a:pt x="613505" y="696557"/>
                    <a:pt x="616154" y="697594"/>
                    <a:pt x="618573" y="698170"/>
                  </a:cubicBezTo>
                  <a:cubicBezTo>
                    <a:pt x="619265" y="698285"/>
                    <a:pt x="620071" y="698516"/>
                    <a:pt x="620762" y="698516"/>
                  </a:cubicBezTo>
                  <a:cubicBezTo>
                    <a:pt x="621568" y="698516"/>
                    <a:pt x="622259" y="698516"/>
                    <a:pt x="623181" y="698516"/>
                  </a:cubicBezTo>
                  <a:cubicBezTo>
                    <a:pt x="623987" y="698401"/>
                    <a:pt x="624678" y="698170"/>
                    <a:pt x="625370" y="697594"/>
                  </a:cubicBezTo>
                  <a:cubicBezTo>
                    <a:pt x="626061" y="697133"/>
                    <a:pt x="626637" y="696442"/>
                    <a:pt x="627213" y="695406"/>
                  </a:cubicBezTo>
                  <a:cubicBezTo>
                    <a:pt x="627443" y="694830"/>
                    <a:pt x="627673" y="694254"/>
                    <a:pt x="627789" y="693563"/>
                  </a:cubicBezTo>
                  <a:cubicBezTo>
                    <a:pt x="627789" y="692871"/>
                    <a:pt x="628019" y="692295"/>
                    <a:pt x="628019" y="691604"/>
                  </a:cubicBezTo>
                  <a:cubicBezTo>
                    <a:pt x="628019" y="691028"/>
                    <a:pt x="628019" y="690337"/>
                    <a:pt x="628019" y="689646"/>
                  </a:cubicBezTo>
                  <a:cubicBezTo>
                    <a:pt x="628019" y="688955"/>
                    <a:pt x="627904" y="688379"/>
                    <a:pt x="627673" y="687803"/>
                  </a:cubicBezTo>
                  <a:cubicBezTo>
                    <a:pt x="627213" y="685730"/>
                    <a:pt x="626637" y="683541"/>
                    <a:pt x="625830" y="681468"/>
                  </a:cubicBezTo>
                  <a:cubicBezTo>
                    <a:pt x="625024" y="679394"/>
                    <a:pt x="624103" y="677205"/>
                    <a:pt x="623181" y="675132"/>
                  </a:cubicBezTo>
                  <a:cubicBezTo>
                    <a:pt x="622144" y="672943"/>
                    <a:pt x="621108" y="670870"/>
                    <a:pt x="619956" y="668681"/>
                  </a:cubicBezTo>
                  <a:cubicBezTo>
                    <a:pt x="618804" y="666608"/>
                    <a:pt x="617652" y="664304"/>
                    <a:pt x="616500" y="662116"/>
                  </a:cubicBezTo>
                  <a:cubicBezTo>
                    <a:pt x="615578" y="660388"/>
                    <a:pt x="614657" y="658660"/>
                    <a:pt x="613735" y="656932"/>
                  </a:cubicBezTo>
                  <a:cubicBezTo>
                    <a:pt x="612929" y="655204"/>
                    <a:pt x="612008" y="653591"/>
                    <a:pt x="611316" y="652094"/>
                  </a:cubicBezTo>
                  <a:cubicBezTo>
                    <a:pt x="610510" y="650596"/>
                    <a:pt x="609934" y="649099"/>
                    <a:pt x="609358" y="647947"/>
                  </a:cubicBezTo>
                  <a:cubicBezTo>
                    <a:pt x="608897" y="646795"/>
                    <a:pt x="608437" y="645758"/>
                    <a:pt x="608206" y="644952"/>
                  </a:cubicBezTo>
                  <a:cubicBezTo>
                    <a:pt x="608437" y="644952"/>
                    <a:pt x="608782" y="644952"/>
                    <a:pt x="609013" y="644952"/>
                  </a:cubicBezTo>
                  <a:cubicBezTo>
                    <a:pt x="609358" y="644952"/>
                    <a:pt x="609704" y="644952"/>
                    <a:pt x="610165" y="645067"/>
                  </a:cubicBezTo>
                  <a:cubicBezTo>
                    <a:pt x="610510" y="645067"/>
                    <a:pt x="610971" y="645182"/>
                    <a:pt x="611432" y="645298"/>
                  </a:cubicBezTo>
                  <a:cubicBezTo>
                    <a:pt x="611892" y="645298"/>
                    <a:pt x="612353" y="645528"/>
                    <a:pt x="612929" y="645643"/>
                  </a:cubicBezTo>
                  <a:cubicBezTo>
                    <a:pt x="614196" y="645989"/>
                    <a:pt x="615578" y="646450"/>
                    <a:pt x="617076" y="646910"/>
                  </a:cubicBezTo>
                  <a:cubicBezTo>
                    <a:pt x="618573" y="647371"/>
                    <a:pt x="620071" y="647832"/>
                    <a:pt x="621684" y="648408"/>
                  </a:cubicBezTo>
                  <a:cubicBezTo>
                    <a:pt x="623181" y="648984"/>
                    <a:pt x="624794" y="649445"/>
                    <a:pt x="626406" y="649905"/>
                  </a:cubicBezTo>
                  <a:cubicBezTo>
                    <a:pt x="627904" y="650481"/>
                    <a:pt x="629517" y="650942"/>
                    <a:pt x="631014" y="651288"/>
                  </a:cubicBezTo>
                  <a:cubicBezTo>
                    <a:pt x="632281" y="651518"/>
                    <a:pt x="633548" y="651864"/>
                    <a:pt x="634815" y="651979"/>
                  </a:cubicBezTo>
                  <a:cubicBezTo>
                    <a:pt x="636082" y="652209"/>
                    <a:pt x="637349" y="652439"/>
                    <a:pt x="638501" y="652324"/>
                  </a:cubicBezTo>
                  <a:cubicBezTo>
                    <a:pt x="639768" y="652324"/>
                    <a:pt x="640805" y="651979"/>
                    <a:pt x="641727" y="651172"/>
                  </a:cubicBezTo>
                  <a:cubicBezTo>
                    <a:pt x="642648" y="650481"/>
                    <a:pt x="643570" y="649329"/>
                    <a:pt x="644261" y="647601"/>
                  </a:cubicBezTo>
                  <a:cubicBezTo>
                    <a:pt x="644261" y="647141"/>
                    <a:pt x="644376" y="646795"/>
                    <a:pt x="644491" y="646334"/>
                  </a:cubicBezTo>
                  <a:cubicBezTo>
                    <a:pt x="644491" y="645874"/>
                    <a:pt x="644491" y="645413"/>
                    <a:pt x="644491" y="644952"/>
                  </a:cubicBezTo>
                  <a:cubicBezTo>
                    <a:pt x="644491" y="644491"/>
                    <a:pt x="644491" y="644031"/>
                    <a:pt x="644491" y="643570"/>
                  </a:cubicBezTo>
                  <a:cubicBezTo>
                    <a:pt x="644491" y="643109"/>
                    <a:pt x="644376" y="642648"/>
                    <a:pt x="644376" y="642188"/>
                  </a:cubicBezTo>
                  <a:cubicBezTo>
                    <a:pt x="643685" y="639769"/>
                    <a:pt x="642879" y="637465"/>
                    <a:pt x="641957" y="635161"/>
                  </a:cubicBezTo>
                  <a:cubicBezTo>
                    <a:pt x="640920" y="632972"/>
                    <a:pt x="639768" y="630784"/>
                    <a:pt x="638501" y="628595"/>
                  </a:cubicBezTo>
                  <a:cubicBezTo>
                    <a:pt x="637234" y="626522"/>
                    <a:pt x="635852" y="624333"/>
                    <a:pt x="634470" y="622260"/>
                  </a:cubicBezTo>
                  <a:cubicBezTo>
                    <a:pt x="633087" y="620071"/>
                    <a:pt x="631590" y="617882"/>
                    <a:pt x="630208" y="615694"/>
                  </a:cubicBezTo>
                  <a:cubicBezTo>
                    <a:pt x="629056" y="614081"/>
                    <a:pt x="628019" y="612468"/>
                    <a:pt x="626982" y="610856"/>
                  </a:cubicBezTo>
                  <a:cubicBezTo>
                    <a:pt x="625946" y="609243"/>
                    <a:pt x="625024" y="607630"/>
                    <a:pt x="624103" y="606248"/>
                  </a:cubicBezTo>
                  <a:cubicBezTo>
                    <a:pt x="623296" y="604866"/>
                    <a:pt x="622375" y="603483"/>
                    <a:pt x="621799" y="602332"/>
                  </a:cubicBezTo>
                  <a:cubicBezTo>
                    <a:pt x="621108" y="601180"/>
                    <a:pt x="620647" y="600258"/>
                    <a:pt x="620301" y="599567"/>
                  </a:cubicBezTo>
                  <a:cubicBezTo>
                    <a:pt x="620877" y="599567"/>
                    <a:pt x="621684" y="599567"/>
                    <a:pt x="622605" y="599567"/>
                  </a:cubicBezTo>
                  <a:cubicBezTo>
                    <a:pt x="623527" y="599567"/>
                    <a:pt x="624678" y="599567"/>
                    <a:pt x="626061" y="599567"/>
                  </a:cubicBezTo>
                  <a:cubicBezTo>
                    <a:pt x="627328" y="599567"/>
                    <a:pt x="628710" y="599682"/>
                    <a:pt x="630092" y="599913"/>
                  </a:cubicBezTo>
                  <a:cubicBezTo>
                    <a:pt x="631475" y="600028"/>
                    <a:pt x="632972" y="600258"/>
                    <a:pt x="634470" y="600604"/>
                  </a:cubicBezTo>
                  <a:cubicBezTo>
                    <a:pt x="635391" y="600719"/>
                    <a:pt x="636313" y="600834"/>
                    <a:pt x="637349" y="600949"/>
                  </a:cubicBezTo>
                  <a:cubicBezTo>
                    <a:pt x="638271" y="600949"/>
                    <a:pt x="639192" y="601180"/>
                    <a:pt x="640114" y="601180"/>
                  </a:cubicBezTo>
                  <a:cubicBezTo>
                    <a:pt x="641036" y="601180"/>
                    <a:pt x="641957" y="601295"/>
                    <a:pt x="642763" y="601295"/>
                  </a:cubicBezTo>
                  <a:cubicBezTo>
                    <a:pt x="643685" y="601295"/>
                    <a:pt x="644491" y="601295"/>
                    <a:pt x="645298" y="601295"/>
                  </a:cubicBezTo>
                  <a:cubicBezTo>
                    <a:pt x="646104" y="601295"/>
                    <a:pt x="646795" y="601064"/>
                    <a:pt x="647601" y="600949"/>
                  </a:cubicBezTo>
                  <a:cubicBezTo>
                    <a:pt x="648408" y="600719"/>
                    <a:pt x="649099" y="600489"/>
                    <a:pt x="649790" y="600143"/>
                  </a:cubicBezTo>
                  <a:cubicBezTo>
                    <a:pt x="650481" y="599682"/>
                    <a:pt x="651172" y="599106"/>
                    <a:pt x="651633" y="598300"/>
                  </a:cubicBezTo>
                  <a:cubicBezTo>
                    <a:pt x="652094" y="597494"/>
                    <a:pt x="652555" y="596342"/>
                    <a:pt x="652670" y="594959"/>
                  </a:cubicBezTo>
                  <a:cubicBezTo>
                    <a:pt x="652670" y="594614"/>
                    <a:pt x="652670" y="594383"/>
                    <a:pt x="652670" y="594038"/>
                  </a:cubicBezTo>
                  <a:cubicBezTo>
                    <a:pt x="652670" y="593692"/>
                    <a:pt x="652670" y="593462"/>
                    <a:pt x="652670" y="593232"/>
                  </a:cubicBezTo>
                  <a:cubicBezTo>
                    <a:pt x="652670" y="592886"/>
                    <a:pt x="652670" y="592656"/>
                    <a:pt x="652670" y="592310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1DFA40E-0B26-B78F-80C8-407B153C6073}"/>
                </a:ext>
              </a:extLst>
            </p:cNvPr>
            <p:cNvSpPr/>
            <p:nvPr/>
          </p:nvSpPr>
          <p:spPr>
            <a:xfrm>
              <a:off x="767891" y="902184"/>
              <a:ext cx="915649" cy="1047543"/>
            </a:xfrm>
            <a:custGeom>
              <a:avLst/>
              <a:gdLst>
                <a:gd name="connsiteX0" fmla="*/ 912885 w 915649"/>
                <a:gd name="connsiteY0" fmla="*/ 612468 h 1047543"/>
                <a:gd name="connsiteX1" fmla="*/ 910582 w 915649"/>
                <a:gd name="connsiteY1" fmla="*/ 608091 h 1047543"/>
                <a:gd name="connsiteX2" fmla="*/ 907932 w 915649"/>
                <a:gd name="connsiteY2" fmla="*/ 604405 h 1047543"/>
                <a:gd name="connsiteX3" fmla="*/ 905052 w 915649"/>
                <a:gd name="connsiteY3" fmla="*/ 601065 h 1047543"/>
                <a:gd name="connsiteX4" fmla="*/ 900445 w 915649"/>
                <a:gd name="connsiteY4" fmla="*/ 596111 h 1047543"/>
                <a:gd name="connsiteX5" fmla="*/ 895376 w 915649"/>
                <a:gd name="connsiteY5" fmla="*/ 591273 h 1047543"/>
                <a:gd name="connsiteX6" fmla="*/ 890308 w 915649"/>
                <a:gd name="connsiteY6" fmla="*/ 586551 h 1047543"/>
                <a:gd name="connsiteX7" fmla="*/ 885585 w 915649"/>
                <a:gd name="connsiteY7" fmla="*/ 582058 h 1047543"/>
                <a:gd name="connsiteX8" fmla="*/ 883397 w 915649"/>
                <a:gd name="connsiteY8" fmla="*/ 579869 h 1047543"/>
                <a:gd name="connsiteX9" fmla="*/ 881438 w 915649"/>
                <a:gd name="connsiteY9" fmla="*/ 577796 h 1047543"/>
                <a:gd name="connsiteX10" fmla="*/ 879710 w 915649"/>
                <a:gd name="connsiteY10" fmla="*/ 575838 h 1047543"/>
                <a:gd name="connsiteX11" fmla="*/ 878328 w 915649"/>
                <a:gd name="connsiteY11" fmla="*/ 574110 h 1047543"/>
                <a:gd name="connsiteX12" fmla="*/ 877637 w 915649"/>
                <a:gd name="connsiteY12" fmla="*/ 573304 h 1047543"/>
                <a:gd name="connsiteX13" fmla="*/ 878328 w 915649"/>
                <a:gd name="connsiteY13" fmla="*/ 572612 h 1047543"/>
                <a:gd name="connsiteX14" fmla="*/ 879134 w 915649"/>
                <a:gd name="connsiteY14" fmla="*/ 571921 h 1047543"/>
                <a:gd name="connsiteX15" fmla="*/ 880171 w 915649"/>
                <a:gd name="connsiteY15" fmla="*/ 571230 h 1047543"/>
                <a:gd name="connsiteX16" fmla="*/ 881323 w 915649"/>
                <a:gd name="connsiteY16" fmla="*/ 570539 h 1047543"/>
                <a:gd name="connsiteX17" fmla="*/ 885009 w 915649"/>
                <a:gd name="connsiteY17" fmla="*/ 568581 h 1047543"/>
                <a:gd name="connsiteX18" fmla="*/ 889156 w 915649"/>
                <a:gd name="connsiteY18" fmla="*/ 566507 h 1047543"/>
                <a:gd name="connsiteX19" fmla="*/ 893418 w 915649"/>
                <a:gd name="connsiteY19" fmla="*/ 564319 h 1047543"/>
                <a:gd name="connsiteX20" fmla="*/ 897565 w 915649"/>
                <a:gd name="connsiteY20" fmla="*/ 562015 h 1047543"/>
                <a:gd name="connsiteX21" fmla="*/ 901366 w 915649"/>
                <a:gd name="connsiteY21" fmla="*/ 559366 h 1047543"/>
                <a:gd name="connsiteX22" fmla="*/ 904937 w 915649"/>
                <a:gd name="connsiteY22" fmla="*/ 556371 h 1047543"/>
                <a:gd name="connsiteX23" fmla="*/ 907356 w 915649"/>
                <a:gd name="connsiteY23" fmla="*/ 551878 h 1047543"/>
                <a:gd name="connsiteX24" fmla="*/ 907932 w 915649"/>
                <a:gd name="connsiteY24" fmla="*/ 544736 h 1047543"/>
                <a:gd name="connsiteX25" fmla="*/ 897565 w 915649"/>
                <a:gd name="connsiteY25" fmla="*/ 543008 h 1047543"/>
                <a:gd name="connsiteX26" fmla="*/ 895261 w 915649"/>
                <a:gd name="connsiteY26" fmla="*/ 541396 h 1047543"/>
                <a:gd name="connsiteX27" fmla="*/ 894570 w 915649"/>
                <a:gd name="connsiteY27" fmla="*/ 542317 h 1047543"/>
                <a:gd name="connsiteX28" fmla="*/ 891921 w 915649"/>
                <a:gd name="connsiteY28" fmla="*/ 544391 h 1047543"/>
                <a:gd name="connsiteX29" fmla="*/ 888004 w 915649"/>
                <a:gd name="connsiteY29" fmla="*/ 546695 h 1047543"/>
                <a:gd name="connsiteX30" fmla="*/ 883281 w 915649"/>
                <a:gd name="connsiteY30" fmla="*/ 549114 h 1047543"/>
                <a:gd name="connsiteX31" fmla="*/ 878328 w 915649"/>
                <a:gd name="connsiteY31" fmla="*/ 551648 h 1047543"/>
                <a:gd name="connsiteX32" fmla="*/ 873605 w 915649"/>
                <a:gd name="connsiteY32" fmla="*/ 554412 h 1047543"/>
                <a:gd name="connsiteX33" fmla="*/ 869113 w 915649"/>
                <a:gd name="connsiteY33" fmla="*/ 557292 h 1047543"/>
                <a:gd name="connsiteX34" fmla="*/ 865657 w 915649"/>
                <a:gd name="connsiteY34" fmla="*/ 561900 h 1047543"/>
                <a:gd name="connsiteX35" fmla="*/ 864160 w 915649"/>
                <a:gd name="connsiteY35" fmla="*/ 569733 h 1047543"/>
                <a:gd name="connsiteX36" fmla="*/ 864160 w 915649"/>
                <a:gd name="connsiteY36" fmla="*/ 570769 h 1047543"/>
                <a:gd name="connsiteX37" fmla="*/ 865888 w 915649"/>
                <a:gd name="connsiteY37" fmla="*/ 576299 h 1047543"/>
                <a:gd name="connsiteX38" fmla="*/ 868191 w 915649"/>
                <a:gd name="connsiteY38" fmla="*/ 580791 h 1047543"/>
                <a:gd name="connsiteX39" fmla="*/ 870956 w 915649"/>
                <a:gd name="connsiteY39" fmla="*/ 584592 h 1047543"/>
                <a:gd name="connsiteX40" fmla="*/ 873836 w 915649"/>
                <a:gd name="connsiteY40" fmla="*/ 588048 h 1047543"/>
                <a:gd name="connsiteX41" fmla="*/ 878558 w 915649"/>
                <a:gd name="connsiteY41" fmla="*/ 593001 h 1047543"/>
                <a:gd name="connsiteX42" fmla="*/ 883627 w 915649"/>
                <a:gd name="connsiteY42" fmla="*/ 597839 h 1047543"/>
                <a:gd name="connsiteX43" fmla="*/ 888695 w 915649"/>
                <a:gd name="connsiteY43" fmla="*/ 602562 h 1047543"/>
                <a:gd name="connsiteX44" fmla="*/ 893533 w 915649"/>
                <a:gd name="connsiteY44" fmla="*/ 607170 h 1047543"/>
                <a:gd name="connsiteX45" fmla="*/ 895722 w 915649"/>
                <a:gd name="connsiteY45" fmla="*/ 609358 h 1047543"/>
                <a:gd name="connsiteX46" fmla="*/ 897680 w 915649"/>
                <a:gd name="connsiteY46" fmla="*/ 611432 h 1047543"/>
                <a:gd name="connsiteX47" fmla="*/ 899408 w 915649"/>
                <a:gd name="connsiteY47" fmla="*/ 613275 h 1047543"/>
                <a:gd name="connsiteX48" fmla="*/ 900790 w 915649"/>
                <a:gd name="connsiteY48" fmla="*/ 614887 h 1047543"/>
                <a:gd name="connsiteX49" fmla="*/ 901136 w 915649"/>
                <a:gd name="connsiteY49" fmla="*/ 615233 h 1047543"/>
                <a:gd name="connsiteX50" fmla="*/ 898026 w 915649"/>
                <a:gd name="connsiteY50" fmla="*/ 616730 h 1047543"/>
                <a:gd name="connsiteX51" fmla="*/ 893649 w 915649"/>
                <a:gd name="connsiteY51" fmla="*/ 618113 h 1047543"/>
                <a:gd name="connsiteX52" fmla="*/ 888465 w 915649"/>
                <a:gd name="connsiteY52" fmla="*/ 619495 h 1047543"/>
                <a:gd name="connsiteX53" fmla="*/ 883051 w 915649"/>
                <a:gd name="connsiteY53" fmla="*/ 620877 h 1047543"/>
                <a:gd name="connsiteX54" fmla="*/ 877637 w 915649"/>
                <a:gd name="connsiteY54" fmla="*/ 622605 h 1047543"/>
                <a:gd name="connsiteX55" fmla="*/ 872453 w 915649"/>
                <a:gd name="connsiteY55" fmla="*/ 624563 h 1047543"/>
                <a:gd name="connsiteX56" fmla="*/ 868191 w 915649"/>
                <a:gd name="connsiteY56" fmla="*/ 628365 h 1047543"/>
                <a:gd name="connsiteX57" fmla="*/ 865542 w 915649"/>
                <a:gd name="connsiteY57" fmla="*/ 635622 h 1047543"/>
                <a:gd name="connsiteX58" fmla="*/ 865542 w 915649"/>
                <a:gd name="connsiteY58" fmla="*/ 639077 h 1047543"/>
                <a:gd name="connsiteX59" fmla="*/ 868998 w 915649"/>
                <a:gd name="connsiteY59" fmla="*/ 648408 h 1047543"/>
                <a:gd name="connsiteX60" fmla="*/ 873836 w 915649"/>
                <a:gd name="connsiteY60" fmla="*/ 656241 h 1047543"/>
                <a:gd name="connsiteX61" fmla="*/ 879595 w 915649"/>
                <a:gd name="connsiteY61" fmla="*/ 663383 h 1047543"/>
                <a:gd name="connsiteX62" fmla="*/ 885585 w 915649"/>
                <a:gd name="connsiteY62" fmla="*/ 670755 h 1047543"/>
                <a:gd name="connsiteX63" fmla="*/ 888580 w 915649"/>
                <a:gd name="connsiteY63" fmla="*/ 674326 h 1047543"/>
                <a:gd name="connsiteX64" fmla="*/ 891460 w 915649"/>
                <a:gd name="connsiteY64" fmla="*/ 677781 h 1047543"/>
                <a:gd name="connsiteX65" fmla="*/ 893994 w 915649"/>
                <a:gd name="connsiteY65" fmla="*/ 681007 h 1047543"/>
                <a:gd name="connsiteX66" fmla="*/ 896183 w 915649"/>
                <a:gd name="connsiteY66" fmla="*/ 684002 h 1047543"/>
                <a:gd name="connsiteX67" fmla="*/ 898486 w 915649"/>
                <a:gd name="connsiteY67" fmla="*/ 687457 h 1047543"/>
                <a:gd name="connsiteX68" fmla="*/ 895031 w 915649"/>
                <a:gd name="connsiteY68" fmla="*/ 688264 h 1047543"/>
                <a:gd name="connsiteX69" fmla="*/ 890193 w 915649"/>
                <a:gd name="connsiteY69" fmla="*/ 688725 h 1047543"/>
                <a:gd name="connsiteX70" fmla="*/ 884433 w 915649"/>
                <a:gd name="connsiteY70" fmla="*/ 688955 h 1047543"/>
                <a:gd name="connsiteX71" fmla="*/ 878558 w 915649"/>
                <a:gd name="connsiteY71" fmla="*/ 689070 h 1047543"/>
                <a:gd name="connsiteX72" fmla="*/ 872569 w 915649"/>
                <a:gd name="connsiteY72" fmla="*/ 689531 h 1047543"/>
                <a:gd name="connsiteX73" fmla="*/ 866809 w 915649"/>
                <a:gd name="connsiteY73" fmla="*/ 690337 h 1047543"/>
                <a:gd name="connsiteX74" fmla="*/ 861741 w 915649"/>
                <a:gd name="connsiteY74" fmla="*/ 693102 h 1047543"/>
                <a:gd name="connsiteX75" fmla="*/ 857939 w 915649"/>
                <a:gd name="connsiteY75" fmla="*/ 699552 h 1047543"/>
                <a:gd name="connsiteX76" fmla="*/ 857709 w 915649"/>
                <a:gd name="connsiteY76" fmla="*/ 701050 h 1047543"/>
                <a:gd name="connsiteX77" fmla="*/ 857709 w 915649"/>
                <a:gd name="connsiteY77" fmla="*/ 702547 h 1047543"/>
                <a:gd name="connsiteX78" fmla="*/ 857709 w 915649"/>
                <a:gd name="connsiteY78" fmla="*/ 704045 h 1047543"/>
                <a:gd name="connsiteX79" fmla="*/ 857824 w 915649"/>
                <a:gd name="connsiteY79" fmla="*/ 705542 h 1047543"/>
                <a:gd name="connsiteX80" fmla="*/ 860589 w 915649"/>
                <a:gd name="connsiteY80" fmla="*/ 714527 h 1047543"/>
                <a:gd name="connsiteX81" fmla="*/ 864620 w 915649"/>
                <a:gd name="connsiteY81" fmla="*/ 722591 h 1047543"/>
                <a:gd name="connsiteX82" fmla="*/ 869459 w 915649"/>
                <a:gd name="connsiteY82" fmla="*/ 730308 h 1047543"/>
                <a:gd name="connsiteX83" fmla="*/ 874527 w 915649"/>
                <a:gd name="connsiteY83" fmla="*/ 738141 h 1047543"/>
                <a:gd name="connsiteX84" fmla="*/ 878213 w 915649"/>
                <a:gd name="connsiteY84" fmla="*/ 743670 h 1047543"/>
                <a:gd name="connsiteX85" fmla="*/ 881438 w 915649"/>
                <a:gd name="connsiteY85" fmla="*/ 748969 h 1047543"/>
                <a:gd name="connsiteX86" fmla="*/ 884088 w 915649"/>
                <a:gd name="connsiteY86" fmla="*/ 753692 h 1047543"/>
                <a:gd name="connsiteX87" fmla="*/ 886046 w 915649"/>
                <a:gd name="connsiteY87" fmla="*/ 757263 h 1047543"/>
                <a:gd name="connsiteX88" fmla="*/ 884894 w 915649"/>
                <a:gd name="connsiteY88" fmla="*/ 757378 h 1047543"/>
                <a:gd name="connsiteX89" fmla="*/ 883627 w 915649"/>
                <a:gd name="connsiteY89" fmla="*/ 757378 h 1047543"/>
                <a:gd name="connsiteX90" fmla="*/ 882245 w 915649"/>
                <a:gd name="connsiteY90" fmla="*/ 757378 h 1047543"/>
                <a:gd name="connsiteX91" fmla="*/ 880632 w 915649"/>
                <a:gd name="connsiteY91" fmla="*/ 757378 h 1047543"/>
                <a:gd name="connsiteX92" fmla="*/ 875564 w 915649"/>
                <a:gd name="connsiteY92" fmla="*/ 756687 h 1047543"/>
                <a:gd name="connsiteX93" fmla="*/ 869919 w 915649"/>
                <a:gd name="connsiteY93" fmla="*/ 755650 h 1047543"/>
                <a:gd name="connsiteX94" fmla="*/ 864045 w 915649"/>
                <a:gd name="connsiteY94" fmla="*/ 754614 h 1047543"/>
                <a:gd name="connsiteX95" fmla="*/ 858285 w 915649"/>
                <a:gd name="connsiteY95" fmla="*/ 753807 h 1047543"/>
                <a:gd name="connsiteX96" fmla="*/ 853562 w 915649"/>
                <a:gd name="connsiteY96" fmla="*/ 753692 h 1047543"/>
                <a:gd name="connsiteX97" fmla="*/ 848955 w 915649"/>
                <a:gd name="connsiteY97" fmla="*/ 753922 h 1047543"/>
                <a:gd name="connsiteX98" fmla="*/ 844693 w 915649"/>
                <a:gd name="connsiteY98" fmla="*/ 755996 h 1047543"/>
                <a:gd name="connsiteX99" fmla="*/ 841122 w 915649"/>
                <a:gd name="connsiteY99" fmla="*/ 760834 h 1047543"/>
                <a:gd name="connsiteX100" fmla="*/ 840430 w 915649"/>
                <a:gd name="connsiteY100" fmla="*/ 763022 h 1047543"/>
                <a:gd name="connsiteX101" fmla="*/ 840200 w 915649"/>
                <a:gd name="connsiteY101" fmla="*/ 765326 h 1047543"/>
                <a:gd name="connsiteX102" fmla="*/ 840200 w 915649"/>
                <a:gd name="connsiteY102" fmla="*/ 767630 h 1047543"/>
                <a:gd name="connsiteX103" fmla="*/ 840430 w 915649"/>
                <a:gd name="connsiteY103" fmla="*/ 769819 h 1047543"/>
                <a:gd name="connsiteX104" fmla="*/ 842504 w 915649"/>
                <a:gd name="connsiteY104" fmla="*/ 777997 h 1047543"/>
                <a:gd name="connsiteX105" fmla="*/ 845614 w 915649"/>
                <a:gd name="connsiteY105" fmla="*/ 786061 h 1047543"/>
                <a:gd name="connsiteX106" fmla="*/ 849300 w 915649"/>
                <a:gd name="connsiteY106" fmla="*/ 794009 h 1047543"/>
                <a:gd name="connsiteX107" fmla="*/ 853332 w 915649"/>
                <a:gd name="connsiteY107" fmla="*/ 802187 h 1047543"/>
                <a:gd name="connsiteX108" fmla="*/ 856442 w 915649"/>
                <a:gd name="connsiteY108" fmla="*/ 808408 h 1047543"/>
                <a:gd name="connsiteX109" fmla="*/ 859206 w 915649"/>
                <a:gd name="connsiteY109" fmla="*/ 814282 h 1047543"/>
                <a:gd name="connsiteX110" fmla="*/ 861395 w 915649"/>
                <a:gd name="connsiteY110" fmla="*/ 819466 h 1047543"/>
                <a:gd name="connsiteX111" fmla="*/ 862893 w 915649"/>
                <a:gd name="connsiteY111" fmla="*/ 823382 h 1047543"/>
                <a:gd name="connsiteX112" fmla="*/ 862893 w 915649"/>
                <a:gd name="connsiteY112" fmla="*/ 823382 h 1047543"/>
                <a:gd name="connsiteX113" fmla="*/ 862777 w 915649"/>
                <a:gd name="connsiteY113" fmla="*/ 823382 h 1047543"/>
                <a:gd name="connsiteX114" fmla="*/ 862662 w 915649"/>
                <a:gd name="connsiteY114" fmla="*/ 823382 h 1047543"/>
                <a:gd name="connsiteX115" fmla="*/ 862662 w 915649"/>
                <a:gd name="connsiteY115" fmla="*/ 823382 h 1047543"/>
                <a:gd name="connsiteX116" fmla="*/ 855405 w 915649"/>
                <a:gd name="connsiteY116" fmla="*/ 821539 h 1047543"/>
                <a:gd name="connsiteX117" fmla="*/ 845960 w 915649"/>
                <a:gd name="connsiteY117" fmla="*/ 818084 h 1047543"/>
                <a:gd name="connsiteX118" fmla="*/ 835592 w 915649"/>
                <a:gd name="connsiteY118" fmla="*/ 814513 h 1047543"/>
                <a:gd name="connsiteX119" fmla="*/ 826032 w 915649"/>
                <a:gd name="connsiteY119" fmla="*/ 812324 h 1047543"/>
                <a:gd name="connsiteX120" fmla="*/ 823267 w 915649"/>
                <a:gd name="connsiteY120" fmla="*/ 812324 h 1047543"/>
                <a:gd name="connsiteX121" fmla="*/ 820387 w 915649"/>
                <a:gd name="connsiteY121" fmla="*/ 812900 h 1047543"/>
                <a:gd name="connsiteX122" fmla="*/ 817623 w 915649"/>
                <a:gd name="connsiteY122" fmla="*/ 814397 h 1047543"/>
                <a:gd name="connsiteX123" fmla="*/ 815089 w 915649"/>
                <a:gd name="connsiteY123" fmla="*/ 817277 h 1047543"/>
                <a:gd name="connsiteX124" fmla="*/ 813821 w 915649"/>
                <a:gd name="connsiteY124" fmla="*/ 820503 h 1047543"/>
                <a:gd name="connsiteX125" fmla="*/ 813245 w 915649"/>
                <a:gd name="connsiteY125" fmla="*/ 823843 h 1047543"/>
                <a:gd name="connsiteX126" fmla="*/ 813245 w 915649"/>
                <a:gd name="connsiteY126" fmla="*/ 827184 h 1047543"/>
                <a:gd name="connsiteX127" fmla="*/ 813591 w 915649"/>
                <a:gd name="connsiteY127" fmla="*/ 830294 h 1047543"/>
                <a:gd name="connsiteX128" fmla="*/ 816932 w 915649"/>
                <a:gd name="connsiteY128" fmla="*/ 844462 h 1047543"/>
                <a:gd name="connsiteX129" fmla="*/ 822000 w 915649"/>
                <a:gd name="connsiteY129" fmla="*/ 859552 h 1047543"/>
                <a:gd name="connsiteX130" fmla="*/ 826838 w 915649"/>
                <a:gd name="connsiteY130" fmla="*/ 873375 h 1047543"/>
                <a:gd name="connsiteX131" fmla="*/ 829718 w 915649"/>
                <a:gd name="connsiteY131" fmla="*/ 883742 h 1047543"/>
                <a:gd name="connsiteX132" fmla="*/ 821770 w 915649"/>
                <a:gd name="connsiteY132" fmla="*/ 880056 h 1047543"/>
                <a:gd name="connsiteX133" fmla="*/ 810826 w 915649"/>
                <a:gd name="connsiteY133" fmla="*/ 873721 h 1047543"/>
                <a:gd name="connsiteX134" fmla="*/ 798731 w 915649"/>
                <a:gd name="connsiteY134" fmla="*/ 867385 h 1047543"/>
                <a:gd name="connsiteX135" fmla="*/ 787558 w 915649"/>
                <a:gd name="connsiteY135" fmla="*/ 863814 h 1047543"/>
                <a:gd name="connsiteX136" fmla="*/ 785485 w 915649"/>
                <a:gd name="connsiteY136" fmla="*/ 863814 h 1047543"/>
                <a:gd name="connsiteX137" fmla="*/ 783411 w 915649"/>
                <a:gd name="connsiteY137" fmla="*/ 864275 h 1047543"/>
                <a:gd name="connsiteX138" fmla="*/ 781222 w 915649"/>
                <a:gd name="connsiteY138" fmla="*/ 865312 h 1047543"/>
                <a:gd name="connsiteX139" fmla="*/ 779149 w 915649"/>
                <a:gd name="connsiteY139" fmla="*/ 867155 h 1047543"/>
                <a:gd name="connsiteX140" fmla="*/ 776730 w 915649"/>
                <a:gd name="connsiteY140" fmla="*/ 871878 h 1047543"/>
                <a:gd name="connsiteX141" fmla="*/ 775809 w 915649"/>
                <a:gd name="connsiteY141" fmla="*/ 876831 h 1047543"/>
                <a:gd name="connsiteX142" fmla="*/ 775809 w 915649"/>
                <a:gd name="connsiteY142" fmla="*/ 881899 h 1047543"/>
                <a:gd name="connsiteX143" fmla="*/ 776269 w 915649"/>
                <a:gd name="connsiteY143" fmla="*/ 886852 h 1047543"/>
                <a:gd name="connsiteX144" fmla="*/ 778228 w 915649"/>
                <a:gd name="connsiteY144" fmla="*/ 898832 h 1047543"/>
                <a:gd name="connsiteX145" fmla="*/ 780877 w 915649"/>
                <a:gd name="connsiteY145" fmla="*/ 911388 h 1047543"/>
                <a:gd name="connsiteX146" fmla="*/ 783526 w 915649"/>
                <a:gd name="connsiteY146" fmla="*/ 923253 h 1047543"/>
                <a:gd name="connsiteX147" fmla="*/ 785139 w 915649"/>
                <a:gd name="connsiteY147" fmla="*/ 933044 h 1047543"/>
                <a:gd name="connsiteX148" fmla="*/ 785485 w 915649"/>
                <a:gd name="connsiteY148" fmla="*/ 935693 h 1047543"/>
                <a:gd name="connsiteX149" fmla="*/ 782259 w 915649"/>
                <a:gd name="connsiteY149" fmla="*/ 933735 h 1047543"/>
                <a:gd name="connsiteX150" fmla="*/ 778112 w 915649"/>
                <a:gd name="connsiteY150" fmla="*/ 930855 h 1047543"/>
                <a:gd name="connsiteX151" fmla="*/ 773390 w 915649"/>
                <a:gd name="connsiteY151" fmla="*/ 927284 h 1047543"/>
                <a:gd name="connsiteX152" fmla="*/ 768436 w 915649"/>
                <a:gd name="connsiteY152" fmla="*/ 923368 h 1047543"/>
                <a:gd name="connsiteX153" fmla="*/ 761525 w 915649"/>
                <a:gd name="connsiteY153" fmla="*/ 917839 h 1047543"/>
                <a:gd name="connsiteX154" fmla="*/ 754613 w 915649"/>
                <a:gd name="connsiteY154" fmla="*/ 912655 h 1047543"/>
                <a:gd name="connsiteX155" fmla="*/ 747702 w 915649"/>
                <a:gd name="connsiteY155" fmla="*/ 908623 h 1047543"/>
                <a:gd name="connsiteX156" fmla="*/ 740445 w 915649"/>
                <a:gd name="connsiteY156" fmla="*/ 906550 h 1047543"/>
                <a:gd name="connsiteX157" fmla="*/ 738948 w 915649"/>
                <a:gd name="connsiteY157" fmla="*/ 906550 h 1047543"/>
                <a:gd name="connsiteX158" fmla="*/ 737335 w 915649"/>
                <a:gd name="connsiteY158" fmla="*/ 906780 h 1047543"/>
                <a:gd name="connsiteX159" fmla="*/ 735722 w 915649"/>
                <a:gd name="connsiteY159" fmla="*/ 907471 h 1047543"/>
                <a:gd name="connsiteX160" fmla="*/ 734110 w 915649"/>
                <a:gd name="connsiteY160" fmla="*/ 908508 h 1047543"/>
                <a:gd name="connsiteX161" fmla="*/ 730769 w 915649"/>
                <a:gd name="connsiteY161" fmla="*/ 913001 h 1047543"/>
                <a:gd name="connsiteX162" fmla="*/ 729041 w 915649"/>
                <a:gd name="connsiteY162" fmla="*/ 918184 h 1047543"/>
                <a:gd name="connsiteX163" fmla="*/ 728465 w 915649"/>
                <a:gd name="connsiteY163" fmla="*/ 923598 h 1047543"/>
                <a:gd name="connsiteX164" fmla="*/ 728350 w 915649"/>
                <a:gd name="connsiteY164" fmla="*/ 929127 h 1047543"/>
                <a:gd name="connsiteX165" fmla="*/ 728696 w 915649"/>
                <a:gd name="connsiteY165" fmla="*/ 937882 h 1047543"/>
                <a:gd name="connsiteX166" fmla="*/ 729387 w 915649"/>
                <a:gd name="connsiteY166" fmla="*/ 947097 h 1047543"/>
                <a:gd name="connsiteX167" fmla="*/ 730193 w 915649"/>
                <a:gd name="connsiteY167" fmla="*/ 956312 h 1047543"/>
                <a:gd name="connsiteX168" fmla="*/ 730884 w 915649"/>
                <a:gd name="connsiteY168" fmla="*/ 965067 h 1047543"/>
                <a:gd name="connsiteX169" fmla="*/ 731115 w 915649"/>
                <a:gd name="connsiteY169" fmla="*/ 968868 h 1047543"/>
                <a:gd name="connsiteX170" fmla="*/ 731115 w 915649"/>
                <a:gd name="connsiteY170" fmla="*/ 972439 h 1047543"/>
                <a:gd name="connsiteX171" fmla="*/ 731115 w 915649"/>
                <a:gd name="connsiteY171" fmla="*/ 975549 h 1047543"/>
                <a:gd name="connsiteX172" fmla="*/ 730999 w 915649"/>
                <a:gd name="connsiteY172" fmla="*/ 977968 h 1047543"/>
                <a:gd name="connsiteX173" fmla="*/ 727083 w 915649"/>
                <a:gd name="connsiteY173" fmla="*/ 974858 h 1047543"/>
                <a:gd name="connsiteX174" fmla="*/ 722245 w 915649"/>
                <a:gd name="connsiteY174" fmla="*/ 970135 h 1047543"/>
                <a:gd name="connsiteX175" fmla="*/ 716716 w 915649"/>
                <a:gd name="connsiteY175" fmla="*/ 964376 h 1047543"/>
                <a:gd name="connsiteX176" fmla="*/ 710956 w 915649"/>
                <a:gd name="connsiteY176" fmla="*/ 958270 h 1047543"/>
                <a:gd name="connsiteX177" fmla="*/ 704736 w 915649"/>
                <a:gd name="connsiteY177" fmla="*/ 951820 h 1047543"/>
                <a:gd name="connsiteX178" fmla="*/ 698631 w 915649"/>
                <a:gd name="connsiteY178" fmla="*/ 945945 h 1047543"/>
                <a:gd name="connsiteX179" fmla="*/ 692180 w 915649"/>
                <a:gd name="connsiteY179" fmla="*/ 941453 h 1047543"/>
                <a:gd name="connsiteX180" fmla="*/ 684808 w 915649"/>
                <a:gd name="connsiteY180" fmla="*/ 938918 h 1047543"/>
                <a:gd name="connsiteX181" fmla="*/ 683771 w 915649"/>
                <a:gd name="connsiteY181" fmla="*/ 938918 h 1047543"/>
                <a:gd name="connsiteX182" fmla="*/ 682619 w 915649"/>
                <a:gd name="connsiteY182" fmla="*/ 939034 h 1047543"/>
                <a:gd name="connsiteX183" fmla="*/ 681352 w 915649"/>
                <a:gd name="connsiteY183" fmla="*/ 939379 h 1047543"/>
                <a:gd name="connsiteX184" fmla="*/ 680085 w 915649"/>
                <a:gd name="connsiteY184" fmla="*/ 939955 h 1047543"/>
                <a:gd name="connsiteX185" fmla="*/ 675938 w 915649"/>
                <a:gd name="connsiteY185" fmla="*/ 943526 h 1047543"/>
                <a:gd name="connsiteX186" fmla="*/ 673404 w 915649"/>
                <a:gd name="connsiteY186" fmla="*/ 948249 h 1047543"/>
                <a:gd name="connsiteX187" fmla="*/ 672022 w 915649"/>
                <a:gd name="connsiteY187" fmla="*/ 953548 h 1047543"/>
                <a:gd name="connsiteX188" fmla="*/ 671100 w 915649"/>
                <a:gd name="connsiteY188" fmla="*/ 958962 h 1047543"/>
                <a:gd name="connsiteX189" fmla="*/ 670179 w 915649"/>
                <a:gd name="connsiteY189" fmla="*/ 967716 h 1047543"/>
                <a:gd name="connsiteX190" fmla="*/ 669603 w 915649"/>
                <a:gd name="connsiteY190" fmla="*/ 977047 h 1047543"/>
                <a:gd name="connsiteX191" fmla="*/ 669142 w 915649"/>
                <a:gd name="connsiteY191" fmla="*/ 986377 h 1047543"/>
                <a:gd name="connsiteX192" fmla="*/ 668681 w 915649"/>
                <a:gd name="connsiteY192" fmla="*/ 995247 h 1047543"/>
                <a:gd name="connsiteX193" fmla="*/ 668336 w 915649"/>
                <a:gd name="connsiteY193" fmla="*/ 999163 h 1047543"/>
                <a:gd name="connsiteX194" fmla="*/ 667990 w 915649"/>
                <a:gd name="connsiteY194" fmla="*/ 1002734 h 1047543"/>
                <a:gd name="connsiteX195" fmla="*/ 667529 w 915649"/>
                <a:gd name="connsiteY195" fmla="*/ 1005729 h 1047543"/>
                <a:gd name="connsiteX196" fmla="*/ 666953 w 915649"/>
                <a:gd name="connsiteY196" fmla="*/ 1008148 h 1047543"/>
                <a:gd name="connsiteX197" fmla="*/ 663382 w 915649"/>
                <a:gd name="connsiteY197" fmla="*/ 1004116 h 1047543"/>
                <a:gd name="connsiteX198" fmla="*/ 658890 w 915649"/>
                <a:gd name="connsiteY198" fmla="*/ 998242 h 1047543"/>
                <a:gd name="connsiteX199" fmla="*/ 653822 w 915649"/>
                <a:gd name="connsiteY199" fmla="*/ 991215 h 1047543"/>
                <a:gd name="connsiteX200" fmla="*/ 648638 w 915649"/>
                <a:gd name="connsiteY200" fmla="*/ 983728 h 1047543"/>
                <a:gd name="connsiteX201" fmla="*/ 642648 w 915649"/>
                <a:gd name="connsiteY201" fmla="*/ 975664 h 1047543"/>
                <a:gd name="connsiteX202" fmla="*/ 636774 w 915649"/>
                <a:gd name="connsiteY202" fmla="*/ 968177 h 1047543"/>
                <a:gd name="connsiteX203" fmla="*/ 629977 w 915649"/>
                <a:gd name="connsiteY203" fmla="*/ 962187 h 1047543"/>
                <a:gd name="connsiteX204" fmla="*/ 621453 w 915649"/>
                <a:gd name="connsiteY204" fmla="*/ 958846 h 1047543"/>
                <a:gd name="connsiteX205" fmla="*/ 618573 w 915649"/>
                <a:gd name="connsiteY205" fmla="*/ 959422 h 1047543"/>
                <a:gd name="connsiteX206" fmla="*/ 613735 w 915649"/>
                <a:gd name="connsiteY206" fmla="*/ 961957 h 1047543"/>
                <a:gd name="connsiteX207" fmla="*/ 610510 w 915649"/>
                <a:gd name="connsiteY207" fmla="*/ 965988 h 1047543"/>
                <a:gd name="connsiteX208" fmla="*/ 608206 w 915649"/>
                <a:gd name="connsiteY208" fmla="*/ 970826 h 1047543"/>
                <a:gd name="connsiteX209" fmla="*/ 606363 w 915649"/>
                <a:gd name="connsiteY209" fmla="*/ 976010 h 1047543"/>
                <a:gd name="connsiteX210" fmla="*/ 604059 w 915649"/>
                <a:gd name="connsiteY210" fmla="*/ 984534 h 1047543"/>
                <a:gd name="connsiteX211" fmla="*/ 602101 w 915649"/>
                <a:gd name="connsiteY211" fmla="*/ 993634 h 1047543"/>
                <a:gd name="connsiteX212" fmla="*/ 600258 w 915649"/>
                <a:gd name="connsiteY212" fmla="*/ 1002849 h 1047543"/>
                <a:gd name="connsiteX213" fmla="*/ 598415 w 915649"/>
                <a:gd name="connsiteY213" fmla="*/ 1011488 h 1047543"/>
                <a:gd name="connsiteX214" fmla="*/ 597494 w 915649"/>
                <a:gd name="connsiteY214" fmla="*/ 1015175 h 1047543"/>
                <a:gd name="connsiteX215" fmla="*/ 596572 w 915649"/>
                <a:gd name="connsiteY215" fmla="*/ 1018630 h 1047543"/>
                <a:gd name="connsiteX216" fmla="*/ 595650 w 915649"/>
                <a:gd name="connsiteY216" fmla="*/ 1021625 h 1047543"/>
                <a:gd name="connsiteX217" fmla="*/ 594729 w 915649"/>
                <a:gd name="connsiteY217" fmla="*/ 1023929 h 1047543"/>
                <a:gd name="connsiteX218" fmla="*/ 593923 w 915649"/>
                <a:gd name="connsiteY218" fmla="*/ 1022777 h 1047543"/>
                <a:gd name="connsiteX219" fmla="*/ 593001 w 915649"/>
                <a:gd name="connsiteY219" fmla="*/ 1021395 h 1047543"/>
                <a:gd name="connsiteX220" fmla="*/ 591964 w 915649"/>
                <a:gd name="connsiteY220" fmla="*/ 1019782 h 1047543"/>
                <a:gd name="connsiteX221" fmla="*/ 590812 w 915649"/>
                <a:gd name="connsiteY221" fmla="*/ 1017824 h 1047543"/>
                <a:gd name="connsiteX222" fmla="*/ 587126 w 915649"/>
                <a:gd name="connsiteY222" fmla="*/ 1011028 h 1047543"/>
                <a:gd name="connsiteX223" fmla="*/ 583095 w 915649"/>
                <a:gd name="connsiteY223" fmla="*/ 1003425 h 1047543"/>
                <a:gd name="connsiteX224" fmla="*/ 578948 w 915649"/>
                <a:gd name="connsiteY224" fmla="*/ 995362 h 1047543"/>
                <a:gd name="connsiteX225" fmla="*/ 574686 w 915649"/>
                <a:gd name="connsiteY225" fmla="*/ 987529 h 1047543"/>
                <a:gd name="connsiteX226" fmla="*/ 570309 w 915649"/>
                <a:gd name="connsiteY226" fmla="*/ 980157 h 1047543"/>
                <a:gd name="connsiteX227" fmla="*/ 565701 w 915649"/>
                <a:gd name="connsiteY227" fmla="*/ 973245 h 1047543"/>
                <a:gd name="connsiteX228" fmla="*/ 559941 w 915649"/>
                <a:gd name="connsiteY228" fmla="*/ 967831 h 1047543"/>
                <a:gd name="connsiteX229" fmla="*/ 551878 w 915649"/>
                <a:gd name="connsiteY229" fmla="*/ 964721 h 1047543"/>
                <a:gd name="connsiteX230" fmla="*/ 546119 w 915649"/>
                <a:gd name="connsiteY230" fmla="*/ 966334 h 1047543"/>
                <a:gd name="connsiteX231" fmla="*/ 541972 w 915649"/>
                <a:gd name="connsiteY231" fmla="*/ 969559 h 1047543"/>
                <a:gd name="connsiteX232" fmla="*/ 538746 w 915649"/>
                <a:gd name="connsiteY232" fmla="*/ 973821 h 1047543"/>
                <a:gd name="connsiteX233" fmla="*/ 536097 w 915649"/>
                <a:gd name="connsiteY233" fmla="*/ 978314 h 1047543"/>
                <a:gd name="connsiteX234" fmla="*/ 532411 w 915649"/>
                <a:gd name="connsiteY234" fmla="*/ 986262 h 1047543"/>
                <a:gd name="connsiteX235" fmla="*/ 528955 w 915649"/>
                <a:gd name="connsiteY235" fmla="*/ 994786 h 1047543"/>
                <a:gd name="connsiteX236" fmla="*/ 525730 w 915649"/>
                <a:gd name="connsiteY236" fmla="*/ 1003425 h 1047543"/>
                <a:gd name="connsiteX237" fmla="*/ 522620 w 915649"/>
                <a:gd name="connsiteY237" fmla="*/ 1011604 h 1047543"/>
                <a:gd name="connsiteX238" fmla="*/ 521007 w 915649"/>
                <a:gd name="connsiteY238" fmla="*/ 1015290 h 1047543"/>
                <a:gd name="connsiteX239" fmla="*/ 519509 w 915649"/>
                <a:gd name="connsiteY239" fmla="*/ 1018630 h 1047543"/>
                <a:gd name="connsiteX240" fmla="*/ 518127 w 915649"/>
                <a:gd name="connsiteY240" fmla="*/ 1021395 h 1047543"/>
                <a:gd name="connsiteX241" fmla="*/ 516745 w 915649"/>
                <a:gd name="connsiteY241" fmla="*/ 1023468 h 1047543"/>
                <a:gd name="connsiteX242" fmla="*/ 516745 w 915649"/>
                <a:gd name="connsiteY242" fmla="*/ 1023699 h 1047543"/>
                <a:gd name="connsiteX243" fmla="*/ 513865 w 915649"/>
                <a:gd name="connsiteY243" fmla="*/ 1017709 h 1047543"/>
                <a:gd name="connsiteX244" fmla="*/ 510525 w 915649"/>
                <a:gd name="connsiteY244" fmla="*/ 1009415 h 1047543"/>
                <a:gd name="connsiteX245" fmla="*/ 506954 w 915649"/>
                <a:gd name="connsiteY245" fmla="*/ 999624 h 1047543"/>
                <a:gd name="connsiteX246" fmla="*/ 503383 w 915649"/>
                <a:gd name="connsiteY246" fmla="*/ 989602 h 1047543"/>
                <a:gd name="connsiteX247" fmla="*/ 499351 w 915649"/>
                <a:gd name="connsiteY247" fmla="*/ 979466 h 1047543"/>
                <a:gd name="connsiteX248" fmla="*/ 495319 w 915649"/>
                <a:gd name="connsiteY248" fmla="*/ 969905 h 1047543"/>
                <a:gd name="connsiteX249" fmla="*/ 489560 w 915649"/>
                <a:gd name="connsiteY249" fmla="*/ 961611 h 1047543"/>
                <a:gd name="connsiteX250" fmla="*/ 480575 w 915649"/>
                <a:gd name="connsiteY250" fmla="*/ 955621 h 1047543"/>
                <a:gd name="connsiteX251" fmla="*/ 478156 w 915649"/>
                <a:gd name="connsiteY251" fmla="*/ 955276 h 1047543"/>
                <a:gd name="connsiteX252" fmla="*/ 468250 w 915649"/>
                <a:gd name="connsiteY252" fmla="*/ 959077 h 1047543"/>
                <a:gd name="connsiteX253" fmla="*/ 460993 w 915649"/>
                <a:gd name="connsiteY253" fmla="*/ 966334 h 1047543"/>
                <a:gd name="connsiteX254" fmla="*/ 455003 w 915649"/>
                <a:gd name="connsiteY254" fmla="*/ 975664 h 1047543"/>
                <a:gd name="connsiteX255" fmla="*/ 448782 w 915649"/>
                <a:gd name="connsiteY255" fmla="*/ 985455 h 1047543"/>
                <a:gd name="connsiteX256" fmla="*/ 445787 w 915649"/>
                <a:gd name="connsiteY256" fmla="*/ 990293 h 1047543"/>
                <a:gd name="connsiteX257" fmla="*/ 442908 w 915649"/>
                <a:gd name="connsiteY257" fmla="*/ 994901 h 1047543"/>
                <a:gd name="connsiteX258" fmla="*/ 440028 w 915649"/>
                <a:gd name="connsiteY258" fmla="*/ 999163 h 1047543"/>
                <a:gd name="connsiteX259" fmla="*/ 437494 w 915649"/>
                <a:gd name="connsiteY259" fmla="*/ 1002734 h 1047543"/>
                <a:gd name="connsiteX260" fmla="*/ 434729 w 915649"/>
                <a:gd name="connsiteY260" fmla="*/ 1005959 h 1047543"/>
                <a:gd name="connsiteX261" fmla="*/ 432656 w 915649"/>
                <a:gd name="connsiteY261" fmla="*/ 999394 h 1047543"/>
                <a:gd name="connsiteX262" fmla="*/ 430467 w 915649"/>
                <a:gd name="connsiteY262" fmla="*/ 990409 h 1047543"/>
                <a:gd name="connsiteX263" fmla="*/ 428279 w 915649"/>
                <a:gd name="connsiteY263" fmla="*/ 980041 h 1047543"/>
                <a:gd name="connsiteX264" fmla="*/ 426090 w 915649"/>
                <a:gd name="connsiteY264" fmla="*/ 969214 h 1047543"/>
                <a:gd name="connsiteX265" fmla="*/ 423556 w 915649"/>
                <a:gd name="connsiteY265" fmla="*/ 958386 h 1047543"/>
                <a:gd name="connsiteX266" fmla="*/ 420791 w 915649"/>
                <a:gd name="connsiteY266" fmla="*/ 948134 h 1047543"/>
                <a:gd name="connsiteX267" fmla="*/ 416068 w 915649"/>
                <a:gd name="connsiteY267" fmla="*/ 938918 h 1047543"/>
                <a:gd name="connsiteX268" fmla="*/ 407775 w 915649"/>
                <a:gd name="connsiteY268" fmla="*/ 931201 h 1047543"/>
                <a:gd name="connsiteX269" fmla="*/ 402476 w 915649"/>
                <a:gd name="connsiteY269" fmla="*/ 929934 h 1047543"/>
                <a:gd name="connsiteX270" fmla="*/ 393030 w 915649"/>
                <a:gd name="connsiteY270" fmla="*/ 932583 h 1047543"/>
                <a:gd name="connsiteX271" fmla="*/ 384967 w 915649"/>
                <a:gd name="connsiteY271" fmla="*/ 938227 h 1047543"/>
                <a:gd name="connsiteX272" fmla="*/ 377595 w 915649"/>
                <a:gd name="connsiteY272" fmla="*/ 945600 h 1047543"/>
                <a:gd name="connsiteX273" fmla="*/ 370107 w 915649"/>
                <a:gd name="connsiteY273" fmla="*/ 953548 h 1047543"/>
                <a:gd name="connsiteX274" fmla="*/ 366421 w 915649"/>
                <a:gd name="connsiteY274" fmla="*/ 957464 h 1047543"/>
                <a:gd name="connsiteX275" fmla="*/ 362850 w 915649"/>
                <a:gd name="connsiteY275" fmla="*/ 961150 h 1047543"/>
                <a:gd name="connsiteX276" fmla="*/ 359510 w 915649"/>
                <a:gd name="connsiteY276" fmla="*/ 964491 h 1047543"/>
                <a:gd name="connsiteX277" fmla="*/ 356400 w 915649"/>
                <a:gd name="connsiteY277" fmla="*/ 967371 h 1047543"/>
                <a:gd name="connsiteX278" fmla="*/ 352138 w 915649"/>
                <a:gd name="connsiteY278" fmla="*/ 970596 h 1047543"/>
                <a:gd name="connsiteX279" fmla="*/ 350986 w 915649"/>
                <a:gd name="connsiteY279" fmla="*/ 963684 h 1047543"/>
                <a:gd name="connsiteX280" fmla="*/ 350179 w 915649"/>
                <a:gd name="connsiteY280" fmla="*/ 954469 h 1047543"/>
                <a:gd name="connsiteX281" fmla="*/ 349488 w 915649"/>
                <a:gd name="connsiteY281" fmla="*/ 943872 h 1047543"/>
                <a:gd name="connsiteX282" fmla="*/ 348797 w 915649"/>
                <a:gd name="connsiteY282" fmla="*/ 932929 h 1047543"/>
                <a:gd name="connsiteX283" fmla="*/ 347876 w 915649"/>
                <a:gd name="connsiteY283" fmla="*/ 921870 h 1047543"/>
                <a:gd name="connsiteX284" fmla="*/ 346608 w 915649"/>
                <a:gd name="connsiteY284" fmla="*/ 911158 h 1047543"/>
                <a:gd name="connsiteX285" fmla="*/ 343268 w 915649"/>
                <a:gd name="connsiteY285" fmla="*/ 901021 h 1047543"/>
                <a:gd name="connsiteX286" fmla="*/ 335781 w 915649"/>
                <a:gd name="connsiteY286" fmla="*/ 891575 h 1047543"/>
                <a:gd name="connsiteX287" fmla="*/ 333707 w 915649"/>
                <a:gd name="connsiteY287" fmla="*/ 890423 h 1047543"/>
                <a:gd name="connsiteX288" fmla="*/ 331634 w 915649"/>
                <a:gd name="connsiteY288" fmla="*/ 889617 h 1047543"/>
                <a:gd name="connsiteX289" fmla="*/ 329560 w 915649"/>
                <a:gd name="connsiteY289" fmla="*/ 889156 h 1047543"/>
                <a:gd name="connsiteX290" fmla="*/ 327602 w 915649"/>
                <a:gd name="connsiteY290" fmla="*/ 888926 h 1047543"/>
                <a:gd name="connsiteX291" fmla="*/ 318502 w 915649"/>
                <a:gd name="connsiteY291" fmla="*/ 890538 h 1047543"/>
                <a:gd name="connsiteX292" fmla="*/ 310093 w 915649"/>
                <a:gd name="connsiteY292" fmla="*/ 894455 h 1047543"/>
                <a:gd name="connsiteX293" fmla="*/ 301914 w 915649"/>
                <a:gd name="connsiteY293" fmla="*/ 899754 h 1047543"/>
                <a:gd name="connsiteX294" fmla="*/ 293621 w 915649"/>
                <a:gd name="connsiteY294" fmla="*/ 905513 h 1047543"/>
                <a:gd name="connsiteX295" fmla="*/ 287631 w 915649"/>
                <a:gd name="connsiteY295" fmla="*/ 909660 h 1047543"/>
                <a:gd name="connsiteX296" fmla="*/ 281756 w 915649"/>
                <a:gd name="connsiteY296" fmla="*/ 913346 h 1047543"/>
                <a:gd name="connsiteX297" fmla="*/ 276573 w 915649"/>
                <a:gd name="connsiteY297" fmla="*/ 916341 h 1047543"/>
                <a:gd name="connsiteX298" fmla="*/ 272541 w 915649"/>
                <a:gd name="connsiteY298" fmla="*/ 918299 h 1047543"/>
                <a:gd name="connsiteX299" fmla="*/ 272311 w 915649"/>
                <a:gd name="connsiteY299" fmla="*/ 915189 h 1047543"/>
                <a:gd name="connsiteX300" fmla="*/ 272886 w 915649"/>
                <a:gd name="connsiteY300" fmla="*/ 903785 h 1047543"/>
                <a:gd name="connsiteX301" fmla="*/ 274269 w 915649"/>
                <a:gd name="connsiteY301" fmla="*/ 890078 h 1047543"/>
                <a:gd name="connsiteX302" fmla="*/ 275651 w 915649"/>
                <a:gd name="connsiteY302" fmla="*/ 875564 h 1047543"/>
                <a:gd name="connsiteX303" fmla="*/ 276227 w 915649"/>
                <a:gd name="connsiteY303" fmla="*/ 861741 h 1047543"/>
                <a:gd name="connsiteX304" fmla="*/ 275881 w 915649"/>
                <a:gd name="connsiteY304" fmla="*/ 855981 h 1047543"/>
                <a:gd name="connsiteX305" fmla="*/ 274960 w 915649"/>
                <a:gd name="connsiteY305" fmla="*/ 849991 h 1047543"/>
                <a:gd name="connsiteX306" fmla="*/ 272771 w 915649"/>
                <a:gd name="connsiteY306" fmla="*/ 843886 h 1047543"/>
                <a:gd name="connsiteX307" fmla="*/ 268394 w 915649"/>
                <a:gd name="connsiteY307" fmla="*/ 837781 h 1047543"/>
                <a:gd name="connsiteX308" fmla="*/ 265284 w 915649"/>
                <a:gd name="connsiteY308" fmla="*/ 835477 h 1047543"/>
                <a:gd name="connsiteX309" fmla="*/ 262174 w 915649"/>
                <a:gd name="connsiteY309" fmla="*/ 833980 h 1047543"/>
                <a:gd name="connsiteX310" fmla="*/ 259179 w 915649"/>
                <a:gd name="connsiteY310" fmla="*/ 833174 h 1047543"/>
                <a:gd name="connsiteX311" fmla="*/ 256414 w 915649"/>
                <a:gd name="connsiteY311" fmla="*/ 832828 h 1047543"/>
                <a:gd name="connsiteX312" fmla="*/ 241209 w 915649"/>
                <a:gd name="connsiteY312" fmla="*/ 835362 h 1047543"/>
                <a:gd name="connsiteX313" fmla="*/ 225082 w 915649"/>
                <a:gd name="connsiteY313" fmla="*/ 841122 h 1047543"/>
                <a:gd name="connsiteX314" fmla="*/ 210338 w 915649"/>
                <a:gd name="connsiteY314" fmla="*/ 847227 h 1047543"/>
                <a:gd name="connsiteX315" fmla="*/ 199395 w 915649"/>
                <a:gd name="connsiteY315" fmla="*/ 850567 h 1047543"/>
                <a:gd name="connsiteX316" fmla="*/ 201584 w 915649"/>
                <a:gd name="connsiteY316" fmla="*/ 838242 h 1047543"/>
                <a:gd name="connsiteX317" fmla="*/ 206076 w 915649"/>
                <a:gd name="connsiteY317" fmla="*/ 822000 h 1047543"/>
                <a:gd name="connsiteX318" fmla="*/ 210568 w 915649"/>
                <a:gd name="connsiteY318" fmla="*/ 804491 h 1047543"/>
                <a:gd name="connsiteX319" fmla="*/ 212757 w 915649"/>
                <a:gd name="connsiteY319" fmla="*/ 787904 h 1047543"/>
                <a:gd name="connsiteX320" fmla="*/ 212642 w 915649"/>
                <a:gd name="connsiteY320" fmla="*/ 784102 h 1047543"/>
                <a:gd name="connsiteX321" fmla="*/ 211951 w 915649"/>
                <a:gd name="connsiteY321" fmla="*/ 780071 h 1047543"/>
                <a:gd name="connsiteX322" fmla="*/ 210453 w 915649"/>
                <a:gd name="connsiteY322" fmla="*/ 775924 h 1047543"/>
                <a:gd name="connsiteX323" fmla="*/ 207919 w 915649"/>
                <a:gd name="connsiteY323" fmla="*/ 771777 h 1047543"/>
                <a:gd name="connsiteX324" fmla="*/ 203657 w 915649"/>
                <a:gd name="connsiteY324" fmla="*/ 767745 h 1047543"/>
                <a:gd name="connsiteX325" fmla="*/ 199280 w 915649"/>
                <a:gd name="connsiteY325" fmla="*/ 765326 h 1047543"/>
                <a:gd name="connsiteX326" fmla="*/ 194902 w 915649"/>
                <a:gd name="connsiteY326" fmla="*/ 764059 h 1047543"/>
                <a:gd name="connsiteX327" fmla="*/ 190756 w 915649"/>
                <a:gd name="connsiteY327" fmla="*/ 763483 h 1047543"/>
                <a:gd name="connsiteX328" fmla="*/ 176702 w 915649"/>
                <a:gd name="connsiteY328" fmla="*/ 764174 h 1047543"/>
                <a:gd name="connsiteX329" fmla="*/ 161728 w 915649"/>
                <a:gd name="connsiteY329" fmla="*/ 766478 h 1047543"/>
                <a:gd name="connsiteX330" fmla="*/ 147674 w 915649"/>
                <a:gd name="connsiteY330" fmla="*/ 768782 h 1047543"/>
                <a:gd name="connsiteX331" fmla="*/ 136616 w 915649"/>
                <a:gd name="connsiteY331" fmla="*/ 769473 h 1047543"/>
                <a:gd name="connsiteX332" fmla="*/ 136386 w 915649"/>
                <a:gd name="connsiteY332" fmla="*/ 769473 h 1047543"/>
                <a:gd name="connsiteX333" fmla="*/ 136155 w 915649"/>
                <a:gd name="connsiteY333" fmla="*/ 769473 h 1047543"/>
                <a:gd name="connsiteX334" fmla="*/ 135925 w 915649"/>
                <a:gd name="connsiteY334" fmla="*/ 769473 h 1047543"/>
                <a:gd name="connsiteX335" fmla="*/ 135694 w 915649"/>
                <a:gd name="connsiteY335" fmla="*/ 769473 h 1047543"/>
                <a:gd name="connsiteX336" fmla="*/ 137307 w 915649"/>
                <a:gd name="connsiteY336" fmla="*/ 764865 h 1047543"/>
                <a:gd name="connsiteX337" fmla="*/ 139726 w 915649"/>
                <a:gd name="connsiteY337" fmla="*/ 758760 h 1047543"/>
                <a:gd name="connsiteX338" fmla="*/ 142836 w 915649"/>
                <a:gd name="connsiteY338" fmla="*/ 751964 h 1047543"/>
                <a:gd name="connsiteX339" fmla="*/ 146407 w 915649"/>
                <a:gd name="connsiteY339" fmla="*/ 744938 h 1047543"/>
                <a:gd name="connsiteX340" fmla="*/ 150900 w 915649"/>
                <a:gd name="connsiteY340" fmla="*/ 735607 h 1047543"/>
                <a:gd name="connsiteX341" fmla="*/ 155047 w 915649"/>
                <a:gd name="connsiteY341" fmla="*/ 726507 h 1047543"/>
                <a:gd name="connsiteX342" fmla="*/ 158157 w 915649"/>
                <a:gd name="connsiteY342" fmla="*/ 717292 h 1047543"/>
                <a:gd name="connsiteX343" fmla="*/ 159539 w 915649"/>
                <a:gd name="connsiteY343" fmla="*/ 707501 h 1047543"/>
                <a:gd name="connsiteX344" fmla="*/ 159424 w 915649"/>
                <a:gd name="connsiteY344" fmla="*/ 704966 h 1047543"/>
                <a:gd name="connsiteX345" fmla="*/ 158963 w 915649"/>
                <a:gd name="connsiteY345" fmla="*/ 702202 h 1047543"/>
                <a:gd name="connsiteX346" fmla="*/ 158157 w 915649"/>
                <a:gd name="connsiteY346" fmla="*/ 699207 h 1047543"/>
                <a:gd name="connsiteX347" fmla="*/ 156774 w 915649"/>
                <a:gd name="connsiteY347" fmla="*/ 696097 h 1047543"/>
                <a:gd name="connsiteX348" fmla="*/ 150209 w 915649"/>
                <a:gd name="connsiteY348" fmla="*/ 689070 h 1047543"/>
                <a:gd name="connsiteX349" fmla="*/ 143297 w 915649"/>
                <a:gd name="connsiteY349" fmla="*/ 685384 h 1047543"/>
                <a:gd name="connsiteX350" fmla="*/ 136040 w 915649"/>
                <a:gd name="connsiteY350" fmla="*/ 683771 h 1047543"/>
                <a:gd name="connsiteX351" fmla="*/ 128668 w 915649"/>
                <a:gd name="connsiteY351" fmla="*/ 682735 h 1047543"/>
                <a:gd name="connsiteX352" fmla="*/ 120144 w 915649"/>
                <a:gd name="connsiteY352" fmla="*/ 682159 h 1047543"/>
                <a:gd name="connsiteX353" fmla="*/ 111389 w 915649"/>
                <a:gd name="connsiteY353" fmla="*/ 681813 h 1047543"/>
                <a:gd name="connsiteX354" fmla="*/ 102865 w 915649"/>
                <a:gd name="connsiteY354" fmla="*/ 681468 h 1047543"/>
                <a:gd name="connsiteX355" fmla="*/ 94917 w 915649"/>
                <a:gd name="connsiteY355" fmla="*/ 680892 h 1047543"/>
                <a:gd name="connsiteX356" fmla="*/ 94571 w 915649"/>
                <a:gd name="connsiteY356" fmla="*/ 680892 h 1047543"/>
                <a:gd name="connsiteX357" fmla="*/ 94111 w 915649"/>
                <a:gd name="connsiteY357" fmla="*/ 680892 h 1047543"/>
                <a:gd name="connsiteX358" fmla="*/ 93650 w 915649"/>
                <a:gd name="connsiteY358" fmla="*/ 680892 h 1047543"/>
                <a:gd name="connsiteX359" fmla="*/ 93189 w 915649"/>
                <a:gd name="connsiteY359" fmla="*/ 680892 h 1047543"/>
                <a:gd name="connsiteX360" fmla="*/ 90540 w 915649"/>
                <a:gd name="connsiteY360" fmla="*/ 680661 h 1047543"/>
                <a:gd name="connsiteX361" fmla="*/ 88236 w 915649"/>
                <a:gd name="connsiteY361" fmla="*/ 680316 h 1047543"/>
                <a:gd name="connsiteX362" fmla="*/ 86163 w 915649"/>
                <a:gd name="connsiteY362" fmla="*/ 679970 h 1047543"/>
                <a:gd name="connsiteX363" fmla="*/ 84319 w 915649"/>
                <a:gd name="connsiteY363" fmla="*/ 679625 h 1047543"/>
                <a:gd name="connsiteX364" fmla="*/ 86623 w 915649"/>
                <a:gd name="connsiteY364" fmla="*/ 675478 h 1047543"/>
                <a:gd name="connsiteX365" fmla="*/ 89964 w 915649"/>
                <a:gd name="connsiteY365" fmla="*/ 670179 h 1047543"/>
                <a:gd name="connsiteX366" fmla="*/ 94226 w 915649"/>
                <a:gd name="connsiteY366" fmla="*/ 664189 h 1047543"/>
                <a:gd name="connsiteX367" fmla="*/ 98949 w 915649"/>
                <a:gd name="connsiteY367" fmla="*/ 658084 h 1047543"/>
                <a:gd name="connsiteX368" fmla="*/ 105515 w 915649"/>
                <a:gd name="connsiteY368" fmla="*/ 649445 h 1047543"/>
                <a:gd name="connsiteX369" fmla="*/ 111620 w 915649"/>
                <a:gd name="connsiteY369" fmla="*/ 641036 h 1047543"/>
                <a:gd name="connsiteX370" fmla="*/ 116342 w 915649"/>
                <a:gd name="connsiteY370" fmla="*/ 631936 h 1047543"/>
                <a:gd name="connsiteX371" fmla="*/ 118761 w 915649"/>
                <a:gd name="connsiteY371" fmla="*/ 621453 h 1047543"/>
                <a:gd name="connsiteX372" fmla="*/ 118761 w 915649"/>
                <a:gd name="connsiteY372" fmla="*/ 619610 h 1047543"/>
                <a:gd name="connsiteX373" fmla="*/ 118531 w 915649"/>
                <a:gd name="connsiteY373" fmla="*/ 617767 h 1047543"/>
                <a:gd name="connsiteX374" fmla="*/ 118186 w 915649"/>
                <a:gd name="connsiteY374" fmla="*/ 615809 h 1047543"/>
                <a:gd name="connsiteX375" fmla="*/ 117610 w 915649"/>
                <a:gd name="connsiteY375" fmla="*/ 613851 h 1047543"/>
                <a:gd name="connsiteX376" fmla="*/ 113232 w 915649"/>
                <a:gd name="connsiteY376" fmla="*/ 606939 h 1047543"/>
                <a:gd name="connsiteX377" fmla="*/ 108164 w 915649"/>
                <a:gd name="connsiteY377" fmla="*/ 602447 h 1047543"/>
                <a:gd name="connsiteX378" fmla="*/ 102635 w 915649"/>
                <a:gd name="connsiteY378" fmla="*/ 599567 h 1047543"/>
                <a:gd name="connsiteX379" fmla="*/ 97106 w 915649"/>
                <a:gd name="connsiteY379" fmla="*/ 597378 h 1047543"/>
                <a:gd name="connsiteX380" fmla="*/ 88236 w 915649"/>
                <a:gd name="connsiteY380" fmla="*/ 594614 h 1047543"/>
                <a:gd name="connsiteX381" fmla="*/ 78906 w 915649"/>
                <a:gd name="connsiteY381" fmla="*/ 592310 h 1047543"/>
                <a:gd name="connsiteX382" fmla="*/ 69575 w 915649"/>
                <a:gd name="connsiteY382" fmla="*/ 590237 h 1047543"/>
                <a:gd name="connsiteX383" fmla="*/ 60705 w 915649"/>
                <a:gd name="connsiteY383" fmla="*/ 588163 h 1047543"/>
                <a:gd name="connsiteX384" fmla="*/ 56789 w 915649"/>
                <a:gd name="connsiteY384" fmla="*/ 587011 h 1047543"/>
                <a:gd name="connsiteX385" fmla="*/ 53218 w 915649"/>
                <a:gd name="connsiteY385" fmla="*/ 585859 h 1047543"/>
                <a:gd name="connsiteX386" fmla="*/ 50108 w 915649"/>
                <a:gd name="connsiteY386" fmla="*/ 584707 h 1047543"/>
                <a:gd name="connsiteX387" fmla="*/ 47574 w 915649"/>
                <a:gd name="connsiteY387" fmla="*/ 583671 h 1047543"/>
                <a:gd name="connsiteX388" fmla="*/ 51029 w 915649"/>
                <a:gd name="connsiteY388" fmla="*/ 579869 h 1047543"/>
                <a:gd name="connsiteX389" fmla="*/ 55867 w 915649"/>
                <a:gd name="connsiteY389" fmla="*/ 575147 h 1047543"/>
                <a:gd name="connsiteX390" fmla="*/ 61742 w 915649"/>
                <a:gd name="connsiteY390" fmla="*/ 569963 h 1047543"/>
                <a:gd name="connsiteX391" fmla="*/ 68078 w 915649"/>
                <a:gd name="connsiteY391" fmla="*/ 564779 h 1047543"/>
                <a:gd name="connsiteX392" fmla="*/ 75911 w 915649"/>
                <a:gd name="connsiteY392" fmla="*/ 557753 h 1047543"/>
                <a:gd name="connsiteX393" fmla="*/ 83168 w 915649"/>
                <a:gd name="connsiteY393" fmla="*/ 550957 h 1047543"/>
                <a:gd name="connsiteX394" fmla="*/ 88927 w 915649"/>
                <a:gd name="connsiteY394" fmla="*/ 543008 h 1047543"/>
                <a:gd name="connsiteX395" fmla="*/ 92152 w 915649"/>
                <a:gd name="connsiteY395" fmla="*/ 532641 h 1047543"/>
                <a:gd name="connsiteX396" fmla="*/ 91807 w 915649"/>
                <a:gd name="connsiteY396" fmla="*/ 528725 h 1047543"/>
                <a:gd name="connsiteX397" fmla="*/ 88582 w 915649"/>
                <a:gd name="connsiteY397" fmla="*/ 521353 h 1047543"/>
                <a:gd name="connsiteX398" fmla="*/ 84204 w 915649"/>
                <a:gd name="connsiteY398" fmla="*/ 516054 h 1047543"/>
                <a:gd name="connsiteX399" fmla="*/ 79251 w 915649"/>
                <a:gd name="connsiteY399" fmla="*/ 512253 h 1047543"/>
                <a:gd name="connsiteX400" fmla="*/ 74183 w 915649"/>
                <a:gd name="connsiteY400" fmla="*/ 509027 h 1047543"/>
                <a:gd name="connsiteX401" fmla="*/ 65774 w 915649"/>
                <a:gd name="connsiteY401" fmla="*/ 504765 h 1047543"/>
                <a:gd name="connsiteX402" fmla="*/ 56789 w 915649"/>
                <a:gd name="connsiteY402" fmla="*/ 500733 h 1047543"/>
                <a:gd name="connsiteX403" fmla="*/ 47919 w 915649"/>
                <a:gd name="connsiteY403" fmla="*/ 496817 h 1047543"/>
                <a:gd name="connsiteX404" fmla="*/ 39510 w 915649"/>
                <a:gd name="connsiteY404" fmla="*/ 493016 h 1047543"/>
                <a:gd name="connsiteX405" fmla="*/ 35709 w 915649"/>
                <a:gd name="connsiteY405" fmla="*/ 491288 h 1047543"/>
                <a:gd name="connsiteX406" fmla="*/ 32253 w 915649"/>
                <a:gd name="connsiteY406" fmla="*/ 489560 h 1047543"/>
                <a:gd name="connsiteX407" fmla="*/ 29374 w 915649"/>
                <a:gd name="connsiteY407" fmla="*/ 487947 h 1047543"/>
                <a:gd name="connsiteX408" fmla="*/ 27070 w 915649"/>
                <a:gd name="connsiteY408" fmla="*/ 486450 h 1047543"/>
                <a:gd name="connsiteX409" fmla="*/ 30986 w 915649"/>
                <a:gd name="connsiteY409" fmla="*/ 483570 h 1047543"/>
                <a:gd name="connsiteX410" fmla="*/ 36631 w 915649"/>
                <a:gd name="connsiteY410" fmla="*/ 480114 h 1047543"/>
                <a:gd name="connsiteX411" fmla="*/ 43312 w 915649"/>
                <a:gd name="connsiteY411" fmla="*/ 476313 h 1047543"/>
                <a:gd name="connsiteX412" fmla="*/ 50453 w 915649"/>
                <a:gd name="connsiteY412" fmla="*/ 472742 h 1047543"/>
                <a:gd name="connsiteX413" fmla="*/ 59554 w 915649"/>
                <a:gd name="connsiteY413" fmla="*/ 467559 h 1047543"/>
                <a:gd name="connsiteX414" fmla="*/ 68193 w 915649"/>
                <a:gd name="connsiteY414" fmla="*/ 462490 h 1047543"/>
                <a:gd name="connsiteX415" fmla="*/ 75219 w 915649"/>
                <a:gd name="connsiteY415" fmla="*/ 455809 h 1047543"/>
                <a:gd name="connsiteX416" fmla="*/ 79482 w 915649"/>
                <a:gd name="connsiteY416" fmla="*/ 445672 h 1047543"/>
                <a:gd name="connsiteX417" fmla="*/ 79712 w 915649"/>
                <a:gd name="connsiteY417" fmla="*/ 444520 h 1047543"/>
                <a:gd name="connsiteX418" fmla="*/ 79712 w 915649"/>
                <a:gd name="connsiteY418" fmla="*/ 443369 h 1047543"/>
                <a:gd name="connsiteX419" fmla="*/ 77638 w 915649"/>
                <a:gd name="connsiteY419" fmla="*/ 436112 h 1047543"/>
                <a:gd name="connsiteX420" fmla="*/ 74183 w 915649"/>
                <a:gd name="connsiteY420" fmla="*/ 430582 h 1047543"/>
                <a:gd name="connsiteX421" fmla="*/ 69806 w 915649"/>
                <a:gd name="connsiteY421" fmla="*/ 426090 h 1047543"/>
                <a:gd name="connsiteX422" fmla="*/ 65198 w 915649"/>
                <a:gd name="connsiteY422" fmla="*/ 422173 h 1047543"/>
                <a:gd name="connsiteX423" fmla="*/ 57710 w 915649"/>
                <a:gd name="connsiteY423" fmla="*/ 416644 h 1047543"/>
                <a:gd name="connsiteX424" fmla="*/ 49532 w 915649"/>
                <a:gd name="connsiteY424" fmla="*/ 411230 h 1047543"/>
                <a:gd name="connsiteX425" fmla="*/ 41353 w 915649"/>
                <a:gd name="connsiteY425" fmla="*/ 406047 h 1047543"/>
                <a:gd name="connsiteX426" fmla="*/ 33636 w 915649"/>
                <a:gd name="connsiteY426" fmla="*/ 400978 h 1047543"/>
                <a:gd name="connsiteX427" fmla="*/ 30065 w 915649"/>
                <a:gd name="connsiteY427" fmla="*/ 398559 h 1047543"/>
                <a:gd name="connsiteX428" fmla="*/ 26955 w 915649"/>
                <a:gd name="connsiteY428" fmla="*/ 396256 h 1047543"/>
                <a:gd name="connsiteX429" fmla="*/ 24305 w 915649"/>
                <a:gd name="connsiteY429" fmla="*/ 394182 h 1047543"/>
                <a:gd name="connsiteX430" fmla="*/ 22232 w 915649"/>
                <a:gd name="connsiteY430" fmla="*/ 392339 h 1047543"/>
                <a:gd name="connsiteX431" fmla="*/ 27531 w 915649"/>
                <a:gd name="connsiteY431" fmla="*/ 389920 h 1047543"/>
                <a:gd name="connsiteX432" fmla="*/ 35018 w 915649"/>
                <a:gd name="connsiteY432" fmla="*/ 387501 h 1047543"/>
                <a:gd name="connsiteX433" fmla="*/ 43772 w 915649"/>
                <a:gd name="connsiteY433" fmla="*/ 384967 h 1047543"/>
                <a:gd name="connsiteX434" fmla="*/ 52757 w 915649"/>
                <a:gd name="connsiteY434" fmla="*/ 382433 h 1047543"/>
                <a:gd name="connsiteX435" fmla="*/ 61627 w 915649"/>
                <a:gd name="connsiteY435" fmla="*/ 379553 h 1047543"/>
                <a:gd name="connsiteX436" fmla="*/ 69921 w 915649"/>
                <a:gd name="connsiteY436" fmla="*/ 376443 h 1047543"/>
                <a:gd name="connsiteX437" fmla="*/ 76832 w 915649"/>
                <a:gd name="connsiteY437" fmla="*/ 371259 h 1047543"/>
                <a:gd name="connsiteX438" fmla="*/ 81440 w 915649"/>
                <a:gd name="connsiteY438" fmla="*/ 362159 h 1047543"/>
                <a:gd name="connsiteX439" fmla="*/ 81670 w 915649"/>
                <a:gd name="connsiteY439" fmla="*/ 360892 h 1047543"/>
                <a:gd name="connsiteX440" fmla="*/ 80403 w 915649"/>
                <a:gd name="connsiteY440" fmla="*/ 354211 h 1047543"/>
                <a:gd name="connsiteX441" fmla="*/ 77754 w 915649"/>
                <a:gd name="connsiteY441" fmla="*/ 348682 h 1047543"/>
                <a:gd name="connsiteX442" fmla="*/ 74298 w 915649"/>
                <a:gd name="connsiteY442" fmla="*/ 343959 h 1047543"/>
                <a:gd name="connsiteX443" fmla="*/ 70497 w 915649"/>
                <a:gd name="connsiteY443" fmla="*/ 339582 h 1047543"/>
                <a:gd name="connsiteX444" fmla="*/ 64161 w 915649"/>
                <a:gd name="connsiteY444" fmla="*/ 333131 h 1047543"/>
                <a:gd name="connsiteX445" fmla="*/ 57250 w 915649"/>
                <a:gd name="connsiteY445" fmla="*/ 326796 h 1047543"/>
                <a:gd name="connsiteX446" fmla="*/ 50223 w 915649"/>
                <a:gd name="connsiteY446" fmla="*/ 320691 h 1047543"/>
                <a:gd name="connsiteX447" fmla="*/ 43542 w 915649"/>
                <a:gd name="connsiteY447" fmla="*/ 314931 h 1047543"/>
                <a:gd name="connsiteX448" fmla="*/ 40547 w 915649"/>
                <a:gd name="connsiteY448" fmla="*/ 312051 h 1047543"/>
                <a:gd name="connsiteX449" fmla="*/ 37898 w 915649"/>
                <a:gd name="connsiteY449" fmla="*/ 309402 h 1047543"/>
                <a:gd name="connsiteX450" fmla="*/ 35594 w 915649"/>
                <a:gd name="connsiteY450" fmla="*/ 306983 h 1047543"/>
                <a:gd name="connsiteX451" fmla="*/ 33866 w 915649"/>
                <a:gd name="connsiteY451" fmla="*/ 304909 h 1047543"/>
                <a:gd name="connsiteX452" fmla="*/ 33520 w 915649"/>
                <a:gd name="connsiteY452" fmla="*/ 304449 h 1047543"/>
                <a:gd name="connsiteX453" fmla="*/ 39165 w 915649"/>
                <a:gd name="connsiteY453" fmla="*/ 303297 h 1047543"/>
                <a:gd name="connsiteX454" fmla="*/ 46883 w 915649"/>
                <a:gd name="connsiteY454" fmla="*/ 302490 h 1047543"/>
                <a:gd name="connsiteX455" fmla="*/ 55752 w 915649"/>
                <a:gd name="connsiteY455" fmla="*/ 301799 h 1047543"/>
                <a:gd name="connsiteX456" fmla="*/ 64852 w 915649"/>
                <a:gd name="connsiteY456" fmla="*/ 301108 h 1047543"/>
                <a:gd name="connsiteX457" fmla="*/ 74068 w 915649"/>
                <a:gd name="connsiteY457" fmla="*/ 300071 h 1047543"/>
                <a:gd name="connsiteX458" fmla="*/ 82822 w 915649"/>
                <a:gd name="connsiteY458" fmla="*/ 298689 h 1047543"/>
                <a:gd name="connsiteX459" fmla="*/ 90425 w 915649"/>
                <a:gd name="connsiteY459" fmla="*/ 295233 h 1047543"/>
                <a:gd name="connsiteX460" fmla="*/ 96415 w 915649"/>
                <a:gd name="connsiteY460" fmla="*/ 287746 h 1047543"/>
                <a:gd name="connsiteX461" fmla="*/ 96990 w 915649"/>
                <a:gd name="connsiteY461" fmla="*/ 283945 h 1047543"/>
                <a:gd name="connsiteX462" fmla="*/ 94111 w 915649"/>
                <a:gd name="connsiteY462" fmla="*/ 273232 h 1047543"/>
                <a:gd name="connsiteX463" fmla="*/ 88582 w 915649"/>
                <a:gd name="connsiteY463" fmla="*/ 263902 h 1047543"/>
                <a:gd name="connsiteX464" fmla="*/ 81440 w 915649"/>
                <a:gd name="connsiteY464" fmla="*/ 255262 h 1047543"/>
                <a:gd name="connsiteX465" fmla="*/ 73952 w 915649"/>
                <a:gd name="connsiteY465" fmla="*/ 246393 h 1047543"/>
                <a:gd name="connsiteX466" fmla="*/ 70266 w 915649"/>
                <a:gd name="connsiteY466" fmla="*/ 242015 h 1047543"/>
                <a:gd name="connsiteX467" fmla="*/ 66811 w 915649"/>
                <a:gd name="connsiteY467" fmla="*/ 237753 h 1047543"/>
                <a:gd name="connsiteX468" fmla="*/ 63585 w 915649"/>
                <a:gd name="connsiteY468" fmla="*/ 233837 h 1047543"/>
                <a:gd name="connsiteX469" fmla="*/ 60936 w 915649"/>
                <a:gd name="connsiteY469" fmla="*/ 230266 h 1047543"/>
                <a:gd name="connsiteX470" fmla="*/ 58286 w 915649"/>
                <a:gd name="connsiteY470" fmla="*/ 226119 h 1047543"/>
                <a:gd name="connsiteX471" fmla="*/ 63931 w 915649"/>
                <a:gd name="connsiteY471" fmla="*/ 225889 h 1047543"/>
                <a:gd name="connsiteX472" fmla="*/ 71649 w 915649"/>
                <a:gd name="connsiteY472" fmla="*/ 226465 h 1047543"/>
                <a:gd name="connsiteX473" fmla="*/ 80518 w 915649"/>
                <a:gd name="connsiteY473" fmla="*/ 227386 h 1047543"/>
                <a:gd name="connsiteX474" fmla="*/ 89618 w 915649"/>
                <a:gd name="connsiteY474" fmla="*/ 228423 h 1047543"/>
                <a:gd name="connsiteX475" fmla="*/ 98949 w 915649"/>
                <a:gd name="connsiteY475" fmla="*/ 229114 h 1047543"/>
                <a:gd name="connsiteX476" fmla="*/ 107818 w 915649"/>
                <a:gd name="connsiteY476" fmla="*/ 229575 h 1047543"/>
                <a:gd name="connsiteX477" fmla="*/ 115882 w 915649"/>
                <a:gd name="connsiteY477" fmla="*/ 227847 h 1047543"/>
                <a:gd name="connsiteX478" fmla="*/ 122908 w 915649"/>
                <a:gd name="connsiteY478" fmla="*/ 222087 h 1047543"/>
                <a:gd name="connsiteX479" fmla="*/ 123599 w 915649"/>
                <a:gd name="connsiteY479" fmla="*/ 220475 h 1047543"/>
                <a:gd name="connsiteX480" fmla="*/ 124060 w 915649"/>
                <a:gd name="connsiteY480" fmla="*/ 218977 h 1047543"/>
                <a:gd name="connsiteX481" fmla="*/ 124406 w 915649"/>
                <a:gd name="connsiteY481" fmla="*/ 217480 h 1047543"/>
                <a:gd name="connsiteX482" fmla="*/ 124406 w 915649"/>
                <a:gd name="connsiteY482" fmla="*/ 215982 h 1047543"/>
                <a:gd name="connsiteX483" fmla="*/ 122448 w 915649"/>
                <a:gd name="connsiteY483" fmla="*/ 206652 h 1047543"/>
                <a:gd name="connsiteX484" fmla="*/ 118416 w 915649"/>
                <a:gd name="connsiteY484" fmla="*/ 197782 h 1047543"/>
                <a:gd name="connsiteX485" fmla="*/ 113117 w 915649"/>
                <a:gd name="connsiteY485" fmla="*/ 189028 h 1047543"/>
                <a:gd name="connsiteX486" fmla="*/ 107588 w 915649"/>
                <a:gd name="connsiteY486" fmla="*/ 180158 h 1047543"/>
                <a:gd name="connsiteX487" fmla="*/ 103441 w 915649"/>
                <a:gd name="connsiteY487" fmla="*/ 173938 h 1047543"/>
                <a:gd name="connsiteX488" fmla="*/ 99870 w 915649"/>
                <a:gd name="connsiteY488" fmla="*/ 168063 h 1047543"/>
                <a:gd name="connsiteX489" fmla="*/ 96990 w 915649"/>
                <a:gd name="connsiteY489" fmla="*/ 162879 h 1047543"/>
                <a:gd name="connsiteX490" fmla="*/ 95032 w 915649"/>
                <a:gd name="connsiteY490" fmla="*/ 158963 h 1047543"/>
                <a:gd name="connsiteX491" fmla="*/ 96299 w 915649"/>
                <a:gd name="connsiteY491" fmla="*/ 158963 h 1047543"/>
                <a:gd name="connsiteX492" fmla="*/ 97682 w 915649"/>
                <a:gd name="connsiteY492" fmla="*/ 159078 h 1047543"/>
                <a:gd name="connsiteX493" fmla="*/ 99294 w 915649"/>
                <a:gd name="connsiteY493" fmla="*/ 159309 h 1047543"/>
                <a:gd name="connsiteX494" fmla="*/ 101022 w 915649"/>
                <a:gd name="connsiteY494" fmla="*/ 159654 h 1047543"/>
                <a:gd name="connsiteX495" fmla="*/ 101483 w 915649"/>
                <a:gd name="connsiteY495" fmla="*/ 159769 h 1047543"/>
                <a:gd name="connsiteX496" fmla="*/ 101944 w 915649"/>
                <a:gd name="connsiteY496" fmla="*/ 159769 h 1047543"/>
                <a:gd name="connsiteX497" fmla="*/ 102404 w 915649"/>
                <a:gd name="connsiteY497" fmla="*/ 159885 h 1047543"/>
                <a:gd name="connsiteX498" fmla="*/ 102865 w 915649"/>
                <a:gd name="connsiteY498" fmla="*/ 160000 h 1047543"/>
                <a:gd name="connsiteX499" fmla="*/ 110122 w 915649"/>
                <a:gd name="connsiteY499" fmla="*/ 161958 h 1047543"/>
                <a:gd name="connsiteX500" fmla="*/ 118070 w 915649"/>
                <a:gd name="connsiteY500" fmla="*/ 164262 h 1047543"/>
                <a:gd name="connsiteX501" fmla="*/ 126249 w 915649"/>
                <a:gd name="connsiteY501" fmla="*/ 166681 h 1047543"/>
                <a:gd name="connsiteX502" fmla="*/ 134312 w 915649"/>
                <a:gd name="connsiteY502" fmla="*/ 168754 h 1047543"/>
                <a:gd name="connsiteX503" fmla="*/ 140763 w 915649"/>
                <a:gd name="connsiteY503" fmla="*/ 170021 h 1047543"/>
                <a:gd name="connsiteX504" fmla="*/ 147214 w 915649"/>
                <a:gd name="connsiteY504" fmla="*/ 170828 h 1047543"/>
                <a:gd name="connsiteX505" fmla="*/ 153434 w 915649"/>
                <a:gd name="connsiteY505" fmla="*/ 170021 h 1047543"/>
                <a:gd name="connsiteX506" fmla="*/ 159424 w 915649"/>
                <a:gd name="connsiteY506" fmla="*/ 166450 h 1047543"/>
                <a:gd name="connsiteX507" fmla="*/ 160691 w 915649"/>
                <a:gd name="connsiteY507" fmla="*/ 164377 h 1047543"/>
                <a:gd name="connsiteX508" fmla="*/ 161497 w 915649"/>
                <a:gd name="connsiteY508" fmla="*/ 162304 h 1047543"/>
                <a:gd name="connsiteX509" fmla="*/ 161958 w 915649"/>
                <a:gd name="connsiteY509" fmla="*/ 160230 h 1047543"/>
                <a:gd name="connsiteX510" fmla="*/ 161958 w 915649"/>
                <a:gd name="connsiteY510" fmla="*/ 158157 h 1047543"/>
                <a:gd name="connsiteX511" fmla="*/ 160806 w 915649"/>
                <a:gd name="connsiteY511" fmla="*/ 150093 h 1047543"/>
                <a:gd name="connsiteX512" fmla="*/ 158157 w 915649"/>
                <a:gd name="connsiteY512" fmla="*/ 142030 h 1047543"/>
                <a:gd name="connsiteX513" fmla="*/ 154586 w 915649"/>
                <a:gd name="connsiteY513" fmla="*/ 133851 h 1047543"/>
                <a:gd name="connsiteX514" fmla="*/ 150784 w 915649"/>
                <a:gd name="connsiteY514" fmla="*/ 125558 h 1047543"/>
                <a:gd name="connsiteX515" fmla="*/ 147790 w 915649"/>
                <a:gd name="connsiteY515" fmla="*/ 119222 h 1047543"/>
                <a:gd name="connsiteX516" fmla="*/ 145140 w 915649"/>
                <a:gd name="connsiteY516" fmla="*/ 113232 h 1047543"/>
                <a:gd name="connsiteX517" fmla="*/ 143182 w 915649"/>
                <a:gd name="connsiteY517" fmla="*/ 108049 h 1047543"/>
                <a:gd name="connsiteX518" fmla="*/ 141915 w 915649"/>
                <a:gd name="connsiteY518" fmla="*/ 104132 h 1047543"/>
                <a:gd name="connsiteX519" fmla="*/ 142030 w 915649"/>
                <a:gd name="connsiteY519" fmla="*/ 104132 h 1047543"/>
                <a:gd name="connsiteX520" fmla="*/ 142260 w 915649"/>
                <a:gd name="connsiteY520" fmla="*/ 104132 h 1047543"/>
                <a:gd name="connsiteX521" fmla="*/ 142376 w 915649"/>
                <a:gd name="connsiteY521" fmla="*/ 104132 h 1047543"/>
                <a:gd name="connsiteX522" fmla="*/ 142491 w 915649"/>
                <a:gd name="connsiteY522" fmla="*/ 104132 h 1047543"/>
                <a:gd name="connsiteX523" fmla="*/ 151936 w 915649"/>
                <a:gd name="connsiteY523" fmla="*/ 107703 h 1047543"/>
                <a:gd name="connsiteX524" fmla="*/ 164031 w 915649"/>
                <a:gd name="connsiteY524" fmla="*/ 113348 h 1047543"/>
                <a:gd name="connsiteX525" fmla="*/ 176933 w 915649"/>
                <a:gd name="connsiteY525" fmla="*/ 119222 h 1047543"/>
                <a:gd name="connsiteX526" fmla="*/ 189143 w 915649"/>
                <a:gd name="connsiteY526" fmla="*/ 123599 h 1047543"/>
                <a:gd name="connsiteX527" fmla="*/ 192714 w 915649"/>
                <a:gd name="connsiteY527" fmla="*/ 124291 h 1047543"/>
                <a:gd name="connsiteX528" fmla="*/ 196400 w 915649"/>
                <a:gd name="connsiteY528" fmla="*/ 124636 h 1047543"/>
                <a:gd name="connsiteX529" fmla="*/ 200086 w 915649"/>
                <a:gd name="connsiteY529" fmla="*/ 124175 h 1047543"/>
                <a:gd name="connsiteX530" fmla="*/ 203772 w 915649"/>
                <a:gd name="connsiteY530" fmla="*/ 122448 h 1047543"/>
                <a:gd name="connsiteX531" fmla="*/ 206076 w 915649"/>
                <a:gd name="connsiteY531" fmla="*/ 119913 h 1047543"/>
                <a:gd name="connsiteX532" fmla="*/ 207343 w 915649"/>
                <a:gd name="connsiteY532" fmla="*/ 117149 h 1047543"/>
                <a:gd name="connsiteX533" fmla="*/ 207919 w 915649"/>
                <a:gd name="connsiteY533" fmla="*/ 114269 h 1047543"/>
                <a:gd name="connsiteX534" fmla="*/ 207919 w 915649"/>
                <a:gd name="connsiteY534" fmla="*/ 111504 h 1047543"/>
                <a:gd name="connsiteX535" fmla="*/ 205846 w 915649"/>
                <a:gd name="connsiteY535" fmla="*/ 98603 h 1047543"/>
                <a:gd name="connsiteX536" fmla="*/ 201929 w 915649"/>
                <a:gd name="connsiteY536" fmla="*/ 84550 h 1047543"/>
                <a:gd name="connsiteX537" fmla="*/ 198013 w 915649"/>
                <a:gd name="connsiteY537" fmla="*/ 71764 h 1047543"/>
                <a:gd name="connsiteX538" fmla="*/ 196170 w 915649"/>
                <a:gd name="connsiteY538" fmla="*/ 62548 h 1047543"/>
                <a:gd name="connsiteX539" fmla="*/ 205385 w 915649"/>
                <a:gd name="connsiteY539" fmla="*/ 67732 h 1047543"/>
                <a:gd name="connsiteX540" fmla="*/ 217941 w 915649"/>
                <a:gd name="connsiteY540" fmla="*/ 76026 h 1047543"/>
                <a:gd name="connsiteX541" fmla="*/ 231763 w 915649"/>
                <a:gd name="connsiteY541" fmla="*/ 84550 h 1047543"/>
                <a:gd name="connsiteX542" fmla="*/ 244780 w 915649"/>
                <a:gd name="connsiteY542" fmla="*/ 90540 h 1047543"/>
                <a:gd name="connsiteX543" fmla="*/ 247199 w 915649"/>
                <a:gd name="connsiteY543" fmla="*/ 91001 h 1047543"/>
                <a:gd name="connsiteX544" fmla="*/ 249733 w 915649"/>
                <a:gd name="connsiteY544" fmla="*/ 91231 h 1047543"/>
                <a:gd name="connsiteX545" fmla="*/ 252267 w 915649"/>
                <a:gd name="connsiteY545" fmla="*/ 91116 h 1047543"/>
                <a:gd name="connsiteX546" fmla="*/ 254802 w 915649"/>
                <a:gd name="connsiteY546" fmla="*/ 90309 h 1047543"/>
                <a:gd name="connsiteX547" fmla="*/ 258372 w 915649"/>
                <a:gd name="connsiteY547" fmla="*/ 87084 h 1047543"/>
                <a:gd name="connsiteX548" fmla="*/ 260216 w 915649"/>
                <a:gd name="connsiteY548" fmla="*/ 83283 h 1047543"/>
                <a:gd name="connsiteX549" fmla="*/ 260907 w 915649"/>
                <a:gd name="connsiteY549" fmla="*/ 79136 h 1047543"/>
                <a:gd name="connsiteX550" fmla="*/ 261022 w 915649"/>
                <a:gd name="connsiteY550" fmla="*/ 74989 h 1047543"/>
                <a:gd name="connsiteX551" fmla="*/ 260100 w 915649"/>
                <a:gd name="connsiteY551" fmla="*/ 65083 h 1047543"/>
                <a:gd name="connsiteX552" fmla="*/ 258603 w 915649"/>
                <a:gd name="connsiteY552" fmla="*/ 54600 h 1047543"/>
                <a:gd name="connsiteX553" fmla="*/ 257105 w 915649"/>
                <a:gd name="connsiteY553" fmla="*/ 44809 h 1047543"/>
                <a:gd name="connsiteX554" fmla="*/ 256414 w 915649"/>
                <a:gd name="connsiteY554" fmla="*/ 36861 h 1047543"/>
                <a:gd name="connsiteX555" fmla="*/ 256414 w 915649"/>
                <a:gd name="connsiteY555" fmla="*/ 34672 h 1047543"/>
                <a:gd name="connsiteX556" fmla="*/ 259755 w 915649"/>
                <a:gd name="connsiteY556" fmla="*/ 37091 h 1047543"/>
                <a:gd name="connsiteX557" fmla="*/ 264132 w 915649"/>
                <a:gd name="connsiteY557" fmla="*/ 40432 h 1047543"/>
                <a:gd name="connsiteX558" fmla="*/ 269085 w 915649"/>
                <a:gd name="connsiteY558" fmla="*/ 44579 h 1047543"/>
                <a:gd name="connsiteX559" fmla="*/ 274269 w 915649"/>
                <a:gd name="connsiteY559" fmla="*/ 49186 h 1047543"/>
                <a:gd name="connsiteX560" fmla="*/ 281411 w 915649"/>
                <a:gd name="connsiteY560" fmla="*/ 55291 h 1047543"/>
                <a:gd name="connsiteX561" fmla="*/ 288437 w 915649"/>
                <a:gd name="connsiteY561" fmla="*/ 61166 h 1047543"/>
                <a:gd name="connsiteX562" fmla="*/ 295694 w 915649"/>
                <a:gd name="connsiteY562" fmla="*/ 66119 h 1047543"/>
                <a:gd name="connsiteX563" fmla="*/ 303412 w 915649"/>
                <a:gd name="connsiteY563" fmla="*/ 69690 h 1047543"/>
                <a:gd name="connsiteX564" fmla="*/ 305140 w 915649"/>
                <a:gd name="connsiteY564" fmla="*/ 70036 h 1047543"/>
                <a:gd name="connsiteX565" fmla="*/ 306868 w 915649"/>
                <a:gd name="connsiteY565" fmla="*/ 70151 h 1047543"/>
                <a:gd name="connsiteX566" fmla="*/ 308596 w 915649"/>
                <a:gd name="connsiteY566" fmla="*/ 70151 h 1047543"/>
                <a:gd name="connsiteX567" fmla="*/ 310208 w 915649"/>
                <a:gd name="connsiteY567" fmla="*/ 69921 h 1047543"/>
                <a:gd name="connsiteX568" fmla="*/ 314585 w 915649"/>
                <a:gd name="connsiteY568" fmla="*/ 67387 h 1047543"/>
                <a:gd name="connsiteX569" fmla="*/ 317004 w 915649"/>
                <a:gd name="connsiteY569" fmla="*/ 63931 h 1047543"/>
                <a:gd name="connsiteX570" fmla="*/ 318156 w 915649"/>
                <a:gd name="connsiteY570" fmla="*/ 60014 h 1047543"/>
                <a:gd name="connsiteX571" fmla="*/ 318848 w 915649"/>
                <a:gd name="connsiteY571" fmla="*/ 55983 h 1047543"/>
                <a:gd name="connsiteX572" fmla="*/ 319308 w 915649"/>
                <a:gd name="connsiteY572" fmla="*/ 49417 h 1047543"/>
                <a:gd name="connsiteX573" fmla="*/ 319308 w 915649"/>
                <a:gd name="connsiteY573" fmla="*/ 42505 h 1047543"/>
                <a:gd name="connsiteX574" fmla="*/ 319308 w 915649"/>
                <a:gd name="connsiteY574" fmla="*/ 35594 h 1047543"/>
                <a:gd name="connsiteX575" fmla="*/ 319308 w 915649"/>
                <a:gd name="connsiteY575" fmla="*/ 29143 h 1047543"/>
                <a:gd name="connsiteX576" fmla="*/ 319423 w 915649"/>
                <a:gd name="connsiteY576" fmla="*/ 26263 h 1047543"/>
                <a:gd name="connsiteX577" fmla="*/ 319654 w 915649"/>
                <a:gd name="connsiteY577" fmla="*/ 23729 h 1047543"/>
                <a:gd name="connsiteX578" fmla="*/ 319884 w 915649"/>
                <a:gd name="connsiteY578" fmla="*/ 21541 h 1047543"/>
                <a:gd name="connsiteX579" fmla="*/ 320230 w 915649"/>
                <a:gd name="connsiteY579" fmla="*/ 19813 h 1047543"/>
                <a:gd name="connsiteX580" fmla="*/ 323916 w 915649"/>
                <a:gd name="connsiteY580" fmla="*/ 23269 h 1047543"/>
                <a:gd name="connsiteX581" fmla="*/ 328524 w 915649"/>
                <a:gd name="connsiteY581" fmla="*/ 28107 h 1047543"/>
                <a:gd name="connsiteX582" fmla="*/ 333707 w 915649"/>
                <a:gd name="connsiteY582" fmla="*/ 33751 h 1047543"/>
                <a:gd name="connsiteX583" fmla="*/ 339121 w 915649"/>
                <a:gd name="connsiteY583" fmla="*/ 39741 h 1047543"/>
                <a:gd name="connsiteX584" fmla="*/ 344996 w 915649"/>
                <a:gd name="connsiteY584" fmla="*/ 45961 h 1047543"/>
                <a:gd name="connsiteX585" fmla="*/ 350755 w 915649"/>
                <a:gd name="connsiteY585" fmla="*/ 51836 h 1047543"/>
                <a:gd name="connsiteX586" fmla="*/ 356976 w 915649"/>
                <a:gd name="connsiteY586" fmla="*/ 56904 h 1047543"/>
                <a:gd name="connsiteX587" fmla="*/ 364233 w 915649"/>
                <a:gd name="connsiteY587" fmla="*/ 60590 h 1047543"/>
                <a:gd name="connsiteX588" fmla="*/ 368149 w 915649"/>
                <a:gd name="connsiteY588" fmla="*/ 61166 h 1047543"/>
                <a:gd name="connsiteX589" fmla="*/ 372987 w 915649"/>
                <a:gd name="connsiteY589" fmla="*/ 59669 h 1047543"/>
                <a:gd name="connsiteX590" fmla="*/ 375982 w 915649"/>
                <a:gd name="connsiteY590" fmla="*/ 57019 h 1047543"/>
                <a:gd name="connsiteX591" fmla="*/ 377825 w 915649"/>
                <a:gd name="connsiteY591" fmla="*/ 53679 h 1047543"/>
                <a:gd name="connsiteX592" fmla="*/ 379092 w 915649"/>
                <a:gd name="connsiteY592" fmla="*/ 50108 h 1047543"/>
                <a:gd name="connsiteX593" fmla="*/ 380474 w 915649"/>
                <a:gd name="connsiteY593" fmla="*/ 44233 h 1047543"/>
                <a:gd name="connsiteX594" fmla="*/ 381626 w 915649"/>
                <a:gd name="connsiteY594" fmla="*/ 37898 h 1047543"/>
                <a:gd name="connsiteX595" fmla="*/ 382548 w 915649"/>
                <a:gd name="connsiteY595" fmla="*/ 31677 h 1047543"/>
                <a:gd name="connsiteX596" fmla="*/ 383585 w 915649"/>
                <a:gd name="connsiteY596" fmla="*/ 25803 h 1047543"/>
                <a:gd name="connsiteX597" fmla="*/ 384045 w 915649"/>
                <a:gd name="connsiteY597" fmla="*/ 23269 h 1047543"/>
                <a:gd name="connsiteX598" fmla="*/ 384621 w 915649"/>
                <a:gd name="connsiteY598" fmla="*/ 20965 h 1047543"/>
                <a:gd name="connsiteX599" fmla="*/ 385197 w 915649"/>
                <a:gd name="connsiteY599" fmla="*/ 19006 h 1047543"/>
                <a:gd name="connsiteX600" fmla="*/ 385773 w 915649"/>
                <a:gd name="connsiteY600" fmla="*/ 17509 h 1047543"/>
                <a:gd name="connsiteX601" fmla="*/ 388653 w 915649"/>
                <a:gd name="connsiteY601" fmla="*/ 20850 h 1047543"/>
                <a:gd name="connsiteX602" fmla="*/ 392339 w 915649"/>
                <a:gd name="connsiteY602" fmla="*/ 25572 h 1047543"/>
                <a:gd name="connsiteX603" fmla="*/ 396371 w 915649"/>
                <a:gd name="connsiteY603" fmla="*/ 31101 h 1047543"/>
                <a:gd name="connsiteX604" fmla="*/ 400287 w 915649"/>
                <a:gd name="connsiteY604" fmla="*/ 36861 h 1047543"/>
                <a:gd name="connsiteX605" fmla="*/ 405816 w 915649"/>
                <a:gd name="connsiteY605" fmla="*/ 44579 h 1047543"/>
                <a:gd name="connsiteX606" fmla="*/ 411346 w 915649"/>
                <a:gd name="connsiteY606" fmla="*/ 51951 h 1047543"/>
                <a:gd name="connsiteX607" fmla="*/ 417681 w 915649"/>
                <a:gd name="connsiteY607" fmla="*/ 58286 h 1047543"/>
                <a:gd name="connsiteX608" fmla="*/ 425860 w 915649"/>
                <a:gd name="connsiteY608" fmla="*/ 63009 h 1047543"/>
                <a:gd name="connsiteX609" fmla="*/ 427242 w 915649"/>
                <a:gd name="connsiteY609" fmla="*/ 63355 h 1047543"/>
                <a:gd name="connsiteX610" fmla="*/ 432425 w 915649"/>
                <a:gd name="connsiteY610" fmla="*/ 62894 h 1047543"/>
                <a:gd name="connsiteX611" fmla="*/ 435881 w 915649"/>
                <a:gd name="connsiteY611" fmla="*/ 60936 h 1047543"/>
                <a:gd name="connsiteX612" fmla="*/ 438185 w 915649"/>
                <a:gd name="connsiteY612" fmla="*/ 58171 h 1047543"/>
                <a:gd name="connsiteX613" fmla="*/ 440028 w 915649"/>
                <a:gd name="connsiteY613" fmla="*/ 55176 h 1047543"/>
                <a:gd name="connsiteX614" fmla="*/ 442332 w 915649"/>
                <a:gd name="connsiteY614" fmla="*/ 50108 h 1047543"/>
                <a:gd name="connsiteX615" fmla="*/ 444405 w 915649"/>
                <a:gd name="connsiteY615" fmla="*/ 44579 h 1047543"/>
                <a:gd name="connsiteX616" fmla="*/ 446363 w 915649"/>
                <a:gd name="connsiteY616" fmla="*/ 39050 h 1047543"/>
                <a:gd name="connsiteX617" fmla="*/ 448207 w 915649"/>
                <a:gd name="connsiteY617" fmla="*/ 33866 h 1047543"/>
                <a:gd name="connsiteX618" fmla="*/ 449013 w 915649"/>
                <a:gd name="connsiteY618" fmla="*/ 31562 h 1047543"/>
                <a:gd name="connsiteX619" fmla="*/ 449934 w 915649"/>
                <a:gd name="connsiteY619" fmla="*/ 29604 h 1047543"/>
                <a:gd name="connsiteX620" fmla="*/ 450856 w 915649"/>
                <a:gd name="connsiteY620" fmla="*/ 27991 h 1047543"/>
                <a:gd name="connsiteX621" fmla="*/ 451662 w 915649"/>
                <a:gd name="connsiteY621" fmla="*/ 26724 h 1047543"/>
                <a:gd name="connsiteX622" fmla="*/ 452353 w 915649"/>
                <a:gd name="connsiteY622" fmla="*/ 27646 h 1047543"/>
                <a:gd name="connsiteX623" fmla="*/ 453160 w 915649"/>
                <a:gd name="connsiteY623" fmla="*/ 28798 h 1047543"/>
                <a:gd name="connsiteX624" fmla="*/ 453966 w 915649"/>
                <a:gd name="connsiteY624" fmla="*/ 30180 h 1047543"/>
                <a:gd name="connsiteX625" fmla="*/ 454888 w 915649"/>
                <a:gd name="connsiteY625" fmla="*/ 31677 h 1047543"/>
                <a:gd name="connsiteX626" fmla="*/ 457998 w 915649"/>
                <a:gd name="connsiteY626" fmla="*/ 36976 h 1047543"/>
                <a:gd name="connsiteX627" fmla="*/ 461223 w 915649"/>
                <a:gd name="connsiteY627" fmla="*/ 42966 h 1047543"/>
                <a:gd name="connsiteX628" fmla="*/ 464564 w 915649"/>
                <a:gd name="connsiteY628" fmla="*/ 49186 h 1047543"/>
                <a:gd name="connsiteX629" fmla="*/ 468019 w 915649"/>
                <a:gd name="connsiteY629" fmla="*/ 55407 h 1047543"/>
                <a:gd name="connsiteX630" fmla="*/ 471705 w 915649"/>
                <a:gd name="connsiteY630" fmla="*/ 61397 h 1047543"/>
                <a:gd name="connsiteX631" fmla="*/ 475507 w 915649"/>
                <a:gd name="connsiteY631" fmla="*/ 67041 h 1047543"/>
                <a:gd name="connsiteX632" fmla="*/ 480460 w 915649"/>
                <a:gd name="connsiteY632" fmla="*/ 71994 h 1047543"/>
                <a:gd name="connsiteX633" fmla="*/ 487141 w 915649"/>
                <a:gd name="connsiteY633" fmla="*/ 75911 h 1047543"/>
                <a:gd name="connsiteX634" fmla="*/ 491979 w 915649"/>
                <a:gd name="connsiteY634" fmla="*/ 76256 h 1047543"/>
                <a:gd name="connsiteX635" fmla="*/ 495550 w 915649"/>
                <a:gd name="connsiteY635" fmla="*/ 75104 h 1047543"/>
                <a:gd name="connsiteX636" fmla="*/ 498199 w 915649"/>
                <a:gd name="connsiteY636" fmla="*/ 73031 h 1047543"/>
                <a:gd name="connsiteX637" fmla="*/ 500388 w 915649"/>
                <a:gd name="connsiteY637" fmla="*/ 70612 h 1047543"/>
                <a:gd name="connsiteX638" fmla="*/ 503383 w 915649"/>
                <a:gd name="connsiteY638" fmla="*/ 66350 h 1047543"/>
                <a:gd name="connsiteX639" fmla="*/ 506263 w 915649"/>
                <a:gd name="connsiteY639" fmla="*/ 61742 h 1047543"/>
                <a:gd name="connsiteX640" fmla="*/ 508912 w 915649"/>
                <a:gd name="connsiteY640" fmla="*/ 57019 h 1047543"/>
                <a:gd name="connsiteX641" fmla="*/ 511446 w 915649"/>
                <a:gd name="connsiteY641" fmla="*/ 52642 h 1047543"/>
                <a:gd name="connsiteX642" fmla="*/ 512713 w 915649"/>
                <a:gd name="connsiteY642" fmla="*/ 50684 h 1047543"/>
                <a:gd name="connsiteX643" fmla="*/ 513980 w 915649"/>
                <a:gd name="connsiteY643" fmla="*/ 48956 h 1047543"/>
                <a:gd name="connsiteX644" fmla="*/ 515132 w 915649"/>
                <a:gd name="connsiteY644" fmla="*/ 47574 h 1047543"/>
                <a:gd name="connsiteX645" fmla="*/ 516169 w 915649"/>
                <a:gd name="connsiteY645" fmla="*/ 46537 h 1047543"/>
                <a:gd name="connsiteX646" fmla="*/ 518473 w 915649"/>
                <a:gd name="connsiteY646" fmla="*/ 50914 h 1047543"/>
                <a:gd name="connsiteX647" fmla="*/ 521122 w 915649"/>
                <a:gd name="connsiteY647" fmla="*/ 56904 h 1047543"/>
                <a:gd name="connsiteX648" fmla="*/ 524002 w 915649"/>
                <a:gd name="connsiteY648" fmla="*/ 63816 h 1047543"/>
                <a:gd name="connsiteX649" fmla="*/ 526882 w 915649"/>
                <a:gd name="connsiteY649" fmla="*/ 71073 h 1047543"/>
                <a:gd name="connsiteX650" fmla="*/ 529992 w 915649"/>
                <a:gd name="connsiteY650" fmla="*/ 78445 h 1047543"/>
                <a:gd name="connsiteX651" fmla="*/ 533217 w 915649"/>
                <a:gd name="connsiteY651" fmla="*/ 85471 h 1047543"/>
                <a:gd name="connsiteX652" fmla="*/ 537825 w 915649"/>
                <a:gd name="connsiteY652" fmla="*/ 91922 h 1047543"/>
                <a:gd name="connsiteX653" fmla="*/ 544851 w 915649"/>
                <a:gd name="connsiteY653" fmla="*/ 97682 h 1047543"/>
                <a:gd name="connsiteX654" fmla="*/ 546003 w 915649"/>
                <a:gd name="connsiteY654" fmla="*/ 83398 h 1047543"/>
                <a:gd name="connsiteX655" fmla="*/ 545773 w 915649"/>
                <a:gd name="connsiteY655" fmla="*/ 85932 h 1047543"/>
                <a:gd name="connsiteX656" fmla="*/ 546925 w 915649"/>
                <a:gd name="connsiteY656" fmla="*/ 83974 h 1047543"/>
                <a:gd name="connsiteX657" fmla="*/ 546694 w 915649"/>
                <a:gd name="connsiteY657" fmla="*/ 83744 h 1047543"/>
                <a:gd name="connsiteX658" fmla="*/ 545082 w 915649"/>
                <a:gd name="connsiteY658" fmla="*/ 81094 h 1047543"/>
                <a:gd name="connsiteX659" fmla="*/ 542548 w 915649"/>
                <a:gd name="connsiteY659" fmla="*/ 75795 h 1047543"/>
                <a:gd name="connsiteX660" fmla="*/ 539553 w 915649"/>
                <a:gd name="connsiteY660" fmla="*/ 68884 h 1047543"/>
                <a:gd name="connsiteX661" fmla="*/ 536558 w 915649"/>
                <a:gd name="connsiteY661" fmla="*/ 61166 h 1047543"/>
                <a:gd name="connsiteX662" fmla="*/ 534830 w 915649"/>
                <a:gd name="connsiteY662" fmla="*/ 57019 h 1047543"/>
                <a:gd name="connsiteX663" fmla="*/ 533102 w 915649"/>
                <a:gd name="connsiteY663" fmla="*/ 52757 h 1047543"/>
                <a:gd name="connsiteX664" fmla="*/ 531259 w 915649"/>
                <a:gd name="connsiteY664" fmla="*/ 48726 h 1047543"/>
                <a:gd name="connsiteX665" fmla="*/ 529186 w 915649"/>
                <a:gd name="connsiteY665" fmla="*/ 44809 h 1047543"/>
                <a:gd name="connsiteX666" fmla="*/ 527112 w 915649"/>
                <a:gd name="connsiteY666" fmla="*/ 41238 h 1047543"/>
                <a:gd name="connsiteX667" fmla="*/ 524578 w 915649"/>
                <a:gd name="connsiteY667" fmla="*/ 37667 h 1047543"/>
                <a:gd name="connsiteX668" fmla="*/ 521353 w 915649"/>
                <a:gd name="connsiteY668" fmla="*/ 34212 h 1047543"/>
                <a:gd name="connsiteX669" fmla="*/ 517090 w 915649"/>
                <a:gd name="connsiteY669" fmla="*/ 31332 h 1047543"/>
                <a:gd name="connsiteX670" fmla="*/ 515363 w 915649"/>
                <a:gd name="connsiteY670" fmla="*/ 30641 h 1047543"/>
                <a:gd name="connsiteX671" fmla="*/ 515363 w 915649"/>
                <a:gd name="connsiteY671" fmla="*/ 30641 h 1047543"/>
                <a:gd name="connsiteX672" fmla="*/ 510640 w 915649"/>
                <a:gd name="connsiteY672" fmla="*/ 30180 h 1047543"/>
                <a:gd name="connsiteX673" fmla="*/ 507184 w 915649"/>
                <a:gd name="connsiteY673" fmla="*/ 31332 h 1047543"/>
                <a:gd name="connsiteX674" fmla="*/ 504535 w 915649"/>
                <a:gd name="connsiteY674" fmla="*/ 33290 h 1047543"/>
                <a:gd name="connsiteX675" fmla="*/ 502346 w 915649"/>
                <a:gd name="connsiteY675" fmla="*/ 35594 h 1047543"/>
                <a:gd name="connsiteX676" fmla="*/ 499351 w 915649"/>
                <a:gd name="connsiteY676" fmla="*/ 39741 h 1047543"/>
                <a:gd name="connsiteX677" fmla="*/ 496587 w 915649"/>
                <a:gd name="connsiteY677" fmla="*/ 44348 h 1047543"/>
                <a:gd name="connsiteX678" fmla="*/ 493822 w 915649"/>
                <a:gd name="connsiteY678" fmla="*/ 48956 h 1047543"/>
                <a:gd name="connsiteX679" fmla="*/ 491173 w 915649"/>
                <a:gd name="connsiteY679" fmla="*/ 53448 h 1047543"/>
                <a:gd name="connsiteX680" fmla="*/ 489906 w 915649"/>
                <a:gd name="connsiteY680" fmla="*/ 55407 h 1047543"/>
                <a:gd name="connsiteX681" fmla="*/ 488638 w 915649"/>
                <a:gd name="connsiteY681" fmla="*/ 57135 h 1047543"/>
                <a:gd name="connsiteX682" fmla="*/ 487487 w 915649"/>
                <a:gd name="connsiteY682" fmla="*/ 58517 h 1047543"/>
                <a:gd name="connsiteX683" fmla="*/ 486335 w 915649"/>
                <a:gd name="connsiteY683" fmla="*/ 59669 h 1047543"/>
                <a:gd name="connsiteX684" fmla="*/ 485874 w 915649"/>
                <a:gd name="connsiteY684" fmla="*/ 60014 h 1047543"/>
                <a:gd name="connsiteX685" fmla="*/ 483570 w 915649"/>
                <a:gd name="connsiteY685" fmla="*/ 56674 h 1047543"/>
                <a:gd name="connsiteX686" fmla="*/ 480460 w 915649"/>
                <a:gd name="connsiteY686" fmla="*/ 51721 h 1047543"/>
                <a:gd name="connsiteX687" fmla="*/ 477004 w 915649"/>
                <a:gd name="connsiteY687" fmla="*/ 45731 h 1047543"/>
                <a:gd name="connsiteX688" fmla="*/ 473548 w 915649"/>
                <a:gd name="connsiteY688" fmla="*/ 39280 h 1047543"/>
                <a:gd name="connsiteX689" fmla="*/ 471245 w 915649"/>
                <a:gd name="connsiteY689" fmla="*/ 35018 h 1047543"/>
                <a:gd name="connsiteX690" fmla="*/ 468941 w 915649"/>
                <a:gd name="connsiteY690" fmla="*/ 30871 h 1047543"/>
                <a:gd name="connsiteX691" fmla="*/ 466522 w 915649"/>
                <a:gd name="connsiteY691" fmla="*/ 26839 h 1047543"/>
                <a:gd name="connsiteX692" fmla="*/ 463988 w 915649"/>
                <a:gd name="connsiteY692" fmla="*/ 23038 h 1047543"/>
                <a:gd name="connsiteX693" fmla="*/ 461453 w 915649"/>
                <a:gd name="connsiteY693" fmla="*/ 19467 h 1047543"/>
                <a:gd name="connsiteX694" fmla="*/ 458459 w 915649"/>
                <a:gd name="connsiteY694" fmla="*/ 16011 h 1047543"/>
                <a:gd name="connsiteX695" fmla="*/ 454657 w 915649"/>
                <a:gd name="connsiteY695" fmla="*/ 12901 h 1047543"/>
                <a:gd name="connsiteX696" fmla="*/ 449819 w 915649"/>
                <a:gd name="connsiteY696" fmla="*/ 10482 h 1047543"/>
                <a:gd name="connsiteX697" fmla="*/ 448437 w 915649"/>
                <a:gd name="connsiteY697" fmla="*/ 10137 h 1047543"/>
                <a:gd name="connsiteX698" fmla="*/ 443714 w 915649"/>
                <a:gd name="connsiteY698" fmla="*/ 10137 h 1047543"/>
                <a:gd name="connsiteX699" fmla="*/ 440489 w 915649"/>
                <a:gd name="connsiteY699" fmla="*/ 11749 h 1047543"/>
                <a:gd name="connsiteX700" fmla="*/ 438185 w 915649"/>
                <a:gd name="connsiteY700" fmla="*/ 14284 h 1047543"/>
                <a:gd name="connsiteX701" fmla="*/ 436342 w 915649"/>
                <a:gd name="connsiteY701" fmla="*/ 17048 h 1047543"/>
                <a:gd name="connsiteX702" fmla="*/ 434038 w 915649"/>
                <a:gd name="connsiteY702" fmla="*/ 22117 h 1047543"/>
                <a:gd name="connsiteX703" fmla="*/ 431965 w 915649"/>
                <a:gd name="connsiteY703" fmla="*/ 27531 h 1047543"/>
                <a:gd name="connsiteX704" fmla="*/ 430006 w 915649"/>
                <a:gd name="connsiteY704" fmla="*/ 33060 h 1047543"/>
                <a:gd name="connsiteX705" fmla="*/ 428048 w 915649"/>
                <a:gd name="connsiteY705" fmla="*/ 38358 h 1047543"/>
                <a:gd name="connsiteX706" fmla="*/ 427127 w 915649"/>
                <a:gd name="connsiteY706" fmla="*/ 40662 h 1047543"/>
                <a:gd name="connsiteX707" fmla="*/ 426205 w 915649"/>
                <a:gd name="connsiteY707" fmla="*/ 42851 h 1047543"/>
                <a:gd name="connsiteX708" fmla="*/ 425399 w 915649"/>
                <a:gd name="connsiteY708" fmla="*/ 44694 h 1047543"/>
                <a:gd name="connsiteX709" fmla="*/ 424477 w 915649"/>
                <a:gd name="connsiteY709" fmla="*/ 46076 h 1047543"/>
                <a:gd name="connsiteX710" fmla="*/ 424132 w 915649"/>
                <a:gd name="connsiteY710" fmla="*/ 46652 h 1047543"/>
                <a:gd name="connsiteX711" fmla="*/ 421367 w 915649"/>
                <a:gd name="connsiteY711" fmla="*/ 43427 h 1047543"/>
                <a:gd name="connsiteX712" fmla="*/ 417681 w 915649"/>
                <a:gd name="connsiteY712" fmla="*/ 38704 h 1047543"/>
                <a:gd name="connsiteX713" fmla="*/ 413419 w 915649"/>
                <a:gd name="connsiteY713" fmla="*/ 32945 h 1047543"/>
                <a:gd name="connsiteX714" fmla="*/ 409157 w 915649"/>
                <a:gd name="connsiteY714" fmla="*/ 26724 h 1047543"/>
                <a:gd name="connsiteX715" fmla="*/ 403628 w 915649"/>
                <a:gd name="connsiteY715" fmla="*/ 19122 h 1047543"/>
                <a:gd name="connsiteX716" fmla="*/ 398214 w 915649"/>
                <a:gd name="connsiteY716" fmla="*/ 11865 h 1047543"/>
                <a:gd name="connsiteX717" fmla="*/ 391878 w 915649"/>
                <a:gd name="connsiteY717" fmla="*/ 5529 h 1047543"/>
                <a:gd name="connsiteX718" fmla="*/ 383815 w 915649"/>
                <a:gd name="connsiteY718" fmla="*/ 576 h 1047543"/>
                <a:gd name="connsiteX719" fmla="*/ 380705 w 915649"/>
                <a:gd name="connsiteY719" fmla="*/ 0 h 1047543"/>
                <a:gd name="connsiteX720" fmla="*/ 375982 w 915649"/>
                <a:gd name="connsiteY720" fmla="*/ 1037 h 1047543"/>
                <a:gd name="connsiteX721" fmla="*/ 372872 w 915649"/>
                <a:gd name="connsiteY721" fmla="*/ 3456 h 1047543"/>
                <a:gd name="connsiteX722" fmla="*/ 370914 w 915649"/>
                <a:gd name="connsiteY722" fmla="*/ 6681 h 1047543"/>
                <a:gd name="connsiteX723" fmla="*/ 369531 w 915649"/>
                <a:gd name="connsiteY723" fmla="*/ 10022 h 1047543"/>
                <a:gd name="connsiteX724" fmla="*/ 368034 w 915649"/>
                <a:gd name="connsiteY724" fmla="*/ 15781 h 1047543"/>
                <a:gd name="connsiteX725" fmla="*/ 366882 w 915649"/>
                <a:gd name="connsiteY725" fmla="*/ 22001 h 1047543"/>
                <a:gd name="connsiteX726" fmla="*/ 365845 w 915649"/>
                <a:gd name="connsiteY726" fmla="*/ 28337 h 1047543"/>
                <a:gd name="connsiteX727" fmla="*/ 364809 w 915649"/>
                <a:gd name="connsiteY727" fmla="*/ 34212 h 1047543"/>
                <a:gd name="connsiteX728" fmla="*/ 364233 w 915649"/>
                <a:gd name="connsiteY728" fmla="*/ 36976 h 1047543"/>
                <a:gd name="connsiteX729" fmla="*/ 363657 w 915649"/>
                <a:gd name="connsiteY729" fmla="*/ 39395 h 1047543"/>
                <a:gd name="connsiteX730" fmla="*/ 363081 w 915649"/>
                <a:gd name="connsiteY730" fmla="*/ 41469 h 1047543"/>
                <a:gd name="connsiteX731" fmla="*/ 362505 w 915649"/>
                <a:gd name="connsiteY731" fmla="*/ 43081 h 1047543"/>
                <a:gd name="connsiteX732" fmla="*/ 362274 w 915649"/>
                <a:gd name="connsiteY732" fmla="*/ 43772 h 1047543"/>
                <a:gd name="connsiteX733" fmla="*/ 358703 w 915649"/>
                <a:gd name="connsiteY733" fmla="*/ 40547 h 1047543"/>
                <a:gd name="connsiteX734" fmla="*/ 353981 w 915649"/>
                <a:gd name="connsiteY734" fmla="*/ 35709 h 1047543"/>
                <a:gd name="connsiteX735" fmla="*/ 348567 w 915649"/>
                <a:gd name="connsiteY735" fmla="*/ 29834 h 1047543"/>
                <a:gd name="connsiteX736" fmla="*/ 342922 w 915649"/>
                <a:gd name="connsiteY736" fmla="*/ 23614 h 1047543"/>
                <a:gd name="connsiteX737" fmla="*/ 337048 w 915649"/>
                <a:gd name="connsiteY737" fmla="*/ 17279 h 1047543"/>
                <a:gd name="connsiteX738" fmla="*/ 331403 w 915649"/>
                <a:gd name="connsiteY738" fmla="*/ 11404 h 1047543"/>
                <a:gd name="connsiteX739" fmla="*/ 325183 w 915649"/>
                <a:gd name="connsiteY739" fmla="*/ 6335 h 1047543"/>
                <a:gd name="connsiteX740" fmla="*/ 317811 w 915649"/>
                <a:gd name="connsiteY740" fmla="*/ 2534 h 1047543"/>
                <a:gd name="connsiteX741" fmla="*/ 316544 w 915649"/>
                <a:gd name="connsiteY741" fmla="*/ 2189 h 1047543"/>
                <a:gd name="connsiteX742" fmla="*/ 315161 w 915649"/>
                <a:gd name="connsiteY742" fmla="*/ 1958 h 1047543"/>
                <a:gd name="connsiteX743" fmla="*/ 313779 w 915649"/>
                <a:gd name="connsiteY743" fmla="*/ 1958 h 1047543"/>
                <a:gd name="connsiteX744" fmla="*/ 312397 w 915649"/>
                <a:gd name="connsiteY744" fmla="*/ 1958 h 1047543"/>
                <a:gd name="connsiteX745" fmla="*/ 307904 w 915649"/>
                <a:gd name="connsiteY745" fmla="*/ 4032 h 1047543"/>
                <a:gd name="connsiteX746" fmla="*/ 305370 w 915649"/>
                <a:gd name="connsiteY746" fmla="*/ 7142 h 1047543"/>
                <a:gd name="connsiteX747" fmla="*/ 303988 w 915649"/>
                <a:gd name="connsiteY747" fmla="*/ 10943 h 1047543"/>
                <a:gd name="connsiteX748" fmla="*/ 303182 w 915649"/>
                <a:gd name="connsiteY748" fmla="*/ 14860 h 1047543"/>
                <a:gd name="connsiteX749" fmla="*/ 302606 w 915649"/>
                <a:gd name="connsiteY749" fmla="*/ 21195 h 1047543"/>
                <a:gd name="connsiteX750" fmla="*/ 302490 w 915649"/>
                <a:gd name="connsiteY750" fmla="*/ 28107 h 1047543"/>
                <a:gd name="connsiteX751" fmla="*/ 302490 w 915649"/>
                <a:gd name="connsiteY751" fmla="*/ 35018 h 1047543"/>
                <a:gd name="connsiteX752" fmla="*/ 302490 w 915649"/>
                <a:gd name="connsiteY752" fmla="*/ 41699 h 1047543"/>
                <a:gd name="connsiteX753" fmla="*/ 302490 w 915649"/>
                <a:gd name="connsiteY753" fmla="*/ 44694 h 1047543"/>
                <a:gd name="connsiteX754" fmla="*/ 302260 w 915649"/>
                <a:gd name="connsiteY754" fmla="*/ 47459 h 1047543"/>
                <a:gd name="connsiteX755" fmla="*/ 302030 w 915649"/>
                <a:gd name="connsiteY755" fmla="*/ 49878 h 1047543"/>
                <a:gd name="connsiteX756" fmla="*/ 301569 w 915649"/>
                <a:gd name="connsiteY756" fmla="*/ 51721 h 1047543"/>
                <a:gd name="connsiteX757" fmla="*/ 301569 w 915649"/>
                <a:gd name="connsiteY757" fmla="*/ 52642 h 1047543"/>
                <a:gd name="connsiteX758" fmla="*/ 298228 w 915649"/>
                <a:gd name="connsiteY758" fmla="*/ 50338 h 1047543"/>
                <a:gd name="connsiteX759" fmla="*/ 293736 w 915649"/>
                <a:gd name="connsiteY759" fmla="*/ 46883 h 1047543"/>
                <a:gd name="connsiteX760" fmla="*/ 288552 w 915649"/>
                <a:gd name="connsiteY760" fmla="*/ 42621 h 1047543"/>
                <a:gd name="connsiteX761" fmla="*/ 283254 w 915649"/>
                <a:gd name="connsiteY761" fmla="*/ 37898 h 1047543"/>
                <a:gd name="connsiteX762" fmla="*/ 276112 w 915649"/>
                <a:gd name="connsiteY762" fmla="*/ 31677 h 1047543"/>
                <a:gd name="connsiteX763" fmla="*/ 269085 w 915649"/>
                <a:gd name="connsiteY763" fmla="*/ 25803 h 1047543"/>
                <a:gd name="connsiteX764" fmla="*/ 261828 w 915649"/>
                <a:gd name="connsiteY764" fmla="*/ 20850 h 1047543"/>
                <a:gd name="connsiteX765" fmla="*/ 254110 w 915649"/>
                <a:gd name="connsiteY765" fmla="*/ 17163 h 1047543"/>
                <a:gd name="connsiteX766" fmla="*/ 252267 w 915649"/>
                <a:gd name="connsiteY766" fmla="*/ 16703 h 1047543"/>
                <a:gd name="connsiteX767" fmla="*/ 250309 w 915649"/>
                <a:gd name="connsiteY767" fmla="*/ 16472 h 1047543"/>
                <a:gd name="connsiteX768" fmla="*/ 248236 w 915649"/>
                <a:gd name="connsiteY768" fmla="*/ 16587 h 1047543"/>
                <a:gd name="connsiteX769" fmla="*/ 246277 w 915649"/>
                <a:gd name="connsiteY769" fmla="*/ 17048 h 1047543"/>
                <a:gd name="connsiteX770" fmla="*/ 242131 w 915649"/>
                <a:gd name="connsiteY770" fmla="*/ 19813 h 1047543"/>
                <a:gd name="connsiteX771" fmla="*/ 240057 w 915649"/>
                <a:gd name="connsiteY771" fmla="*/ 23499 h 1047543"/>
                <a:gd name="connsiteX772" fmla="*/ 239251 w 915649"/>
                <a:gd name="connsiteY772" fmla="*/ 27646 h 1047543"/>
                <a:gd name="connsiteX773" fmla="*/ 239020 w 915649"/>
                <a:gd name="connsiteY773" fmla="*/ 31793 h 1047543"/>
                <a:gd name="connsiteX774" fmla="*/ 239942 w 915649"/>
                <a:gd name="connsiteY774" fmla="*/ 41699 h 1047543"/>
                <a:gd name="connsiteX775" fmla="*/ 241555 w 915649"/>
                <a:gd name="connsiteY775" fmla="*/ 52181 h 1047543"/>
                <a:gd name="connsiteX776" fmla="*/ 243052 w 915649"/>
                <a:gd name="connsiteY776" fmla="*/ 62088 h 1047543"/>
                <a:gd name="connsiteX777" fmla="*/ 243743 w 915649"/>
                <a:gd name="connsiteY777" fmla="*/ 70151 h 1047543"/>
                <a:gd name="connsiteX778" fmla="*/ 243743 w 915649"/>
                <a:gd name="connsiteY778" fmla="*/ 73031 h 1047543"/>
                <a:gd name="connsiteX779" fmla="*/ 234758 w 915649"/>
                <a:gd name="connsiteY779" fmla="*/ 68078 h 1047543"/>
                <a:gd name="connsiteX780" fmla="*/ 222203 w 915649"/>
                <a:gd name="connsiteY780" fmla="*/ 59784 h 1047543"/>
                <a:gd name="connsiteX781" fmla="*/ 208149 w 915649"/>
                <a:gd name="connsiteY781" fmla="*/ 51029 h 1047543"/>
                <a:gd name="connsiteX782" fmla="*/ 194787 w 915649"/>
                <a:gd name="connsiteY782" fmla="*/ 44809 h 1047543"/>
                <a:gd name="connsiteX783" fmla="*/ 192138 w 915649"/>
                <a:gd name="connsiteY783" fmla="*/ 44233 h 1047543"/>
                <a:gd name="connsiteX784" fmla="*/ 189258 w 915649"/>
                <a:gd name="connsiteY784" fmla="*/ 44003 h 1047543"/>
                <a:gd name="connsiteX785" fmla="*/ 186263 w 915649"/>
                <a:gd name="connsiteY785" fmla="*/ 44348 h 1047543"/>
                <a:gd name="connsiteX786" fmla="*/ 183383 w 915649"/>
                <a:gd name="connsiteY786" fmla="*/ 45500 h 1047543"/>
                <a:gd name="connsiteX787" fmla="*/ 180849 w 915649"/>
                <a:gd name="connsiteY787" fmla="*/ 47804 h 1047543"/>
                <a:gd name="connsiteX788" fmla="*/ 179352 w 915649"/>
                <a:gd name="connsiteY788" fmla="*/ 50569 h 1047543"/>
                <a:gd name="connsiteX789" fmla="*/ 178661 w 915649"/>
                <a:gd name="connsiteY789" fmla="*/ 53564 h 1047543"/>
                <a:gd name="connsiteX790" fmla="*/ 178430 w 915649"/>
                <a:gd name="connsiteY790" fmla="*/ 56443 h 1047543"/>
                <a:gd name="connsiteX791" fmla="*/ 180388 w 915649"/>
                <a:gd name="connsiteY791" fmla="*/ 69460 h 1047543"/>
                <a:gd name="connsiteX792" fmla="*/ 184420 w 915649"/>
                <a:gd name="connsiteY792" fmla="*/ 83744 h 1047543"/>
                <a:gd name="connsiteX793" fmla="*/ 188337 w 915649"/>
                <a:gd name="connsiteY793" fmla="*/ 96875 h 1047543"/>
                <a:gd name="connsiteX794" fmla="*/ 190180 w 915649"/>
                <a:gd name="connsiteY794" fmla="*/ 106206 h 1047543"/>
                <a:gd name="connsiteX795" fmla="*/ 189489 w 915649"/>
                <a:gd name="connsiteY795" fmla="*/ 106206 h 1047543"/>
                <a:gd name="connsiteX796" fmla="*/ 189373 w 915649"/>
                <a:gd name="connsiteY796" fmla="*/ 105975 h 1047543"/>
                <a:gd name="connsiteX797" fmla="*/ 189258 w 915649"/>
                <a:gd name="connsiteY797" fmla="*/ 105975 h 1047543"/>
                <a:gd name="connsiteX798" fmla="*/ 189143 w 915649"/>
                <a:gd name="connsiteY798" fmla="*/ 105975 h 1047543"/>
                <a:gd name="connsiteX799" fmla="*/ 188913 w 915649"/>
                <a:gd name="connsiteY799" fmla="*/ 105975 h 1047543"/>
                <a:gd name="connsiteX800" fmla="*/ 179697 w 915649"/>
                <a:gd name="connsiteY800" fmla="*/ 102404 h 1047543"/>
                <a:gd name="connsiteX801" fmla="*/ 167717 w 915649"/>
                <a:gd name="connsiteY801" fmla="*/ 96760 h 1047543"/>
                <a:gd name="connsiteX802" fmla="*/ 154701 w 915649"/>
                <a:gd name="connsiteY802" fmla="*/ 90770 h 1047543"/>
                <a:gd name="connsiteX803" fmla="*/ 142376 w 915649"/>
                <a:gd name="connsiteY803" fmla="*/ 86278 h 1047543"/>
                <a:gd name="connsiteX804" fmla="*/ 138459 w 915649"/>
                <a:gd name="connsiteY804" fmla="*/ 85471 h 1047543"/>
                <a:gd name="connsiteX805" fmla="*/ 134312 w 915649"/>
                <a:gd name="connsiteY805" fmla="*/ 85126 h 1047543"/>
                <a:gd name="connsiteX806" fmla="*/ 130165 w 915649"/>
                <a:gd name="connsiteY806" fmla="*/ 85817 h 1047543"/>
                <a:gd name="connsiteX807" fmla="*/ 126249 w 915649"/>
                <a:gd name="connsiteY807" fmla="*/ 88121 h 1047543"/>
                <a:gd name="connsiteX808" fmla="*/ 124521 w 915649"/>
                <a:gd name="connsiteY808" fmla="*/ 90079 h 1047543"/>
                <a:gd name="connsiteX809" fmla="*/ 123484 w 915649"/>
                <a:gd name="connsiteY809" fmla="*/ 92268 h 1047543"/>
                <a:gd name="connsiteX810" fmla="*/ 123024 w 915649"/>
                <a:gd name="connsiteY810" fmla="*/ 94572 h 1047543"/>
                <a:gd name="connsiteX811" fmla="*/ 122908 w 915649"/>
                <a:gd name="connsiteY811" fmla="*/ 96875 h 1047543"/>
                <a:gd name="connsiteX812" fmla="*/ 124060 w 915649"/>
                <a:gd name="connsiteY812" fmla="*/ 104823 h 1047543"/>
                <a:gd name="connsiteX813" fmla="*/ 126710 w 915649"/>
                <a:gd name="connsiteY813" fmla="*/ 112887 h 1047543"/>
                <a:gd name="connsiteX814" fmla="*/ 130281 w 915649"/>
                <a:gd name="connsiteY814" fmla="*/ 121065 h 1047543"/>
                <a:gd name="connsiteX815" fmla="*/ 134197 w 915649"/>
                <a:gd name="connsiteY815" fmla="*/ 129359 h 1047543"/>
                <a:gd name="connsiteX816" fmla="*/ 137307 w 915649"/>
                <a:gd name="connsiteY816" fmla="*/ 136040 h 1047543"/>
                <a:gd name="connsiteX817" fmla="*/ 140072 w 915649"/>
                <a:gd name="connsiteY817" fmla="*/ 142376 h 1047543"/>
                <a:gd name="connsiteX818" fmla="*/ 142145 w 915649"/>
                <a:gd name="connsiteY818" fmla="*/ 147790 h 1047543"/>
                <a:gd name="connsiteX819" fmla="*/ 143297 w 915649"/>
                <a:gd name="connsiteY819" fmla="*/ 151706 h 1047543"/>
                <a:gd name="connsiteX820" fmla="*/ 141800 w 915649"/>
                <a:gd name="connsiteY820" fmla="*/ 151591 h 1047543"/>
                <a:gd name="connsiteX821" fmla="*/ 139841 w 915649"/>
                <a:gd name="connsiteY821" fmla="*/ 151360 h 1047543"/>
                <a:gd name="connsiteX822" fmla="*/ 137538 w 915649"/>
                <a:gd name="connsiteY822" fmla="*/ 150900 h 1047543"/>
                <a:gd name="connsiteX823" fmla="*/ 135003 w 915649"/>
                <a:gd name="connsiteY823" fmla="*/ 150324 h 1047543"/>
                <a:gd name="connsiteX824" fmla="*/ 127862 w 915649"/>
                <a:gd name="connsiteY824" fmla="*/ 148365 h 1047543"/>
                <a:gd name="connsiteX825" fmla="*/ 120029 w 915649"/>
                <a:gd name="connsiteY825" fmla="*/ 145947 h 1047543"/>
                <a:gd name="connsiteX826" fmla="*/ 111850 w 915649"/>
                <a:gd name="connsiteY826" fmla="*/ 143528 h 1047543"/>
                <a:gd name="connsiteX827" fmla="*/ 103787 w 915649"/>
                <a:gd name="connsiteY827" fmla="*/ 141339 h 1047543"/>
                <a:gd name="connsiteX828" fmla="*/ 96875 w 915649"/>
                <a:gd name="connsiteY828" fmla="*/ 139957 h 1047543"/>
                <a:gd name="connsiteX829" fmla="*/ 89964 w 915649"/>
                <a:gd name="connsiteY829" fmla="*/ 139035 h 1047543"/>
                <a:gd name="connsiteX830" fmla="*/ 83283 w 915649"/>
                <a:gd name="connsiteY830" fmla="*/ 140072 h 1047543"/>
                <a:gd name="connsiteX831" fmla="*/ 76947 w 915649"/>
                <a:gd name="connsiteY831" fmla="*/ 144334 h 1047543"/>
                <a:gd name="connsiteX832" fmla="*/ 76026 w 915649"/>
                <a:gd name="connsiteY832" fmla="*/ 145831 h 1047543"/>
                <a:gd name="connsiteX833" fmla="*/ 75335 w 915649"/>
                <a:gd name="connsiteY833" fmla="*/ 147444 h 1047543"/>
                <a:gd name="connsiteX834" fmla="*/ 74874 w 915649"/>
                <a:gd name="connsiteY834" fmla="*/ 149172 h 1047543"/>
                <a:gd name="connsiteX835" fmla="*/ 74759 w 915649"/>
                <a:gd name="connsiteY835" fmla="*/ 151015 h 1047543"/>
                <a:gd name="connsiteX836" fmla="*/ 76717 w 915649"/>
                <a:gd name="connsiteY836" fmla="*/ 160460 h 1047543"/>
                <a:gd name="connsiteX837" fmla="*/ 80749 w 915649"/>
                <a:gd name="connsiteY837" fmla="*/ 169330 h 1047543"/>
                <a:gd name="connsiteX838" fmla="*/ 86047 w 915649"/>
                <a:gd name="connsiteY838" fmla="*/ 177969 h 1047543"/>
                <a:gd name="connsiteX839" fmla="*/ 91692 w 915649"/>
                <a:gd name="connsiteY839" fmla="*/ 186954 h 1047543"/>
                <a:gd name="connsiteX840" fmla="*/ 96069 w 915649"/>
                <a:gd name="connsiteY840" fmla="*/ 193635 h 1047543"/>
                <a:gd name="connsiteX841" fmla="*/ 99755 w 915649"/>
                <a:gd name="connsiteY841" fmla="*/ 199971 h 1047543"/>
                <a:gd name="connsiteX842" fmla="*/ 102635 w 915649"/>
                <a:gd name="connsiteY842" fmla="*/ 205385 h 1047543"/>
                <a:gd name="connsiteX843" fmla="*/ 104478 w 915649"/>
                <a:gd name="connsiteY843" fmla="*/ 209186 h 1047543"/>
                <a:gd name="connsiteX844" fmla="*/ 99985 w 915649"/>
                <a:gd name="connsiteY844" fmla="*/ 209186 h 1047543"/>
                <a:gd name="connsiteX845" fmla="*/ 93420 w 915649"/>
                <a:gd name="connsiteY845" fmla="*/ 208841 h 1047543"/>
                <a:gd name="connsiteX846" fmla="*/ 85587 w 915649"/>
                <a:gd name="connsiteY846" fmla="*/ 208149 h 1047543"/>
                <a:gd name="connsiteX847" fmla="*/ 77178 w 915649"/>
                <a:gd name="connsiteY847" fmla="*/ 206997 h 1047543"/>
                <a:gd name="connsiteX848" fmla="*/ 71764 w 915649"/>
                <a:gd name="connsiteY848" fmla="*/ 206422 h 1047543"/>
                <a:gd name="connsiteX849" fmla="*/ 66350 w 915649"/>
                <a:gd name="connsiteY849" fmla="*/ 205961 h 1047543"/>
                <a:gd name="connsiteX850" fmla="*/ 61051 w 915649"/>
                <a:gd name="connsiteY850" fmla="*/ 205615 h 1047543"/>
                <a:gd name="connsiteX851" fmla="*/ 55983 w 915649"/>
                <a:gd name="connsiteY851" fmla="*/ 205615 h 1047543"/>
                <a:gd name="connsiteX852" fmla="*/ 51145 w 915649"/>
                <a:gd name="connsiteY852" fmla="*/ 205961 h 1047543"/>
                <a:gd name="connsiteX853" fmla="*/ 46191 w 915649"/>
                <a:gd name="connsiteY853" fmla="*/ 206997 h 1047543"/>
                <a:gd name="connsiteX854" fmla="*/ 41699 w 915649"/>
                <a:gd name="connsiteY854" fmla="*/ 209532 h 1047543"/>
                <a:gd name="connsiteX855" fmla="*/ 37898 w 915649"/>
                <a:gd name="connsiteY855" fmla="*/ 214255 h 1047543"/>
                <a:gd name="connsiteX856" fmla="*/ 36861 w 915649"/>
                <a:gd name="connsiteY856" fmla="*/ 219208 h 1047543"/>
                <a:gd name="connsiteX857" fmla="*/ 39626 w 915649"/>
                <a:gd name="connsiteY857" fmla="*/ 229920 h 1047543"/>
                <a:gd name="connsiteX858" fmla="*/ 45270 w 915649"/>
                <a:gd name="connsiteY858" fmla="*/ 239251 h 1047543"/>
                <a:gd name="connsiteX859" fmla="*/ 52412 w 915649"/>
                <a:gd name="connsiteY859" fmla="*/ 248005 h 1047543"/>
                <a:gd name="connsiteX860" fmla="*/ 59899 w 915649"/>
                <a:gd name="connsiteY860" fmla="*/ 256990 h 1047543"/>
                <a:gd name="connsiteX861" fmla="*/ 63700 w 915649"/>
                <a:gd name="connsiteY861" fmla="*/ 261252 h 1047543"/>
                <a:gd name="connsiteX862" fmla="*/ 67271 w 915649"/>
                <a:gd name="connsiteY862" fmla="*/ 265399 h 1047543"/>
                <a:gd name="connsiteX863" fmla="*/ 70497 w 915649"/>
                <a:gd name="connsiteY863" fmla="*/ 269316 h 1047543"/>
                <a:gd name="connsiteX864" fmla="*/ 73261 w 915649"/>
                <a:gd name="connsiteY864" fmla="*/ 272886 h 1047543"/>
                <a:gd name="connsiteX865" fmla="*/ 76256 w 915649"/>
                <a:gd name="connsiteY865" fmla="*/ 277725 h 1047543"/>
                <a:gd name="connsiteX866" fmla="*/ 71994 w 915649"/>
                <a:gd name="connsiteY866" fmla="*/ 278761 h 1047543"/>
                <a:gd name="connsiteX867" fmla="*/ 65543 w 915649"/>
                <a:gd name="connsiteY867" fmla="*/ 279798 h 1047543"/>
                <a:gd name="connsiteX868" fmla="*/ 57710 w 915649"/>
                <a:gd name="connsiteY868" fmla="*/ 280604 h 1047543"/>
                <a:gd name="connsiteX869" fmla="*/ 49186 w 915649"/>
                <a:gd name="connsiteY869" fmla="*/ 281065 h 1047543"/>
                <a:gd name="connsiteX870" fmla="*/ 43657 w 915649"/>
                <a:gd name="connsiteY870" fmla="*/ 281411 h 1047543"/>
                <a:gd name="connsiteX871" fmla="*/ 38243 w 915649"/>
                <a:gd name="connsiteY871" fmla="*/ 281871 h 1047543"/>
                <a:gd name="connsiteX872" fmla="*/ 32945 w 915649"/>
                <a:gd name="connsiteY872" fmla="*/ 282563 h 1047543"/>
                <a:gd name="connsiteX873" fmla="*/ 27991 w 915649"/>
                <a:gd name="connsiteY873" fmla="*/ 283484 h 1047543"/>
                <a:gd name="connsiteX874" fmla="*/ 23269 w 915649"/>
                <a:gd name="connsiteY874" fmla="*/ 284866 h 1047543"/>
                <a:gd name="connsiteX875" fmla="*/ 18546 w 915649"/>
                <a:gd name="connsiteY875" fmla="*/ 286940 h 1047543"/>
                <a:gd name="connsiteX876" fmla="*/ 14514 w 915649"/>
                <a:gd name="connsiteY876" fmla="*/ 290511 h 1047543"/>
                <a:gd name="connsiteX877" fmla="*/ 11519 w 915649"/>
                <a:gd name="connsiteY877" fmla="*/ 296155 h 1047543"/>
                <a:gd name="connsiteX878" fmla="*/ 11289 w 915649"/>
                <a:gd name="connsiteY878" fmla="*/ 298689 h 1047543"/>
                <a:gd name="connsiteX879" fmla="*/ 12441 w 915649"/>
                <a:gd name="connsiteY879" fmla="*/ 305370 h 1047543"/>
                <a:gd name="connsiteX880" fmla="*/ 14975 w 915649"/>
                <a:gd name="connsiteY880" fmla="*/ 310899 h 1047543"/>
                <a:gd name="connsiteX881" fmla="*/ 18546 w 915649"/>
                <a:gd name="connsiteY881" fmla="*/ 315622 h 1047543"/>
                <a:gd name="connsiteX882" fmla="*/ 22462 w 915649"/>
                <a:gd name="connsiteY882" fmla="*/ 320115 h 1047543"/>
                <a:gd name="connsiteX883" fmla="*/ 28913 w 915649"/>
                <a:gd name="connsiteY883" fmla="*/ 326450 h 1047543"/>
                <a:gd name="connsiteX884" fmla="*/ 35939 w 915649"/>
                <a:gd name="connsiteY884" fmla="*/ 332786 h 1047543"/>
                <a:gd name="connsiteX885" fmla="*/ 42966 w 915649"/>
                <a:gd name="connsiteY885" fmla="*/ 339006 h 1047543"/>
                <a:gd name="connsiteX886" fmla="*/ 49647 w 915649"/>
                <a:gd name="connsiteY886" fmla="*/ 344996 h 1047543"/>
                <a:gd name="connsiteX887" fmla="*/ 52642 w 915649"/>
                <a:gd name="connsiteY887" fmla="*/ 347760 h 1047543"/>
                <a:gd name="connsiteX888" fmla="*/ 55407 w 915649"/>
                <a:gd name="connsiteY888" fmla="*/ 350295 h 1047543"/>
                <a:gd name="connsiteX889" fmla="*/ 57710 w 915649"/>
                <a:gd name="connsiteY889" fmla="*/ 352598 h 1047543"/>
                <a:gd name="connsiteX890" fmla="*/ 59554 w 915649"/>
                <a:gd name="connsiteY890" fmla="*/ 354672 h 1047543"/>
                <a:gd name="connsiteX891" fmla="*/ 60475 w 915649"/>
                <a:gd name="connsiteY891" fmla="*/ 355939 h 1047543"/>
                <a:gd name="connsiteX892" fmla="*/ 59323 w 915649"/>
                <a:gd name="connsiteY892" fmla="*/ 356515 h 1047543"/>
                <a:gd name="connsiteX893" fmla="*/ 57826 w 915649"/>
                <a:gd name="connsiteY893" fmla="*/ 357206 h 1047543"/>
                <a:gd name="connsiteX894" fmla="*/ 55983 w 915649"/>
                <a:gd name="connsiteY894" fmla="*/ 358012 h 1047543"/>
                <a:gd name="connsiteX895" fmla="*/ 53794 w 915649"/>
                <a:gd name="connsiteY895" fmla="*/ 358704 h 1047543"/>
                <a:gd name="connsiteX896" fmla="*/ 47113 w 915649"/>
                <a:gd name="connsiteY896" fmla="*/ 360777 h 1047543"/>
                <a:gd name="connsiteX897" fmla="*/ 39510 w 915649"/>
                <a:gd name="connsiteY897" fmla="*/ 362850 h 1047543"/>
                <a:gd name="connsiteX898" fmla="*/ 31562 w 915649"/>
                <a:gd name="connsiteY898" fmla="*/ 364924 h 1047543"/>
                <a:gd name="connsiteX899" fmla="*/ 23614 w 915649"/>
                <a:gd name="connsiteY899" fmla="*/ 367228 h 1047543"/>
                <a:gd name="connsiteX900" fmla="*/ 16242 w 915649"/>
                <a:gd name="connsiteY900" fmla="*/ 369877 h 1047543"/>
                <a:gd name="connsiteX901" fmla="*/ 9215 w 915649"/>
                <a:gd name="connsiteY901" fmla="*/ 373217 h 1047543"/>
                <a:gd name="connsiteX902" fmla="*/ 3456 w 915649"/>
                <a:gd name="connsiteY902" fmla="*/ 378516 h 1047543"/>
                <a:gd name="connsiteX903" fmla="*/ 0 w 915649"/>
                <a:gd name="connsiteY903" fmla="*/ 387501 h 1047543"/>
                <a:gd name="connsiteX904" fmla="*/ 1497 w 915649"/>
                <a:gd name="connsiteY904" fmla="*/ 395104 h 1047543"/>
                <a:gd name="connsiteX905" fmla="*/ 4723 w 915649"/>
                <a:gd name="connsiteY905" fmla="*/ 401094 h 1047543"/>
                <a:gd name="connsiteX906" fmla="*/ 9100 w 915649"/>
                <a:gd name="connsiteY906" fmla="*/ 405816 h 1047543"/>
                <a:gd name="connsiteX907" fmla="*/ 13708 w 915649"/>
                <a:gd name="connsiteY907" fmla="*/ 409963 h 1047543"/>
                <a:gd name="connsiteX908" fmla="*/ 21425 w 915649"/>
                <a:gd name="connsiteY908" fmla="*/ 415608 h 1047543"/>
                <a:gd name="connsiteX909" fmla="*/ 29604 w 915649"/>
                <a:gd name="connsiteY909" fmla="*/ 421137 h 1047543"/>
                <a:gd name="connsiteX910" fmla="*/ 37898 w 915649"/>
                <a:gd name="connsiteY910" fmla="*/ 426436 h 1047543"/>
                <a:gd name="connsiteX911" fmla="*/ 45846 w 915649"/>
                <a:gd name="connsiteY911" fmla="*/ 431504 h 1047543"/>
                <a:gd name="connsiteX912" fmla="*/ 49302 w 915649"/>
                <a:gd name="connsiteY912" fmla="*/ 433923 h 1047543"/>
                <a:gd name="connsiteX913" fmla="*/ 52527 w 915649"/>
                <a:gd name="connsiteY913" fmla="*/ 436112 h 1047543"/>
                <a:gd name="connsiteX914" fmla="*/ 55176 w 915649"/>
                <a:gd name="connsiteY914" fmla="*/ 438185 h 1047543"/>
                <a:gd name="connsiteX915" fmla="*/ 57250 w 915649"/>
                <a:gd name="connsiteY915" fmla="*/ 440028 h 1047543"/>
                <a:gd name="connsiteX916" fmla="*/ 58171 w 915649"/>
                <a:gd name="connsiteY916" fmla="*/ 440950 h 1047543"/>
                <a:gd name="connsiteX917" fmla="*/ 54485 w 915649"/>
                <a:gd name="connsiteY917" fmla="*/ 443599 h 1047543"/>
                <a:gd name="connsiteX918" fmla="*/ 48841 w 915649"/>
                <a:gd name="connsiteY918" fmla="*/ 447170 h 1047543"/>
                <a:gd name="connsiteX919" fmla="*/ 41929 w 915649"/>
                <a:gd name="connsiteY919" fmla="*/ 451086 h 1047543"/>
                <a:gd name="connsiteX920" fmla="*/ 34442 w 915649"/>
                <a:gd name="connsiteY920" fmla="*/ 454888 h 1047543"/>
                <a:gd name="connsiteX921" fmla="*/ 24996 w 915649"/>
                <a:gd name="connsiteY921" fmla="*/ 460071 h 1047543"/>
                <a:gd name="connsiteX922" fmla="*/ 16011 w 915649"/>
                <a:gd name="connsiteY922" fmla="*/ 465255 h 1047543"/>
                <a:gd name="connsiteX923" fmla="*/ 8524 w 915649"/>
                <a:gd name="connsiteY923" fmla="*/ 472397 h 1047543"/>
                <a:gd name="connsiteX924" fmla="*/ 4032 w 915649"/>
                <a:gd name="connsiteY924" fmla="*/ 483455 h 1047543"/>
                <a:gd name="connsiteX925" fmla="*/ 4032 w 915649"/>
                <a:gd name="connsiteY925" fmla="*/ 486220 h 1047543"/>
                <a:gd name="connsiteX926" fmla="*/ 6911 w 915649"/>
                <a:gd name="connsiteY926" fmla="*/ 493822 h 1047543"/>
                <a:gd name="connsiteX927" fmla="*/ 11173 w 915649"/>
                <a:gd name="connsiteY927" fmla="*/ 499351 h 1047543"/>
                <a:gd name="connsiteX928" fmla="*/ 16242 w 915649"/>
                <a:gd name="connsiteY928" fmla="*/ 503383 h 1047543"/>
                <a:gd name="connsiteX929" fmla="*/ 21541 w 915649"/>
                <a:gd name="connsiteY929" fmla="*/ 506839 h 1047543"/>
                <a:gd name="connsiteX930" fmla="*/ 29950 w 915649"/>
                <a:gd name="connsiteY930" fmla="*/ 511216 h 1047543"/>
                <a:gd name="connsiteX931" fmla="*/ 38934 w 915649"/>
                <a:gd name="connsiteY931" fmla="*/ 515247 h 1047543"/>
                <a:gd name="connsiteX932" fmla="*/ 47919 w 915649"/>
                <a:gd name="connsiteY932" fmla="*/ 519049 h 1047543"/>
                <a:gd name="connsiteX933" fmla="*/ 56443 w 915649"/>
                <a:gd name="connsiteY933" fmla="*/ 522735 h 1047543"/>
                <a:gd name="connsiteX934" fmla="*/ 60360 w 915649"/>
                <a:gd name="connsiteY934" fmla="*/ 524578 h 1047543"/>
                <a:gd name="connsiteX935" fmla="*/ 63931 w 915649"/>
                <a:gd name="connsiteY935" fmla="*/ 526306 h 1047543"/>
                <a:gd name="connsiteX936" fmla="*/ 66926 w 915649"/>
                <a:gd name="connsiteY936" fmla="*/ 527918 h 1047543"/>
                <a:gd name="connsiteX937" fmla="*/ 69345 w 915649"/>
                <a:gd name="connsiteY937" fmla="*/ 529416 h 1047543"/>
                <a:gd name="connsiteX938" fmla="*/ 70381 w 915649"/>
                <a:gd name="connsiteY938" fmla="*/ 529992 h 1047543"/>
                <a:gd name="connsiteX939" fmla="*/ 67156 w 915649"/>
                <a:gd name="connsiteY939" fmla="*/ 533678 h 1047543"/>
                <a:gd name="connsiteX940" fmla="*/ 62203 w 915649"/>
                <a:gd name="connsiteY940" fmla="*/ 538516 h 1047543"/>
                <a:gd name="connsiteX941" fmla="*/ 56213 w 915649"/>
                <a:gd name="connsiteY941" fmla="*/ 543815 h 1047543"/>
                <a:gd name="connsiteX942" fmla="*/ 49532 w 915649"/>
                <a:gd name="connsiteY942" fmla="*/ 549229 h 1047543"/>
                <a:gd name="connsiteX943" fmla="*/ 41584 w 915649"/>
                <a:gd name="connsiteY943" fmla="*/ 556255 h 1047543"/>
                <a:gd name="connsiteX944" fmla="*/ 34096 w 915649"/>
                <a:gd name="connsiteY944" fmla="*/ 563167 h 1047543"/>
                <a:gd name="connsiteX945" fmla="*/ 27991 w 915649"/>
                <a:gd name="connsiteY945" fmla="*/ 571230 h 1047543"/>
                <a:gd name="connsiteX946" fmla="*/ 24536 w 915649"/>
                <a:gd name="connsiteY946" fmla="*/ 582058 h 1047543"/>
                <a:gd name="connsiteX947" fmla="*/ 25342 w 915649"/>
                <a:gd name="connsiteY947" fmla="*/ 587933 h 1047543"/>
                <a:gd name="connsiteX948" fmla="*/ 29374 w 915649"/>
                <a:gd name="connsiteY948" fmla="*/ 595305 h 1047543"/>
                <a:gd name="connsiteX949" fmla="*/ 34442 w 915649"/>
                <a:gd name="connsiteY949" fmla="*/ 600143 h 1047543"/>
                <a:gd name="connsiteX950" fmla="*/ 40086 w 915649"/>
                <a:gd name="connsiteY950" fmla="*/ 603368 h 1047543"/>
                <a:gd name="connsiteX951" fmla="*/ 45731 w 915649"/>
                <a:gd name="connsiteY951" fmla="*/ 605787 h 1047543"/>
                <a:gd name="connsiteX952" fmla="*/ 54716 w 915649"/>
                <a:gd name="connsiteY952" fmla="*/ 608552 h 1047543"/>
                <a:gd name="connsiteX953" fmla="*/ 64161 w 915649"/>
                <a:gd name="connsiteY953" fmla="*/ 610856 h 1047543"/>
                <a:gd name="connsiteX954" fmla="*/ 73607 w 915649"/>
                <a:gd name="connsiteY954" fmla="*/ 613044 h 1047543"/>
                <a:gd name="connsiteX955" fmla="*/ 82592 w 915649"/>
                <a:gd name="connsiteY955" fmla="*/ 615233 h 1047543"/>
                <a:gd name="connsiteX956" fmla="*/ 86623 w 915649"/>
                <a:gd name="connsiteY956" fmla="*/ 616154 h 1047543"/>
                <a:gd name="connsiteX957" fmla="*/ 90309 w 915649"/>
                <a:gd name="connsiteY957" fmla="*/ 617191 h 1047543"/>
                <a:gd name="connsiteX958" fmla="*/ 93535 w 915649"/>
                <a:gd name="connsiteY958" fmla="*/ 618228 h 1047543"/>
                <a:gd name="connsiteX959" fmla="*/ 96069 w 915649"/>
                <a:gd name="connsiteY959" fmla="*/ 619265 h 1047543"/>
                <a:gd name="connsiteX960" fmla="*/ 96990 w 915649"/>
                <a:gd name="connsiteY960" fmla="*/ 619841 h 1047543"/>
                <a:gd name="connsiteX961" fmla="*/ 94802 w 915649"/>
                <a:gd name="connsiteY961" fmla="*/ 623642 h 1047543"/>
                <a:gd name="connsiteX962" fmla="*/ 91346 w 915649"/>
                <a:gd name="connsiteY962" fmla="*/ 628941 h 1047543"/>
                <a:gd name="connsiteX963" fmla="*/ 86969 w 915649"/>
                <a:gd name="connsiteY963" fmla="*/ 635046 h 1047543"/>
                <a:gd name="connsiteX964" fmla="*/ 81901 w 915649"/>
                <a:gd name="connsiteY964" fmla="*/ 641266 h 1047543"/>
                <a:gd name="connsiteX965" fmla="*/ 75219 w 915649"/>
                <a:gd name="connsiteY965" fmla="*/ 650021 h 1047543"/>
                <a:gd name="connsiteX966" fmla="*/ 68884 w 915649"/>
                <a:gd name="connsiteY966" fmla="*/ 658660 h 1047543"/>
                <a:gd name="connsiteX967" fmla="*/ 63816 w 915649"/>
                <a:gd name="connsiteY967" fmla="*/ 667990 h 1047543"/>
                <a:gd name="connsiteX968" fmla="*/ 61051 w 915649"/>
                <a:gd name="connsiteY968" fmla="*/ 678818 h 1047543"/>
                <a:gd name="connsiteX969" fmla="*/ 61051 w 915649"/>
                <a:gd name="connsiteY969" fmla="*/ 681007 h 1047543"/>
                <a:gd name="connsiteX970" fmla="*/ 61397 w 915649"/>
                <a:gd name="connsiteY970" fmla="*/ 683426 h 1047543"/>
                <a:gd name="connsiteX971" fmla="*/ 62088 w 915649"/>
                <a:gd name="connsiteY971" fmla="*/ 685845 h 1047543"/>
                <a:gd name="connsiteX972" fmla="*/ 63009 w 915649"/>
                <a:gd name="connsiteY972" fmla="*/ 688379 h 1047543"/>
                <a:gd name="connsiteX973" fmla="*/ 69690 w 915649"/>
                <a:gd name="connsiteY973" fmla="*/ 696442 h 1047543"/>
                <a:gd name="connsiteX974" fmla="*/ 77062 w 915649"/>
                <a:gd name="connsiteY974" fmla="*/ 700474 h 1047543"/>
                <a:gd name="connsiteX975" fmla="*/ 84895 w 915649"/>
                <a:gd name="connsiteY975" fmla="*/ 702202 h 1047543"/>
                <a:gd name="connsiteX976" fmla="*/ 92728 w 915649"/>
                <a:gd name="connsiteY976" fmla="*/ 703239 h 1047543"/>
                <a:gd name="connsiteX977" fmla="*/ 101944 w 915649"/>
                <a:gd name="connsiteY977" fmla="*/ 703699 h 1047543"/>
                <a:gd name="connsiteX978" fmla="*/ 111274 w 915649"/>
                <a:gd name="connsiteY978" fmla="*/ 703930 h 1047543"/>
                <a:gd name="connsiteX979" fmla="*/ 120259 w 915649"/>
                <a:gd name="connsiteY979" fmla="*/ 704160 h 1047543"/>
                <a:gd name="connsiteX980" fmla="*/ 128322 w 915649"/>
                <a:gd name="connsiteY980" fmla="*/ 704621 h 1047543"/>
                <a:gd name="connsiteX981" fmla="*/ 131202 w 915649"/>
                <a:gd name="connsiteY981" fmla="*/ 704851 h 1047543"/>
                <a:gd name="connsiteX982" fmla="*/ 133736 w 915649"/>
                <a:gd name="connsiteY982" fmla="*/ 705197 h 1047543"/>
                <a:gd name="connsiteX983" fmla="*/ 135925 w 915649"/>
                <a:gd name="connsiteY983" fmla="*/ 705542 h 1047543"/>
                <a:gd name="connsiteX984" fmla="*/ 137768 w 915649"/>
                <a:gd name="connsiteY984" fmla="*/ 706003 h 1047543"/>
                <a:gd name="connsiteX985" fmla="*/ 136386 w 915649"/>
                <a:gd name="connsiteY985" fmla="*/ 710496 h 1047543"/>
                <a:gd name="connsiteX986" fmla="*/ 133967 w 915649"/>
                <a:gd name="connsiteY986" fmla="*/ 716601 h 1047543"/>
                <a:gd name="connsiteX987" fmla="*/ 130741 w 915649"/>
                <a:gd name="connsiteY987" fmla="*/ 723627 h 1047543"/>
                <a:gd name="connsiteX988" fmla="*/ 126940 w 915649"/>
                <a:gd name="connsiteY988" fmla="*/ 731000 h 1047543"/>
                <a:gd name="connsiteX989" fmla="*/ 122332 w 915649"/>
                <a:gd name="connsiteY989" fmla="*/ 740330 h 1047543"/>
                <a:gd name="connsiteX990" fmla="*/ 117955 w 915649"/>
                <a:gd name="connsiteY990" fmla="*/ 749660 h 1047543"/>
                <a:gd name="connsiteX991" fmla="*/ 114615 w 915649"/>
                <a:gd name="connsiteY991" fmla="*/ 759221 h 1047543"/>
                <a:gd name="connsiteX992" fmla="*/ 113002 w 915649"/>
                <a:gd name="connsiteY992" fmla="*/ 769243 h 1047543"/>
                <a:gd name="connsiteX993" fmla="*/ 113002 w 915649"/>
                <a:gd name="connsiteY993" fmla="*/ 772468 h 1047543"/>
                <a:gd name="connsiteX994" fmla="*/ 113578 w 915649"/>
                <a:gd name="connsiteY994" fmla="*/ 775924 h 1047543"/>
                <a:gd name="connsiteX995" fmla="*/ 114730 w 915649"/>
                <a:gd name="connsiteY995" fmla="*/ 779264 h 1047543"/>
                <a:gd name="connsiteX996" fmla="*/ 116573 w 915649"/>
                <a:gd name="connsiteY996" fmla="*/ 782605 h 1047543"/>
                <a:gd name="connsiteX997" fmla="*/ 121065 w 915649"/>
                <a:gd name="connsiteY997" fmla="*/ 787328 h 1047543"/>
                <a:gd name="connsiteX998" fmla="*/ 125903 w 915649"/>
                <a:gd name="connsiteY998" fmla="*/ 790092 h 1047543"/>
                <a:gd name="connsiteX999" fmla="*/ 130741 w 915649"/>
                <a:gd name="connsiteY999" fmla="*/ 791475 h 1047543"/>
                <a:gd name="connsiteX1000" fmla="*/ 135349 w 915649"/>
                <a:gd name="connsiteY1000" fmla="*/ 792050 h 1047543"/>
                <a:gd name="connsiteX1001" fmla="*/ 149978 w 915649"/>
                <a:gd name="connsiteY1001" fmla="*/ 791244 h 1047543"/>
                <a:gd name="connsiteX1002" fmla="*/ 165298 w 915649"/>
                <a:gd name="connsiteY1002" fmla="*/ 788710 h 1047543"/>
                <a:gd name="connsiteX1003" fmla="*/ 179352 w 915649"/>
                <a:gd name="connsiteY1003" fmla="*/ 786176 h 1047543"/>
                <a:gd name="connsiteX1004" fmla="*/ 190064 w 915649"/>
                <a:gd name="connsiteY1004" fmla="*/ 785369 h 1047543"/>
                <a:gd name="connsiteX1005" fmla="*/ 190064 w 915649"/>
                <a:gd name="connsiteY1005" fmla="*/ 785369 h 1047543"/>
                <a:gd name="connsiteX1006" fmla="*/ 191101 w 915649"/>
                <a:gd name="connsiteY1006" fmla="*/ 785369 h 1047543"/>
                <a:gd name="connsiteX1007" fmla="*/ 189028 w 915649"/>
                <a:gd name="connsiteY1007" fmla="*/ 797349 h 1047543"/>
                <a:gd name="connsiteX1008" fmla="*/ 184420 w 915649"/>
                <a:gd name="connsiteY1008" fmla="*/ 813591 h 1047543"/>
                <a:gd name="connsiteX1009" fmla="*/ 179697 w 915649"/>
                <a:gd name="connsiteY1009" fmla="*/ 831676 h 1047543"/>
                <a:gd name="connsiteX1010" fmla="*/ 177163 w 915649"/>
                <a:gd name="connsiteY1010" fmla="*/ 849185 h 1047543"/>
                <a:gd name="connsiteX1011" fmla="*/ 177394 w 915649"/>
                <a:gd name="connsiteY1011" fmla="*/ 853562 h 1047543"/>
                <a:gd name="connsiteX1012" fmla="*/ 178200 w 915649"/>
                <a:gd name="connsiteY1012" fmla="*/ 858170 h 1047543"/>
                <a:gd name="connsiteX1013" fmla="*/ 180043 w 915649"/>
                <a:gd name="connsiteY1013" fmla="*/ 862893 h 1047543"/>
                <a:gd name="connsiteX1014" fmla="*/ 183268 w 915649"/>
                <a:gd name="connsiteY1014" fmla="*/ 867500 h 1047543"/>
                <a:gd name="connsiteX1015" fmla="*/ 186609 w 915649"/>
                <a:gd name="connsiteY1015" fmla="*/ 870380 h 1047543"/>
                <a:gd name="connsiteX1016" fmla="*/ 190064 w 915649"/>
                <a:gd name="connsiteY1016" fmla="*/ 872108 h 1047543"/>
                <a:gd name="connsiteX1017" fmla="*/ 193405 w 915649"/>
                <a:gd name="connsiteY1017" fmla="*/ 873030 h 1047543"/>
                <a:gd name="connsiteX1018" fmla="*/ 196515 w 915649"/>
                <a:gd name="connsiteY1018" fmla="*/ 873375 h 1047543"/>
                <a:gd name="connsiteX1019" fmla="*/ 212642 w 915649"/>
                <a:gd name="connsiteY1019" fmla="*/ 870495 h 1047543"/>
                <a:gd name="connsiteX1020" fmla="*/ 229344 w 915649"/>
                <a:gd name="connsiteY1020" fmla="*/ 864275 h 1047543"/>
                <a:gd name="connsiteX1021" fmla="*/ 244204 w 915649"/>
                <a:gd name="connsiteY1021" fmla="*/ 858055 h 1047543"/>
                <a:gd name="connsiteX1022" fmla="*/ 254686 w 915649"/>
                <a:gd name="connsiteY1022" fmla="*/ 855060 h 1047543"/>
                <a:gd name="connsiteX1023" fmla="*/ 254917 w 915649"/>
                <a:gd name="connsiteY1023" fmla="*/ 859091 h 1047543"/>
                <a:gd name="connsiteX1024" fmla="*/ 254456 w 915649"/>
                <a:gd name="connsiteY1024" fmla="*/ 870380 h 1047543"/>
                <a:gd name="connsiteX1025" fmla="*/ 252958 w 915649"/>
                <a:gd name="connsiteY1025" fmla="*/ 884088 h 1047543"/>
                <a:gd name="connsiteX1026" fmla="*/ 251346 w 915649"/>
                <a:gd name="connsiteY1026" fmla="*/ 898717 h 1047543"/>
                <a:gd name="connsiteX1027" fmla="*/ 250655 w 915649"/>
                <a:gd name="connsiteY1027" fmla="*/ 912885 h 1047543"/>
                <a:gd name="connsiteX1028" fmla="*/ 251115 w 915649"/>
                <a:gd name="connsiteY1028" fmla="*/ 919336 h 1047543"/>
                <a:gd name="connsiteX1029" fmla="*/ 252267 w 915649"/>
                <a:gd name="connsiteY1029" fmla="*/ 925902 h 1047543"/>
                <a:gd name="connsiteX1030" fmla="*/ 254917 w 915649"/>
                <a:gd name="connsiteY1030" fmla="*/ 932468 h 1047543"/>
                <a:gd name="connsiteX1031" fmla="*/ 259985 w 915649"/>
                <a:gd name="connsiteY1031" fmla="*/ 938573 h 1047543"/>
                <a:gd name="connsiteX1032" fmla="*/ 262519 w 915649"/>
                <a:gd name="connsiteY1032" fmla="*/ 940186 h 1047543"/>
                <a:gd name="connsiteX1033" fmla="*/ 265054 w 915649"/>
                <a:gd name="connsiteY1033" fmla="*/ 941222 h 1047543"/>
                <a:gd name="connsiteX1034" fmla="*/ 267473 w 915649"/>
                <a:gd name="connsiteY1034" fmla="*/ 941798 h 1047543"/>
                <a:gd name="connsiteX1035" fmla="*/ 269892 w 915649"/>
                <a:gd name="connsiteY1035" fmla="*/ 942029 h 1047543"/>
                <a:gd name="connsiteX1036" fmla="*/ 279222 w 915649"/>
                <a:gd name="connsiteY1036" fmla="*/ 940301 h 1047543"/>
                <a:gd name="connsiteX1037" fmla="*/ 287861 w 915649"/>
                <a:gd name="connsiteY1037" fmla="*/ 936154 h 1047543"/>
                <a:gd name="connsiteX1038" fmla="*/ 296040 w 915649"/>
                <a:gd name="connsiteY1038" fmla="*/ 930740 h 1047543"/>
                <a:gd name="connsiteX1039" fmla="*/ 304333 w 915649"/>
                <a:gd name="connsiteY1039" fmla="*/ 924980 h 1047543"/>
                <a:gd name="connsiteX1040" fmla="*/ 310669 w 915649"/>
                <a:gd name="connsiteY1040" fmla="*/ 920488 h 1047543"/>
                <a:gd name="connsiteX1041" fmla="*/ 316774 w 915649"/>
                <a:gd name="connsiteY1041" fmla="*/ 916572 h 1047543"/>
                <a:gd name="connsiteX1042" fmla="*/ 321958 w 915649"/>
                <a:gd name="connsiteY1042" fmla="*/ 913577 h 1047543"/>
                <a:gd name="connsiteX1043" fmla="*/ 325874 w 915649"/>
                <a:gd name="connsiteY1043" fmla="*/ 911849 h 1047543"/>
                <a:gd name="connsiteX1044" fmla="*/ 326680 w 915649"/>
                <a:gd name="connsiteY1044" fmla="*/ 917378 h 1047543"/>
                <a:gd name="connsiteX1045" fmla="*/ 327602 w 915649"/>
                <a:gd name="connsiteY1045" fmla="*/ 925326 h 1047543"/>
                <a:gd name="connsiteX1046" fmla="*/ 328408 w 915649"/>
                <a:gd name="connsiteY1046" fmla="*/ 934887 h 1047543"/>
                <a:gd name="connsiteX1047" fmla="*/ 328869 w 915649"/>
                <a:gd name="connsiteY1047" fmla="*/ 945254 h 1047543"/>
                <a:gd name="connsiteX1048" fmla="*/ 329215 w 915649"/>
                <a:gd name="connsiteY1048" fmla="*/ 951820 h 1047543"/>
                <a:gd name="connsiteX1049" fmla="*/ 329675 w 915649"/>
                <a:gd name="connsiteY1049" fmla="*/ 958386 h 1047543"/>
                <a:gd name="connsiteX1050" fmla="*/ 330251 w 915649"/>
                <a:gd name="connsiteY1050" fmla="*/ 964721 h 1047543"/>
                <a:gd name="connsiteX1051" fmla="*/ 331288 w 915649"/>
                <a:gd name="connsiteY1051" fmla="*/ 970826 h 1047543"/>
                <a:gd name="connsiteX1052" fmla="*/ 332555 w 915649"/>
                <a:gd name="connsiteY1052" fmla="*/ 976816 h 1047543"/>
                <a:gd name="connsiteX1053" fmla="*/ 334629 w 915649"/>
                <a:gd name="connsiteY1053" fmla="*/ 982921 h 1047543"/>
                <a:gd name="connsiteX1054" fmla="*/ 338084 w 915649"/>
                <a:gd name="connsiteY1054" fmla="*/ 988681 h 1047543"/>
                <a:gd name="connsiteX1055" fmla="*/ 343844 w 915649"/>
                <a:gd name="connsiteY1055" fmla="*/ 993634 h 1047543"/>
                <a:gd name="connsiteX1056" fmla="*/ 345572 w 915649"/>
                <a:gd name="connsiteY1056" fmla="*/ 994325 h 1047543"/>
                <a:gd name="connsiteX1057" fmla="*/ 347184 w 915649"/>
                <a:gd name="connsiteY1057" fmla="*/ 994786 h 1047543"/>
                <a:gd name="connsiteX1058" fmla="*/ 348797 w 915649"/>
                <a:gd name="connsiteY1058" fmla="*/ 995131 h 1047543"/>
                <a:gd name="connsiteX1059" fmla="*/ 350295 w 915649"/>
                <a:gd name="connsiteY1059" fmla="*/ 995131 h 1047543"/>
                <a:gd name="connsiteX1060" fmla="*/ 360201 w 915649"/>
                <a:gd name="connsiteY1060" fmla="*/ 992137 h 1047543"/>
                <a:gd name="connsiteX1061" fmla="*/ 368379 w 915649"/>
                <a:gd name="connsiteY1061" fmla="*/ 986262 h 1047543"/>
                <a:gd name="connsiteX1062" fmla="*/ 375867 w 915649"/>
                <a:gd name="connsiteY1062" fmla="*/ 978659 h 1047543"/>
                <a:gd name="connsiteX1063" fmla="*/ 383354 w 915649"/>
                <a:gd name="connsiteY1063" fmla="*/ 970596 h 1047543"/>
                <a:gd name="connsiteX1064" fmla="*/ 386925 w 915649"/>
                <a:gd name="connsiteY1064" fmla="*/ 966679 h 1047543"/>
                <a:gd name="connsiteX1065" fmla="*/ 390381 w 915649"/>
                <a:gd name="connsiteY1065" fmla="*/ 962993 h 1047543"/>
                <a:gd name="connsiteX1066" fmla="*/ 393721 w 915649"/>
                <a:gd name="connsiteY1066" fmla="*/ 959653 h 1047543"/>
                <a:gd name="connsiteX1067" fmla="*/ 396716 w 915649"/>
                <a:gd name="connsiteY1067" fmla="*/ 956773 h 1047543"/>
                <a:gd name="connsiteX1068" fmla="*/ 398099 w 915649"/>
                <a:gd name="connsiteY1068" fmla="*/ 955621 h 1047543"/>
                <a:gd name="connsiteX1069" fmla="*/ 399366 w 915649"/>
                <a:gd name="connsiteY1069" fmla="*/ 954584 h 1047543"/>
                <a:gd name="connsiteX1070" fmla="*/ 400518 w 915649"/>
                <a:gd name="connsiteY1070" fmla="*/ 953663 h 1047543"/>
                <a:gd name="connsiteX1071" fmla="*/ 401439 w 915649"/>
                <a:gd name="connsiteY1071" fmla="*/ 952972 h 1047543"/>
                <a:gd name="connsiteX1072" fmla="*/ 403167 w 915649"/>
                <a:gd name="connsiteY1072" fmla="*/ 958270 h 1047543"/>
                <a:gd name="connsiteX1073" fmla="*/ 405240 w 915649"/>
                <a:gd name="connsiteY1073" fmla="*/ 966104 h 1047543"/>
                <a:gd name="connsiteX1074" fmla="*/ 407429 w 915649"/>
                <a:gd name="connsiteY1074" fmla="*/ 975434 h 1047543"/>
                <a:gd name="connsiteX1075" fmla="*/ 409272 w 915649"/>
                <a:gd name="connsiteY1075" fmla="*/ 985340 h 1047543"/>
                <a:gd name="connsiteX1076" fmla="*/ 410654 w 915649"/>
                <a:gd name="connsiteY1076" fmla="*/ 991791 h 1047543"/>
                <a:gd name="connsiteX1077" fmla="*/ 412037 w 915649"/>
                <a:gd name="connsiteY1077" fmla="*/ 998127 h 1047543"/>
                <a:gd name="connsiteX1078" fmla="*/ 413534 w 915649"/>
                <a:gd name="connsiteY1078" fmla="*/ 1004232 h 1047543"/>
                <a:gd name="connsiteX1079" fmla="*/ 415377 w 915649"/>
                <a:gd name="connsiteY1079" fmla="*/ 1010222 h 1047543"/>
                <a:gd name="connsiteX1080" fmla="*/ 417566 w 915649"/>
                <a:gd name="connsiteY1080" fmla="*/ 1015751 h 1047543"/>
                <a:gd name="connsiteX1081" fmla="*/ 420330 w 915649"/>
                <a:gd name="connsiteY1081" fmla="*/ 1021280 h 1047543"/>
                <a:gd name="connsiteX1082" fmla="*/ 424477 w 915649"/>
                <a:gd name="connsiteY1082" fmla="*/ 1026118 h 1047543"/>
                <a:gd name="connsiteX1083" fmla="*/ 430467 w 915649"/>
                <a:gd name="connsiteY1083" fmla="*/ 1029804 h 1047543"/>
                <a:gd name="connsiteX1084" fmla="*/ 434268 w 915649"/>
                <a:gd name="connsiteY1084" fmla="*/ 1030265 h 1047543"/>
                <a:gd name="connsiteX1085" fmla="*/ 444405 w 915649"/>
                <a:gd name="connsiteY1085" fmla="*/ 1026118 h 1047543"/>
                <a:gd name="connsiteX1086" fmla="*/ 451893 w 915649"/>
                <a:gd name="connsiteY1086" fmla="*/ 1018515 h 1047543"/>
                <a:gd name="connsiteX1087" fmla="*/ 457883 w 915649"/>
                <a:gd name="connsiteY1087" fmla="*/ 1009070 h 1047543"/>
                <a:gd name="connsiteX1088" fmla="*/ 464103 w 915649"/>
                <a:gd name="connsiteY1088" fmla="*/ 999163 h 1047543"/>
                <a:gd name="connsiteX1089" fmla="*/ 466983 w 915649"/>
                <a:gd name="connsiteY1089" fmla="*/ 994325 h 1047543"/>
                <a:gd name="connsiteX1090" fmla="*/ 469862 w 915649"/>
                <a:gd name="connsiteY1090" fmla="*/ 989717 h 1047543"/>
                <a:gd name="connsiteX1091" fmla="*/ 472627 w 915649"/>
                <a:gd name="connsiteY1091" fmla="*/ 985571 h 1047543"/>
                <a:gd name="connsiteX1092" fmla="*/ 475161 w 915649"/>
                <a:gd name="connsiteY1092" fmla="*/ 982000 h 1047543"/>
                <a:gd name="connsiteX1093" fmla="*/ 478502 w 915649"/>
                <a:gd name="connsiteY1093" fmla="*/ 978198 h 1047543"/>
                <a:gd name="connsiteX1094" fmla="*/ 480805 w 915649"/>
                <a:gd name="connsiteY1094" fmla="*/ 983037 h 1047543"/>
                <a:gd name="connsiteX1095" fmla="*/ 483916 w 915649"/>
                <a:gd name="connsiteY1095" fmla="*/ 990178 h 1047543"/>
                <a:gd name="connsiteX1096" fmla="*/ 487256 w 915649"/>
                <a:gd name="connsiteY1096" fmla="*/ 998818 h 1047543"/>
                <a:gd name="connsiteX1097" fmla="*/ 490481 w 915649"/>
                <a:gd name="connsiteY1097" fmla="*/ 1008148 h 1047543"/>
                <a:gd name="connsiteX1098" fmla="*/ 492670 w 915649"/>
                <a:gd name="connsiteY1098" fmla="*/ 1014253 h 1047543"/>
                <a:gd name="connsiteX1099" fmla="*/ 494859 w 915649"/>
                <a:gd name="connsiteY1099" fmla="*/ 1020243 h 1047543"/>
                <a:gd name="connsiteX1100" fmla="*/ 497278 w 915649"/>
                <a:gd name="connsiteY1100" fmla="*/ 1026003 h 1047543"/>
                <a:gd name="connsiteX1101" fmla="*/ 499812 w 915649"/>
                <a:gd name="connsiteY1101" fmla="*/ 1031417 h 1047543"/>
                <a:gd name="connsiteX1102" fmla="*/ 502576 w 915649"/>
                <a:gd name="connsiteY1102" fmla="*/ 1036370 h 1047543"/>
                <a:gd name="connsiteX1103" fmla="*/ 506032 w 915649"/>
                <a:gd name="connsiteY1103" fmla="*/ 1041208 h 1047543"/>
                <a:gd name="connsiteX1104" fmla="*/ 510525 w 915649"/>
                <a:gd name="connsiteY1104" fmla="*/ 1045124 h 1047543"/>
                <a:gd name="connsiteX1105" fmla="*/ 516515 w 915649"/>
                <a:gd name="connsiteY1105" fmla="*/ 1047543 h 1047543"/>
                <a:gd name="connsiteX1106" fmla="*/ 517666 w 915649"/>
                <a:gd name="connsiteY1106" fmla="*/ 1047543 h 1047543"/>
                <a:gd name="connsiteX1107" fmla="*/ 523772 w 915649"/>
                <a:gd name="connsiteY1107" fmla="*/ 1045700 h 1047543"/>
                <a:gd name="connsiteX1108" fmla="*/ 528149 w 915649"/>
                <a:gd name="connsiteY1108" fmla="*/ 1042245 h 1047543"/>
                <a:gd name="connsiteX1109" fmla="*/ 531374 w 915649"/>
                <a:gd name="connsiteY1109" fmla="*/ 1037637 h 1047543"/>
                <a:gd name="connsiteX1110" fmla="*/ 534139 w 915649"/>
                <a:gd name="connsiteY1110" fmla="*/ 1032914 h 1047543"/>
                <a:gd name="connsiteX1111" fmla="*/ 537825 w 915649"/>
                <a:gd name="connsiteY1111" fmla="*/ 1024851 h 1047543"/>
                <a:gd name="connsiteX1112" fmla="*/ 541281 w 915649"/>
                <a:gd name="connsiteY1112" fmla="*/ 1016327 h 1047543"/>
                <a:gd name="connsiteX1113" fmla="*/ 544506 w 915649"/>
                <a:gd name="connsiteY1113" fmla="*/ 1007687 h 1047543"/>
                <a:gd name="connsiteX1114" fmla="*/ 547616 w 915649"/>
                <a:gd name="connsiteY1114" fmla="*/ 999624 h 1047543"/>
                <a:gd name="connsiteX1115" fmla="*/ 548998 w 915649"/>
                <a:gd name="connsiteY1115" fmla="*/ 996053 h 1047543"/>
                <a:gd name="connsiteX1116" fmla="*/ 550381 w 915649"/>
                <a:gd name="connsiteY1116" fmla="*/ 992828 h 1047543"/>
                <a:gd name="connsiteX1117" fmla="*/ 551763 w 915649"/>
                <a:gd name="connsiteY1117" fmla="*/ 990063 h 1047543"/>
                <a:gd name="connsiteX1118" fmla="*/ 553030 w 915649"/>
                <a:gd name="connsiteY1118" fmla="*/ 987990 h 1047543"/>
                <a:gd name="connsiteX1119" fmla="*/ 553606 w 915649"/>
                <a:gd name="connsiteY1119" fmla="*/ 987183 h 1047543"/>
                <a:gd name="connsiteX1120" fmla="*/ 556371 w 915649"/>
                <a:gd name="connsiteY1120" fmla="*/ 991330 h 1047543"/>
                <a:gd name="connsiteX1121" fmla="*/ 560172 w 915649"/>
                <a:gd name="connsiteY1121" fmla="*/ 997551 h 1047543"/>
                <a:gd name="connsiteX1122" fmla="*/ 564434 w 915649"/>
                <a:gd name="connsiteY1122" fmla="*/ 1005268 h 1047543"/>
                <a:gd name="connsiteX1123" fmla="*/ 568581 w 915649"/>
                <a:gd name="connsiteY1123" fmla="*/ 1013677 h 1047543"/>
                <a:gd name="connsiteX1124" fmla="*/ 571460 w 915649"/>
                <a:gd name="connsiteY1124" fmla="*/ 1019091 h 1047543"/>
                <a:gd name="connsiteX1125" fmla="*/ 574340 w 915649"/>
                <a:gd name="connsiteY1125" fmla="*/ 1024390 h 1047543"/>
                <a:gd name="connsiteX1126" fmla="*/ 577335 w 915649"/>
                <a:gd name="connsiteY1126" fmla="*/ 1029573 h 1047543"/>
                <a:gd name="connsiteX1127" fmla="*/ 580445 w 915649"/>
                <a:gd name="connsiteY1127" fmla="*/ 1034296 h 1047543"/>
                <a:gd name="connsiteX1128" fmla="*/ 583556 w 915649"/>
                <a:gd name="connsiteY1128" fmla="*/ 1038673 h 1047543"/>
                <a:gd name="connsiteX1129" fmla="*/ 587126 w 915649"/>
                <a:gd name="connsiteY1129" fmla="*/ 1042705 h 1047543"/>
                <a:gd name="connsiteX1130" fmla="*/ 591619 w 915649"/>
                <a:gd name="connsiteY1130" fmla="*/ 1045815 h 1047543"/>
                <a:gd name="connsiteX1131" fmla="*/ 597378 w 915649"/>
                <a:gd name="connsiteY1131" fmla="*/ 1047313 h 1047543"/>
                <a:gd name="connsiteX1132" fmla="*/ 598300 w 915649"/>
                <a:gd name="connsiteY1132" fmla="*/ 1047313 h 1047543"/>
                <a:gd name="connsiteX1133" fmla="*/ 604059 w 915649"/>
                <a:gd name="connsiteY1133" fmla="*/ 1044779 h 1047543"/>
                <a:gd name="connsiteX1134" fmla="*/ 607861 w 915649"/>
                <a:gd name="connsiteY1134" fmla="*/ 1040517 h 1047543"/>
                <a:gd name="connsiteX1135" fmla="*/ 610395 w 915649"/>
                <a:gd name="connsiteY1135" fmla="*/ 1035333 h 1047543"/>
                <a:gd name="connsiteX1136" fmla="*/ 612353 w 915649"/>
                <a:gd name="connsiteY1136" fmla="*/ 1030034 h 1047543"/>
                <a:gd name="connsiteX1137" fmla="*/ 614772 w 915649"/>
                <a:gd name="connsiteY1137" fmla="*/ 1021510 h 1047543"/>
                <a:gd name="connsiteX1138" fmla="*/ 616846 w 915649"/>
                <a:gd name="connsiteY1138" fmla="*/ 1012410 h 1047543"/>
                <a:gd name="connsiteX1139" fmla="*/ 618573 w 915649"/>
                <a:gd name="connsiteY1139" fmla="*/ 1003195 h 1047543"/>
                <a:gd name="connsiteX1140" fmla="*/ 620301 w 915649"/>
                <a:gd name="connsiteY1140" fmla="*/ 994556 h 1047543"/>
                <a:gd name="connsiteX1141" fmla="*/ 621223 w 915649"/>
                <a:gd name="connsiteY1141" fmla="*/ 990639 h 1047543"/>
                <a:gd name="connsiteX1142" fmla="*/ 622029 w 915649"/>
                <a:gd name="connsiteY1142" fmla="*/ 987068 h 1047543"/>
                <a:gd name="connsiteX1143" fmla="*/ 622951 w 915649"/>
                <a:gd name="connsiteY1143" fmla="*/ 984073 h 1047543"/>
                <a:gd name="connsiteX1144" fmla="*/ 623872 w 915649"/>
                <a:gd name="connsiteY1144" fmla="*/ 981769 h 1047543"/>
                <a:gd name="connsiteX1145" fmla="*/ 624218 w 915649"/>
                <a:gd name="connsiteY1145" fmla="*/ 980733 h 1047543"/>
                <a:gd name="connsiteX1146" fmla="*/ 627443 w 915649"/>
                <a:gd name="connsiteY1146" fmla="*/ 984304 h 1047543"/>
                <a:gd name="connsiteX1147" fmla="*/ 631820 w 915649"/>
                <a:gd name="connsiteY1147" fmla="*/ 989717 h 1047543"/>
                <a:gd name="connsiteX1148" fmla="*/ 636774 w 915649"/>
                <a:gd name="connsiteY1148" fmla="*/ 996283 h 1047543"/>
                <a:gd name="connsiteX1149" fmla="*/ 641727 w 915649"/>
                <a:gd name="connsiteY1149" fmla="*/ 1003656 h 1047543"/>
                <a:gd name="connsiteX1150" fmla="*/ 648177 w 915649"/>
                <a:gd name="connsiteY1150" fmla="*/ 1012410 h 1047543"/>
                <a:gd name="connsiteX1151" fmla="*/ 654513 w 915649"/>
                <a:gd name="connsiteY1151" fmla="*/ 1020704 h 1047543"/>
                <a:gd name="connsiteX1152" fmla="*/ 661655 w 915649"/>
                <a:gd name="connsiteY1152" fmla="*/ 1027270 h 1047543"/>
                <a:gd name="connsiteX1153" fmla="*/ 670524 w 915649"/>
                <a:gd name="connsiteY1153" fmla="*/ 1030841 h 1047543"/>
                <a:gd name="connsiteX1154" fmla="*/ 673635 w 915649"/>
                <a:gd name="connsiteY1154" fmla="*/ 1030265 h 1047543"/>
                <a:gd name="connsiteX1155" fmla="*/ 678588 w 915649"/>
                <a:gd name="connsiteY1155" fmla="*/ 1026694 h 1047543"/>
                <a:gd name="connsiteX1156" fmla="*/ 681468 w 915649"/>
                <a:gd name="connsiteY1156" fmla="*/ 1021856 h 1047543"/>
                <a:gd name="connsiteX1157" fmla="*/ 683080 w 915649"/>
                <a:gd name="connsiteY1157" fmla="*/ 1016442 h 1047543"/>
                <a:gd name="connsiteX1158" fmla="*/ 684117 w 915649"/>
                <a:gd name="connsiteY1158" fmla="*/ 1010913 h 1047543"/>
                <a:gd name="connsiteX1159" fmla="*/ 685038 w 915649"/>
                <a:gd name="connsiteY1159" fmla="*/ 1001928 h 1047543"/>
                <a:gd name="connsiteX1160" fmla="*/ 685614 w 915649"/>
                <a:gd name="connsiteY1160" fmla="*/ 992597 h 1047543"/>
                <a:gd name="connsiteX1161" fmla="*/ 685960 w 915649"/>
                <a:gd name="connsiteY1161" fmla="*/ 983267 h 1047543"/>
                <a:gd name="connsiteX1162" fmla="*/ 686421 w 915649"/>
                <a:gd name="connsiteY1162" fmla="*/ 974397 h 1047543"/>
                <a:gd name="connsiteX1163" fmla="*/ 686766 w 915649"/>
                <a:gd name="connsiteY1163" fmla="*/ 970366 h 1047543"/>
                <a:gd name="connsiteX1164" fmla="*/ 687112 w 915649"/>
                <a:gd name="connsiteY1164" fmla="*/ 966795 h 1047543"/>
                <a:gd name="connsiteX1165" fmla="*/ 687573 w 915649"/>
                <a:gd name="connsiteY1165" fmla="*/ 963684 h 1047543"/>
                <a:gd name="connsiteX1166" fmla="*/ 688033 w 915649"/>
                <a:gd name="connsiteY1166" fmla="*/ 961150 h 1047543"/>
                <a:gd name="connsiteX1167" fmla="*/ 688264 w 915649"/>
                <a:gd name="connsiteY1167" fmla="*/ 960114 h 1047543"/>
                <a:gd name="connsiteX1168" fmla="*/ 692180 w 915649"/>
                <a:gd name="connsiteY1168" fmla="*/ 963108 h 1047543"/>
                <a:gd name="connsiteX1169" fmla="*/ 697249 w 915649"/>
                <a:gd name="connsiteY1169" fmla="*/ 967946 h 1047543"/>
                <a:gd name="connsiteX1170" fmla="*/ 703008 w 915649"/>
                <a:gd name="connsiteY1170" fmla="*/ 973936 h 1047543"/>
                <a:gd name="connsiteX1171" fmla="*/ 708998 w 915649"/>
                <a:gd name="connsiteY1171" fmla="*/ 980387 h 1047543"/>
                <a:gd name="connsiteX1172" fmla="*/ 715218 w 915649"/>
                <a:gd name="connsiteY1172" fmla="*/ 986723 h 1047543"/>
                <a:gd name="connsiteX1173" fmla="*/ 721323 w 915649"/>
                <a:gd name="connsiteY1173" fmla="*/ 992597 h 1047543"/>
                <a:gd name="connsiteX1174" fmla="*/ 727774 w 915649"/>
                <a:gd name="connsiteY1174" fmla="*/ 997205 h 1047543"/>
                <a:gd name="connsiteX1175" fmla="*/ 735146 w 915649"/>
                <a:gd name="connsiteY1175" fmla="*/ 999509 h 1047543"/>
                <a:gd name="connsiteX1176" fmla="*/ 736298 w 915649"/>
                <a:gd name="connsiteY1176" fmla="*/ 999509 h 1047543"/>
                <a:gd name="connsiteX1177" fmla="*/ 737565 w 915649"/>
                <a:gd name="connsiteY1177" fmla="*/ 999278 h 1047543"/>
                <a:gd name="connsiteX1178" fmla="*/ 738832 w 915649"/>
                <a:gd name="connsiteY1178" fmla="*/ 998933 h 1047543"/>
                <a:gd name="connsiteX1179" fmla="*/ 740099 w 915649"/>
                <a:gd name="connsiteY1179" fmla="*/ 998242 h 1047543"/>
                <a:gd name="connsiteX1180" fmla="*/ 744131 w 915649"/>
                <a:gd name="connsiteY1180" fmla="*/ 993634 h 1047543"/>
                <a:gd name="connsiteX1181" fmla="*/ 746205 w 915649"/>
                <a:gd name="connsiteY1181" fmla="*/ 988335 h 1047543"/>
                <a:gd name="connsiteX1182" fmla="*/ 747011 w 915649"/>
                <a:gd name="connsiteY1182" fmla="*/ 982691 h 1047543"/>
                <a:gd name="connsiteX1183" fmla="*/ 747241 w 915649"/>
                <a:gd name="connsiteY1183" fmla="*/ 977162 h 1047543"/>
                <a:gd name="connsiteX1184" fmla="*/ 746896 w 915649"/>
                <a:gd name="connsiteY1184" fmla="*/ 968407 h 1047543"/>
                <a:gd name="connsiteX1185" fmla="*/ 746205 w 915649"/>
                <a:gd name="connsiteY1185" fmla="*/ 959192 h 1047543"/>
                <a:gd name="connsiteX1186" fmla="*/ 745283 w 915649"/>
                <a:gd name="connsiteY1186" fmla="*/ 949862 h 1047543"/>
                <a:gd name="connsiteX1187" fmla="*/ 744477 w 915649"/>
                <a:gd name="connsiteY1187" fmla="*/ 940992 h 1047543"/>
                <a:gd name="connsiteX1188" fmla="*/ 744246 w 915649"/>
                <a:gd name="connsiteY1188" fmla="*/ 937075 h 1047543"/>
                <a:gd name="connsiteX1189" fmla="*/ 744131 w 915649"/>
                <a:gd name="connsiteY1189" fmla="*/ 933505 h 1047543"/>
                <a:gd name="connsiteX1190" fmla="*/ 744131 w 915649"/>
                <a:gd name="connsiteY1190" fmla="*/ 930394 h 1047543"/>
                <a:gd name="connsiteX1191" fmla="*/ 744131 w 915649"/>
                <a:gd name="connsiteY1191" fmla="*/ 927860 h 1047543"/>
                <a:gd name="connsiteX1192" fmla="*/ 744131 w 915649"/>
                <a:gd name="connsiteY1192" fmla="*/ 926708 h 1047543"/>
                <a:gd name="connsiteX1193" fmla="*/ 747472 w 915649"/>
                <a:gd name="connsiteY1193" fmla="*/ 928551 h 1047543"/>
                <a:gd name="connsiteX1194" fmla="*/ 751849 w 915649"/>
                <a:gd name="connsiteY1194" fmla="*/ 931546 h 1047543"/>
                <a:gd name="connsiteX1195" fmla="*/ 756917 w 915649"/>
                <a:gd name="connsiteY1195" fmla="*/ 935232 h 1047543"/>
                <a:gd name="connsiteX1196" fmla="*/ 762216 w 915649"/>
                <a:gd name="connsiteY1196" fmla="*/ 939494 h 1047543"/>
                <a:gd name="connsiteX1197" fmla="*/ 769243 w 915649"/>
                <a:gd name="connsiteY1197" fmla="*/ 945024 h 1047543"/>
                <a:gd name="connsiteX1198" fmla="*/ 776039 w 915649"/>
                <a:gd name="connsiteY1198" fmla="*/ 950092 h 1047543"/>
                <a:gd name="connsiteX1199" fmla="*/ 782950 w 915649"/>
                <a:gd name="connsiteY1199" fmla="*/ 954124 h 1047543"/>
                <a:gd name="connsiteX1200" fmla="*/ 790092 w 915649"/>
                <a:gd name="connsiteY1200" fmla="*/ 956082 h 1047543"/>
                <a:gd name="connsiteX1201" fmla="*/ 791705 w 915649"/>
                <a:gd name="connsiteY1201" fmla="*/ 956082 h 1047543"/>
                <a:gd name="connsiteX1202" fmla="*/ 793433 w 915649"/>
                <a:gd name="connsiteY1202" fmla="*/ 955621 h 1047543"/>
                <a:gd name="connsiteX1203" fmla="*/ 795161 w 915649"/>
                <a:gd name="connsiteY1203" fmla="*/ 954815 h 1047543"/>
                <a:gd name="connsiteX1204" fmla="*/ 796773 w 915649"/>
                <a:gd name="connsiteY1204" fmla="*/ 953548 h 1047543"/>
                <a:gd name="connsiteX1205" fmla="*/ 799768 w 915649"/>
                <a:gd name="connsiteY1205" fmla="*/ 948479 h 1047543"/>
                <a:gd name="connsiteX1206" fmla="*/ 800920 w 915649"/>
                <a:gd name="connsiteY1206" fmla="*/ 943065 h 1047543"/>
                <a:gd name="connsiteX1207" fmla="*/ 800920 w 915649"/>
                <a:gd name="connsiteY1207" fmla="*/ 937536 h 1047543"/>
                <a:gd name="connsiteX1208" fmla="*/ 800459 w 915649"/>
                <a:gd name="connsiteY1208" fmla="*/ 932237 h 1047543"/>
                <a:gd name="connsiteX1209" fmla="*/ 798386 w 915649"/>
                <a:gd name="connsiteY1209" fmla="*/ 920142 h 1047543"/>
                <a:gd name="connsiteX1210" fmla="*/ 795621 w 915649"/>
                <a:gd name="connsiteY1210" fmla="*/ 907587 h 1047543"/>
                <a:gd name="connsiteX1211" fmla="*/ 793087 w 915649"/>
                <a:gd name="connsiteY1211" fmla="*/ 895837 h 1047543"/>
                <a:gd name="connsiteX1212" fmla="*/ 791474 w 915649"/>
                <a:gd name="connsiteY1212" fmla="*/ 886276 h 1047543"/>
                <a:gd name="connsiteX1213" fmla="*/ 791129 w 915649"/>
                <a:gd name="connsiteY1213" fmla="*/ 882705 h 1047543"/>
                <a:gd name="connsiteX1214" fmla="*/ 799077 w 915649"/>
                <a:gd name="connsiteY1214" fmla="*/ 886161 h 1047543"/>
                <a:gd name="connsiteX1215" fmla="*/ 810250 w 915649"/>
                <a:gd name="connsiteY1215" fmla="*/ 892497 h 1047543"/>
                <a:gd name="connsiteX1216" fmla="*/ 822576 w 915649"/>
                <a:gd name="connsiteY1216" fmla="*/ 898947 h 1047543"/>
                <a:gd name="connsiteX1217" fmla="*/ 833865 w 915649"/>
                <a:gd name="connsiteY1217" fmla="*/ 902518 h 1047543"/>
                <a:gd name="connsiteX1218" fmla="*/ 836053 w 915649"/>
                <a:gd name="connsiteY1218" fmla="*/ 902518 h 1047543"/>
                <a:gd name="connsiteX1219" fmla="*/ 838242 w 915649"/>
                <a:gd name="connsiteY1219" fmla="*/ 901942 h 1047543"/>
                <a:gd name="connsiteX1220" fmla="*/ 840430 w 915649"/>
                <a:gd name="connsiteY1220" fmla="*/ 900675 h 1047543"/>
                <a:gd name="connsiteX1221" fmla="*/ 842389 w 915649"/>
                <a:gd name="connsiteY1221" fmla="*/ 898602 h 1047543"/>
                <a:gd name="connsiteX1222" fmla="*/ 844117 w 915649"/>
                <a:gd name="connsiteY1222" fmla="*/ 895031 h 1047543"/>
                <a:gd name="connsiteX1223" fmla="*/ 844808 w 915649"/>
                <a:gd name="connsiteY1223" fmla="*/ 891345 h 1047543"/>
                <a:gd name="connsiteX1224" fmla="*/ 844808 w 915649"/>
                <a:gd name="connsiteY1224" fmla="*/ 887659 h 1047543"/>
                <a:gd name="connsiteX1225" fmla="*/ 844462 w 915649"/>
                <a:gd name="connsiteY1225" fmla="*/ 884088 h 1047543"/>
                <a:gd name="connsiteX1226" fmla="*/ 841006 w 915649"/>
                <a:gd name="connsiteY1226" fmla="*/ 869574 h 1047543"/>
                <a:gd name="connsiteX1227" fmla="*/ 835823 w 915649"/>
                <a:gd name="connsiteY1227" fmla="*/ 854253 h 1047543"/>
                <a:gd name="connsiteX1228" fmla="*/ 830985 w 915649"/>
                <a:gd name="connsiteY1228" fmla="*/ 840431 h 1047543"/>
                <a:gd name="connsiteX1229" fmla="*/ 828220 w 915649"/>
                <a:gd name="connsiteY1229" fmla="*/ 830294 h 1047543"/>
                <a:gd name="connsiteX1230" fmla="*/ 828681 w 915649"/>
                <a:gd name="connsiteY1230" fmla="*/ 830294 h 1047543"/>
                <a:gd name="connsiteX1231" fmla="*/ 828681 w 915649"/>
                <a:gd name="connsiteY1231" fmla="*/ 830294 h 1047543"/>
                <a:gd name="connsiteX1232" fmla="*/ 828681 w 915649"/>
                <a:gd name="connsiteY1232" fmla="*/ 830294 h 1047543"/>
                <a:gd name="connsiteX1233" fmla="*/ 828681 w 915649"/>
                <a:gd name="connsiteY1233" fmla="*/ 830294 h 1047543"/>
                <a:gd name="connsiteX1234" fmla="*/ 836053 w 915649"/>
                <a:gd name="connsiteY1234" fmla="*/ 832137 h 1047543"/>
                <a:gd name="connsiteX1235" fmla="*/ 845614 w 915649"/>
                <a:gd name="connsiteY1235" fmla="*/ 835593 h 1047543"/>
                <a:gd name="connsiteX1236" fmla="*/ 855981 w 915649"/>
                <a:gd name="connsiteY1236" fmla="*/ 839163 h 1047543"/>
                <a:gd name="connsiteX1237" fmla="*/ 865657 w 915649"/>
                <a:gd name="connsiteY1237" fmla="*/ 841237 h 1047543"/>
                <a:gd name="connsiteX1238" fmla="*/ 868537 w 915649"/>
                <a:gd name="connsiteY1238" fmla="*/ 841237 h 1047543"/>
                <a:gd name="connsiteX1239" fmla="*/ 871532 w 915649"/>
                <a:gd name="connsiteY1239" fmla="*/ 840661 h 1047543"/>
                <a:gd name="connsiteX1240" fmla="*/ 874296 w 915649"/>
                <a:gd name="connsiteY1240" fmla="*/ 838933 h 1047543"/>
                <a:gd name="connsiteX1241" fmla="*/ 876715 w 915649"/>
                <a:gd name="connsiteY1241" fmla="*/ 835477 h 1047543"/>
                <a:gd name="connsiteX1242" fmla="*/ 877522 w 915649"/>
                <a:gd name="connsiteY1242" fmla="*/ 832828 h 1047543"/>
                <a:gd name="connsiteX1243" fmla="*/ 877867 w 915649"/>
                <a:gd name="connsiteY1243" fmla="*/ 830179 h 1047543"/>
                <a:gd name="connsiteX1244" fmla="*/ 877867 w 915649"/>
                <a:gd name="connsiteY1244" fmla="*/ 827529 h 1047543"/>
                <a:gd name="connsiteX1245" fmla="*/ 877637 w 915649"/>
                <a:gd name="connsiteY1245" fmla="*/ 825110 h 1047543"/>
                <a:gd name="connsiteX1246" fmla="*/ 875564 w 915649"/>
                <a:gd name="connsiteY1246" fmla="*/ 816932 h 1047543"/>
                <a:gd name="connsiteX1247" fmla="*/ 872453 w 915649"/>
                <a:gd name="connsiteY1247" fmla="*/ 808868 h 1047543"/>
                <a:gd name="connsiteX1248" fmla="*/ 868652 w 915649"/>
                <a:gd name="connsiteY1248" fmla="*/ 800920 h 1047543"/>
                <a:gd name="connsiteX1249" fmla="*/ 864736 w 915649"/>
                <a:gd name="connsiteY1249" fmla="*/ 792857 h 1047543"/>
                <a:gd name="connsiteX1250" fmla="*/ 861510 w 915649"/>
                <a:gd name="connsiteY1250" fmla="*/ 786406 h 1047543"/>
                <a:gd name="connsiteX1251" fmla="*/ 858631 w 915649"/>
                <a:gd name="connsiteY1251" fmla="*/ 780301 h 1047543"/>
                <a:gd name="connsiteX1252" fmla="*/ 856442 w 915649"/>
                <a:gd name="connsiteY1252" fmla="*/ 775118 h 1047543"/>
                <a:gd name="connsiteX1253" fmla="*/ 855060 w 915649"/>
                <a:gd name="connsiteY1253" fmla="*/ 771316 h 1047543"/>
                <a:gd name="connsiteX1254" fmla="*/ 856212 w 915649"/>
                <a:gd name="connsiteY1254" fmla="*/ 771201 h 1047543"/>
                <a:gd name="connsiteX1255" fmla="*/ 857594 w 915649"/>
                <a:gd name="connsiteY1255" fmla="*/ 771201 h 1047543"/>
                <a:gd name="connsiteX1256" fmla="*/ 859206 w 915649"/>
                <a:gd name="connsiteY1256" fmla="*/ 771201 h 1047543"/>
                <a:gd name="connsiteX1257" fmla="*/ 860934 w 915649"/>
                <a:gd name="connsiteY1257" fmla="*/ 771201 h 1047543"/>
                <a:gd name="connsiteX1258" fmla="*/ 866118 w 915649"/>
                <a:gd name="connsiteY1258" fmla="*/ 771892 h 1047543"/>
                <a:gd name="connsiteX1259" fmla="*/ 871762 w 915649"/>
                <a:gd name="connsiteY1259" fmla="*/ 772814 h 1047543"/>
                <a:gd name="connsiteX1260" fmla="*/ 877637 w 915649"/>
                <a:gd name="connsiteY1260" fmla="*/ 773850 h 1047543"/>
                <a:gd name="connsiteX1261" fmla="*/ 883397 w 915649"/>
                <a:gd name="connsiteY1261" fmla="*/ 774542 h 1047543"/>
                <a:gd name="connsiteX1262" fmla="*/ 888119 w 915649"/>
                <a:gd name="connsiteY1262" fmla="*/ 774657 h 1047543"/>
                <a:gd name="connsiteX1263" fmla="*/ 892727 w 915649"/>
                <a:gd name="connsiteY1263" fmla="*/ 774311 h 1047543"/>
                <a:gd name="connsiteX1264" fmla="*/ 896874 w 915649"/>
                <a:gd name="connsiteY1264" fmla="*/ 772007 h 1047543"/>
                <a:gd name="connsiteX1265" fmla="*/ 900214 w 915649"/>
                <a:gd name="connsiteY1265" fmla="*/ 766593 h 1047543"/>
                <a:gd name="connsiteX1266" fmla="*/ 900560 w 915649"/>
                <a:gd name="connsiteY1266" fmla="*/ 764750 h 1047543"/>
                <a:gd name="connsiteX1267" fmla="*/ 900675 w 915649"/>
                <a:gd name="connsiteY1267" fmla="*/ 762907 h 1047543"/>
                <a:gd name="connsiteX1268" fmla="*/ 900675 w 915649"/>
                <a:gd name="connsiteY1268" fmla="*/ 761064 h 1047543"/>
                <a:gd name="connsiteX1269" fmla="*/ 900445 w 915649"/>
                <a:gd name="connsiteY1269" fmla="*/ 759221 h 1047543"/>
                <a:gd name="connsiteX1270" fmla="*/ 897680 w 915649"/>
                <a:gd name="connsiteY1270" fmla="*/ 750352 h 1047543"/>
                <a:gd name="connsiteX1271" fmla="*/ 893649 w 915649"/>
                <a:gd name="connsiteY1271" fmla="*/ 742288 h 1047543"/>
                <a:gd name="connsiteX1272" fmla="*/ 888926 w 915649"/>
                <a:gd name="connsiteY1272" fmla="*/ 734570 h 1047543"/>
                <a:gd name="connsiteX1273" fmla="*/ 883857 w 915649"/>
                <a:gd name="connsiteY1273" fmla="*/ 726622 h 1047543"/>
                <a:gd name="connsiteX1274" fmla="*/ 880056 w 915649"/>
                <a:gd name="connsiteY1274" fmla="*/ 720863 h 1047543"/>
                <a:gd name="connsiteX1275" fmla="*/ 876715 w 915649"/>
                <a:gd name="connsiteY1275" fmla="*/ 715334 h 1047543"/>
                <a:gd name="connsiteX1276" fmla="*/ 873951 w 915649"/>
                <a:gd name="connsiteY1276" fmla="*/ 710611 h 1047543"/>
                <a:gd name="connsiteX1277" fmla="*/ 872223 w 915649"/>
                <a:gd name="connsiteY1277" fmla="*/ 707155 h 1047543"/>
                <a:gd name="connsiteX1278" fmla="*/ 875103 w 915649"/>
                <a:gd name="connsiteY1278" fmla="*/ 706464 h 1047543"/>
                <a:gd name="connsiteX1279" fmla="*/ 879365 w 915649"/>
                <a:gd name="connsiteY1279" fmla="*/ 705773 h 1047543"/>
                <a:gd name="connsiteX1280" fmla="*/ 884433 w 915649"/>
                <a:gd name="connsiteY1280" fmla="*/ 705312 h 1047543"/>
                <a:gd name="connsiteX1281" fmla="*/ 889962 w 915649"/>
                <a:gd name="connsiteY1281" fmla="*/ 705312 h 1047543"/>
                <a:gd name="connsiteX1282" fmla="*/ 893533 w 915649"/>
                <a:gd name="connsiteY1282" fmla="*/ 705197 h 1047543"/>
                <a:gd name="connsiteX1283" fmla="*/ 896989 w 915649"/>
                <a:gd name="connsiteY1283" fmla="*/ 704966 h 1047543"/>
                <a:gd name="connsiteX1284" fmla="*/ 900330 w 915649"/>
                <a:gd name="connsiteY1284" fmla="*/ 704621 h 1047543"/>
                <a:gd name="connsiteX1285" fmla="*/ 903555 w 915649"/>
                <a:gd name="connsiteY1285" fmla="*/ 704045 h 1047543"/>
                <a:gd name="connsiteX1286" fmla="*/ 906550 w 915649"/>
                <a:gd name="connsiteY1286" fmla="*/ 703008 h 1047543"/>
                <a:gd name="connsiteX1287" fmla="*/ 909314 w 915649"/>
                <a:gd name="connsiteY1287" fmla="*/ 701396 h 1047543"/>
                <a:gd name="connsiteX1288" fmla="*/ 911618 w 915649"/>
                <a:gd name="connsiteY1288" fmla="*/ 698516 h 1047543"/>
                <a:gd name="connsiteX1289" fmla="*/ 913116 w 915649"/>
                <a:gd name="connsiteY1289" fmla="*/ 693793 h 1047543"/>
                <a:gd name="connsiteX1290" fmla="*/ 913116 w 915649"/>
                <a:gd name="connsiteY1290" fmla="*/ 692526 h 1047543"/>
                <a:gd name="connsiteX1291" fmla="*/ 913116 w 915649"/>
                <a:gd name="connsiteY1291" fmla="*/ 691374 h 1047543"/>
                <a:gd name="connsiteX1292" fmla="*/ 913116 w 915649"/>
                <a:gd name="connsiteY1292" fmla="*/ 690222 h 1047543"/>
                <a:gd name="connsiteX1293" fmla="*/ 913001 w 915649"/>
                <a:gd name="connsiteY1293" fmla="*/ 689185 h 1047543"/>
                <a:gd name="connsiteX1294" fmla="*/ 909545 w 915649"/>
                <a:gd name="connsiteY1294" fmla="*/ 679740 h 1047543"/>
                <a:gd name="connsiteX1295" fmla="*/ 904707 w 915649"/>
                <a:gd name="connsiteY1295" fmla="*/ 671907 h 1047543"/>
                <a:gd name="connsiteX1296" fmla="*/ 899062 w 915649"/>
                <a:gd name="connsiteY1296" fmla="*/ 664880 h 1047543"/>
                <a:gd name="connsiteX1297" fmla="*/ 893073 w 915649"/>
                <a:gd name="connsiteY1297" fmla="*/ 657623 h 1047543"/>
                <a:gd name="connsiteX1298" fmla="*/ 890193 w 915649"/>
                <a:gd name="connsiteY1298" fmla="*/ 654052 h 1047543"/>
                <a:gd name="connsiteX1299" fmla="*/ 887428 w 915649"/>
                <a:gd name="connsiteY1299" fmla="*/ 650596 h 1047543"/>
                <a:gd name="connsiteX1300" fmla="*/ 884894 w 915649"/>
                <a:gd name="connsiteY1300" fmla="*/ 647371 h 1047543"/>
                <a:gd name="connsiteX1301" fmla="*/ 882590 w 915649"/>
                <a:gd name="connsiteY1301" fmla="*/ 644376 h 1047543"/>
                <a:gd name="connsiteX1302" fmla="*/ 879941 w 915649"/>
                <a:gd name="connsiteY1302" fmla="*/ 640344 h 1047543"/>
                <a:gd name="connsiteX1303" fmla="*/ 882475 w 915649"/>
                <a:gd name="connsiteY1303" fmla="*/ 639077 h 1047543"/>
                <a:gd name="connsiteX1304" fmla="*/ 886276 w 915649"/>
                <a:gd name="connsiteY1304" fmla="*/ 637580 h 1047543"/>
                <a:gd name="connsiteX1305" fmla="*/ 890884 w 915649"/>
                <a:gd name="connsiteY1305" fmla="*/ 636198 h 1047543"/>
                <a:gd name="connsiteX1306" fmla="*/ 895952 w 915649"/>
                <a:gd name="connsiteY1306" fmla="*/ 635046 h 1047543"/>
                <a:gd name="connsiteX1307" fmla="*/ 899178 w 915649"/>
                <a:gd name="connsiteY1307" fmla="*/ 634239 h 1047543"/>
                <a:gd name="connsiteX1308" fmla="*/ 902288 w 915649"/>
                <a:gd name="connsiteY1308" fmla="*/ 633433 h 1047543"/>
                <a:gd name="connsiteX1309" fmla="*/ 905283 w 915649"/>
                <a:gd name="connsiteY1309" fmla="*/ 632396 h 1047543"/>
                <a:gd name="connsiteX1310" fmla="*/ 908162 w 915649"/>
                <a:gd name="connsiteY1310" fmla="*/ 631129 h 1047543"/>
                <a:gd name="connsiteX1311" fmla="*/ 910697 w 915649"/>
                <a:gd name="connsiteY1311" fmla="*/ 629517 h 1047543"/>
                <a:gd name="connsiteX1312" fmla="*/ 913001 w 915649"/>
                <a:gd name="connsiteY1312" fmla="*/ 627328 h 1047543"/>
                <a:gd name="connsiteX1313" fmla="*/ 914844 w 915649"/>
                <a:gd name="connsiteY1313" fmla="*/ 623987 h 1047543"/>
                <a:gd name="connsiteX1314" fmla="*/ 915650 w 915649"/>
                <a:gd name="connsiteY1314" fmla="*/ 618919 h 1047543"/>
                <a:gd name="connsiteX1315" fmla="*/ 915420 w 915649"/>
                <a:gd name="connsiteY1315" fmla="*/ 616730 h 1047543"/>
                <a:gd name="connsiteX1316" fmla="*/ 913692 w 915649"/>
                <a:gd name="connsiteY1316" fmla="*/ 611201 h 104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</a:cxnLst>
              <a:rect l="l" t="t" r="r" b="b"/>
              <a:pathLst>
                <a:path w="915649" h="1047543">
                  <a:moveTo>
                    <a:pt x="912885" y="612468"/>
                  </a:moveTo>
                  <a:cubicBezTo>
                    <a:pt x="912194" y="610856"/>
                    <a:pt x="911503" y="609358"/>
                    <a:pt x="910582" y="608091"/>
                  </a:cubicBezTo>
                  <a:cubicBezTo>
                    <a:pt x="909775" y="606709"/>
                    <a:pt x="908854" y="605557"/>
                    <a:pt x="907932" y="604405"/>
                  </a:cubicBezTo>
                  <a:cubicBezTo>
                    <a:pt x="907011" y="603253"/>
                    <a:pt x="905974" y="602101"/>
                    <a:pt x="905052" y="601065"/>
                  </a:cubicBezTo>
                  <a:cubicBezTo>
                    <a:pt x="903555" y="599452"/>
                    <a:pt x="902057" y="597724"/>
                    <a:pt x="900445" y="596111"/>
                  </a:cubicBezTo>
                  <a:cubicBezTo>
                    <a:pt x="898832" y="594499"/>
                    <a:pt x="897104" y="592886"/>
                    <a:pt x="895376" y="591273"/>
                  </a:cubicBezTo>
                  <a:cubicBezTo>
                    <a:pt x="893649" y="589661"/>
                    <a:pt x="891921" y="588048"/>
                    <a:pt x="890308" y="586551"/>
                  </a:cubicBezTo>
                  <a:cubicBezTo>
                    <a:pt x="888695" y="585053"/>
                    <a:pt x="887083" y="583556"/>
                    <a:pt x="885585" y="582058"/>
                  </a:cubicBezTo>
                  <a:cubicBezTo>
                    <a:pt x="884779" y="581367"/>
                    <a:pt x="883972" y="580561"/>
                    <a:pt x="883397" y="579869"/>
                  </a:cubicBezTo>
                  <a:cubicBezTo>
                    <a:pt x="882705" y="579178"/>
                    <a:pt x="882014" y="578487"/>
                    <a:pt x="881438" y="577796"/>
                  </a:cubicBezTo>
                  <a:cubicBezTo>
                    <a:pt x="880862" y="577105"/>
                    <a:pt x="880286" y="576414"/>
                    <a:pt x="879710" y="575838"/>
                  </a:cubicBezTo>
                  <a:cubicBezTo>
                    <a:pt x="879250" y="575262"/>
                    <a:pt x="878789" y="574686"/>
                    <a:pt x="878328" y="574110"/>
                  </a:cubicBezTo>
                  <a:lnTo>
                    <a:pt x="877637" y="573304"/>
                  </a:lnTo>
                  <a:cubicBezTo>
                    <a:pt x="877637" y="573304"/>
                    <a:pt x="877983" y="572843"/>
                    <a:pt x="878328" y="572612"/>
                  </a:cubicBezTo>
                  <a:cubicBezTo>
                    <a:pt x="878558" y="572382"/>
                    <a:pt x="878789" y="572152"/>
                    <a:pt x="879134" y="571921"/>
                  </a:cubicBezTo>
                  <a:cubicBezTo>
                    <a:pt x="879480" y="571691"/>
                    <a:pt x="879826" y="571461"/>
                    <a:pt x="880171" y="571230"/>
                  </a:cubicBezTo>
                  <a:cubicBezTo>
                    <a:pt x="880517" y="571000"/>
                    <a:pt x="880978" y="570769"/>
                    <a:pt x="881323" y="570539"/>
                  </a:cubicBezTo>
                  <a:cubicBezTo>
                    <a:pt x="882475" y="569848"/>
                    <a:pt x="883627" y="569157"/>
                    <a:pt x="885009" y="568581"/>
                  </a:cubicBezTo>
                  <a:cubicBezTo>
                    <a:pt x="886276" y="567890"/>
                    <a:pt x="887659" y="567198"/>
                    <a:pt x="889156" y="566507"/>
                  </a:cubicBezTo>
                  <a:cubicBezTo>
                    <a:pt x="890538" y="565816"/>
                    <a:pt x="892036" y="565125"/>
                    <a:pt x="893418" y="564319"/>
                  </a:cubicBezTo>
                  <a:cubicBezTo>
                    <a:pt x="894800" y="563628"/>
                    <a:pt x="896298" y="562821"/>
                    <a:pt x="897565" y="562015"/>
                  </a:cubicBezTo>
                  <a:cubicBezTo>
                    <a:pt x="898832" y="560978"/>
                    <a:pt x="900099" y="560287"/>
                    <a:pt x="901366" y="559366"/>
                  </a:cubicBezTo>
                  <a:cubicBezTo>
                    <a:pt x="902633" y="558444"/>
                    <a:pt x="903785" y="557638"/>
                    <a:pt x="904937" y="556371"/>
                  </a:cubicBezTo>
                  <a:cubicBezTo>
                    <a:pt x="905974" y="555219"/>
                    <a:pt x="906780" y="553836"/>
                    <a:pt x="907356" y="551878"/>
                  </a:cubicBezTo>
                  <a:cubicBezTo>
                    <a:pt x="907932" y="550035"/>
                    <a:pt x="908162" y="547616"/>
                    <a:pt x="907932" y="544736"/>
                  </a:cubicBezTo>
                  <a:lnTo>
                    <a:pt x="897565" y="543008"/>
                  </a:lnTo>
                  <a:lnTo>
                    <a:pt x="895261" y="541396"/>
                  </a:lnTo>
                  <a:lnTo>
                    <a:pt x="894570" y="542317"/>
                  </a:lnTo>
                  <a:cubicBezTo>
                    <a:pt x="893994" y="543008"/>
                    <a:pt x="893073" y="543700"/>
                    <a:pt x="891921" y="544391"/>
                  </a:cubicBezTo>
                  <a:cubicBezTo>
                    <a:pt x="890769" y="545197"/>
                    <a:pt x="889502" y="545888"/>
                    <a:pt x="888004" y="546695"/>
                  </a:cubicBezTo>
                  <a:cubicBezTo>
                    <a:pt x="886507" y="547501"/>
                    <a:pt x="884894" y="548307"/>
                    <a:pt x="883281" y="549114"/>
                  </a:cubicBezTo>
                  <a:cubicBezTo>
                    <a:pt x="881669" y="549920"/>
                    <a:pt x="879941" y="550726"/>
                    <a:pt x="878328" y="551648"/>
                  </a:cubicBezTo>
                  <a:cubicBezTo>
                    <a:pt x="876715" y="552684"/>
                    <a:pt x="875103" y="553491"/>
                    <a:pt x="873605" y="554412"/>
                  </a:cubicBezTo>
                  <a:cubicBezTo>
                    <a:pt x="871993" y="555334"/>
                    <a:pt x="870495" y="556140"/>
                    <a:pt x="869113" y="557292"/>
                  </a:cubicBezTo>
                  <a:cubicBezTo>
                    <a:pt x="867731" y="558444"/>
                    <a:pt x="866579" y="559942"/>
                    <a:pt x="865657" y="561900"/>
                  </a:cubicBezTo>
                  <a:cubicBezTo>
                    <a:pt x="864851" y="563858"/>
                    <a:pt x="864275" y="566392"/>
                    <a:pt x="864160" y="569733"/>
                  </a:cubicBezTo>
                  <a:lnTo>
                    <a:pt x="864160" y="570769"/>
                  </a:lnTo>
                  <a:cubicBezTo>
                    <a:pt x="864620" y="572843"/>
                    <a:pt x="865196" y="574686"/>
                    <a:pt x="865888" y="576299"/>
                  </a:cubicBezTo>
                  <a:cubicBezTo>
                    <a:pt x="866579" y="577911"/>
                    <a:pt x="867385" y="579409"/>
                    <a:pt x="868191" y="580791"/>
                  </a:cubicBezTo>
                  <a:cubicBezTo>
                    <a:pt x="868998" y="582173"/>
                    <a:pt x="870034" y="583440"/>
                    <a:pt x="870956" y="584592"/>
                  </a:cubicBezTo>
                  <a:cubicBezTo>
                    <a:pt x="871878" y="585744"/>
                    <a:pt x="872914" y="586896"/>
                    <a:pt x="873836" y="588048"/>
                  </a:cubicBezTo>
                  <a:cubicBezTo>
                    <a:pt x="875333" y="589661"/>
                    <a:pt x="876946" y="591388"/>
                    <a:pt x="878558" y="593001"/>
                  </a:cubicBezTo>
                  <a:cubicBezTo>
                    <a:pt x="880171" y="594614"/>
                    <a:pt x="881899" y="596226"/>
                    <a:pt x="883627" y="597839"/>
                  </a:cubicBezTo>
                  <a:cubicBezTo>
                    <a:pt x="885355" y="599452"/>
                    <a:pt x="887083" y="600949"/>
                    <a:pt x="888695" y="602562"/>
                  </a:cubicBezTo>
                  <a:cubicBezTo>
                    <a:pt x="890423" y="604059"/>
                    <a:pt x="892036" y="605557"/>
                    <a:pt x="893533" y="607170"/>
                  </a:cubicBezTo>
                  <a:cubicBezTo>
                    <a:pt x="894340" y="607861"/>
                    <a:pt x="895031" y="608552"/>
                    <a:pt x="895722" y="609358"/>
                  </a:cubicBezTo>
                  <a:cubicBezTo>
                    <a:pt x="896413" y="610049"/>
                    <a:pt x="897104" y="610741"/>
                    <a:pt x="897680" y="611432"/>
                  </a:cubicBezTo>
                  <a:cubicBezTo>
                    <a:pt x="898256" y="612123"/>
                    <a:pt x="898947" y="612699"/>
                    <a:pt x="899408" y="613275"/>
                  </a:cubicBezTo>
                  <a:cubicBezTo>
                    <a:pt x="899869" y="613851"/>
                    <a:pt x="900330" y="614427"/>
                    <a:pt x="900790" y="614887"/>
                  </a:cubicBezTo>
                  <a:lnTo>
                    <a:pt x="901136" y="615233"/>
                  </a:lnTo>
                  <a:cubicBezTo>
                    <a:pt x="900445" y="615809"/>
                    <a:pt x="899293" y="616270"/>
                    <a:pt x="898026" y="616730"/>
                  </a:cubicBezTo>
                  <a:cubicBezTo>
                    <a:pt x="896759" y="617191"/>
                    <a:pt x="895261" y="617652"/>
                    <a:pt x="893649" y="618113"/>
                  </a:cubicBezTo>
                  <a:cubicBezTo>
                    <a:pt x="892036" y="618573"/>
                    <a:pt x="890308" y="619034"/>
                    <a:pt x="888465" y="619495"/>
                  </a:cubicBezTo>
                  <a:cubicBezTo>
                    <a:pt x="886737" y="619956"/>
                    <a:pt x="884779" y="620417"/>
                    <a:pt x="883051" y="620877"/>
                  </a:cubicBezTo>
                  <a:cubicBezTo>
                    <a:pt x="881323" y="621568"/>
                    <a:pt x="879365" y="622029"/>
                    <a:pt x="877637" y="622605"/>
                  </a:cubicBezTo>
                  <a:cubicBezTo>
                    <a:pt x="875794" y="623181"/>
                    <a:pt x="874066" y="623642"/>
                    <a:pt x="872453" y="624563"/>
                  </a:cubicBezTo>
                  <a:cubicBezTo>
                    <a:pt x="870841" y="625485"/>
                    <a:pt x="869343" y="626637"/>
                    <a:pt x="868191" y="628365"/>
                  </a:cubicBezTo>
                  <a:cubicBezTo>
                    <a:pt x="866924" y="630093"/>
                    <a:pt x="866003" y="632396"/>
                    <a:pt x="865542" y="635622"/>
                  </a:cubicBezTo>
                  <a:lnTo>
                    <a:pt x="865542" y="639077"/>
                  </a:lnTo>
                  <a:cubicBezTo>
                    <a:pt x="866464" y="642533"/>
                    <a:pt x="867615" y="645643"/>
                    <a:pt x="868998" y="648408"/>
                  </a:cubicBezTo>
                  <a:cubicBezTo>
                    <a:pt x="870380" y="651288"/>
                    <a:pt x="871993" y="653822"/>
                    <a:pt x="873836" y="656241"/>
                  </a:cubicBezTo>
                  <a:cubicBezTo>
                    <a:pt x="875679" y="658660"/>
                    <a:pt x="877522" y="661079"/>
                    <a:pt x="879595" y="663383"/>
                  </a:cubicBezTo>
                  <a:cubicBezTo>
                    <a:pt x="881553" y="665686"/>
                    <a:pt x="883627" y="668105"/>
                    <a:pt x="885585" y="670755"/>
                  </a:cubicBezTo>
                  <a:cubicBezTo>
                    <a:pt x="886622" y="671907"/>
                    <a:pt x="887659" y="673174"/>
                    <a:pt x="888580" y="674326"/>
                  </a:cubicBezTo>
                  <a:cubicBezTo>
                    <a:pt x="889617" y="675478"/>
                    <a:pt x="890538" y="676630"/>
                    <a:pt x="891460" y="677781"/>
                  </a:cubicBezTo>
                  <a:cubicBezTo>
                    <a:pt x="892381" y="678933"/>
                    <a:pt x="893188" y="679970"/>
                    <a:pt x="893994" y="681007"/>
                  </a:cubicBezTo>
                  <a:cubicBezTo>
                    <a:pt x="894800" y="682044"/>
                    <a:pt x="895607" y="683080"/>
                    <a:pt x="896183" y="684002"/>
                  </a:cubicBezTo>
                  <a:lnTo>
                    <a:pt x="898486" y="687457"/>
                  </a:lnTo>
                  <a:cubicBezTo>
                    <a:pt x="897680" y="687803"/>
                    <a:pt x="896413" y="688149"/>
                    <a:pt x="895031" y="688264"/>
                  </a:cubicBezTo>
                  <a:cubicBezTo>
                    <a:pt x="893649" y="688494"/>
                    <a:pt x="892036" y="688609"/>
                    <a:pt x="890193" y="688725"/>
                  </a:cubicBezTo>
                  <a:cubicBezTo>
                    <a:pt x="888465" y="688725"/>
                    <a:pt x="886507" y="688955"/>
                    <a:pt x="884433" y="688955"/>
                  </a:cubicBezTo>
                  <a:cubicBezTo>
                    <a:pt x="882475" y="688955"/>
                    <a:pt x="880517" y="688955"/>
                    <a:pt x="878558" y="689070"/>
                  </a:cubicBezTo>
                  <a:cubicBezTo>
                    <a:pt x="876600" y="689416"/>
                    <a:pt x="874527" y="689416"/>
                    <a:pt x="872569" y="689531"/>
                  </a:cubicBezTo>
                  <a:cubicBezTo>
                    <a:pt x="870610" y="689531"/>
                    <a:pt x="868537" y="689876"/>
                    <a:pt x="866809" y="690337"/>
                  </a:cubicBezTo>
                  <a:cubicBezTo>
                    <a:pt x="864966" y="690798"/>
                    <a:pt x="863353" y="691604"/>
                    <a:pt x="861741" y="693102"/>
                  </a:cubicBezTo>
                  <a:cubicBezTo>
                    <a:pt x="860243" y="694484"/>
                    <a:pt x="858976" y="696557"/>
                    <a:pt x="857939" y="699552"/>
                  </a:cubicBezTo>
                  <a:cubicBezTo>
                    <a:pt x="857939" y="700013"/>
                    <a:pt x="857824" y="700474"/>
                    <a:pt x="857709" y="701050"/>
                  </a:cubicBezTo>
                  <a:cubicBezTo>
                    <a:pt x="857709" y="701511"/>
                    <a:pt x="857709" y="701971"/>
                    <a:pt x="857709" y="702547"/>
                  </a:cubicBezTo>
                  <a:cubicBezTo>
                    <a:pt x="857709" y="703008"/>
                    <a:pt x="857709" y="703584"/>
                    <a:pt x="857709" y="704045"/>
                  </a:cubicBezTo>
                  <a:cubicBezTo>
                    <a:pt x="857709" y="704506"/>
                    <a:pt x="857709" y="705082"/>
                    <a:pt x="857824" y="705542"/>
                  </a:cubicBezTo>
                  <a:cubicBezTo>
                    <a:pt x="858515" y="708653"/>
                    <a:pt x="859437" y="711647"/>
                    <a:pt x="860589" y="714527"/>
                  </a:cubicBezTo>
                  <a:cubicBezTo>
                    <a:pt x="861741" y="717292"/>
                    <a:pt x="863123" y="719941"/>
                    <a:pt x="864620" y="722591"/>
                  </a:cubicBezTo>
                  <a:cubicBezTo>
                    <a:pt x="866118" y="725240"/>
                    <a:pt x="867731" y="727774"/>
                    <a:pt x="869459" y="730308"/>
                  </a:cubicBezTo>
                  <a:cubicBezTo>
                    <a:pt x="871071" y="732843"/>
                    <a:pt x="872799" y="735492"/>
                    <a:pt x="874527" y="738141"/>
                  </a:cubicBezTo>
                  <a:cubicBezTo>
                    <a:pt x="875794" y="739984"/>
                    <a:pt x="877061" y="741827"/>
                    <a:pt x="878213" y="743670"/>
                  </a:cubicBezTo>
                  <a:cubicBezTo>
                    <a:pt x="879365" y="745513"/>
                    <a:pt x="880517" y="747357"/>
                    <a:pt x="881438" y="748969"/>
                  </a:cubicBezTo>
                  <a:cubicBezTo>
                    <a:pt x="882475" y="750697"/>
                    <a:pt x="883397" y="752310"/>
                    <a:pt x="884088" y="753692"/>
                  </a:cubicBezTo>
                  <a:cubicBezTo>
                    <a:pt x="884894" y="755074"/>
                    <a:pt x="885470" y="756341"/>
                    <a:pt x="886046" y="757263"/>
                  </a:cubicBezTo>
                  <a:cubicBezTo>
                    <a:pt x="885700" y="757263"/>
                    <a:pt x="885355" y="757263"/>
                    <a:pt x="884894" y="757378"/>
                  </a:cubicBezTo>
                  <a:cubicBezTo>
                    <a:pt x="884548" y="757378"/>
                    <a:pt x="884088" y="757378"/>
                    <a:pt x="883627" y="757378"/>
                  </a:cubicBezTo>
                  <a:cubicBezTo>
                    <a:pt x="883166" y="757378"/>
                    <a:pt x="882705" y="757378"/>
                    <a:pt x="882245" y="757378"/>
                  </a:cubicBezTo>
                  <a:cubicBezTo>
                    <a:pt x="881784" y="757378"/>
                    <a:pt x="881208" y="757378"/>
                    <a:pt x="880632" y="757378"/>
                  </a:cubicBezTo>
                  <a:cubicBezTo>
                    <a:pt x="879134" y="757148"/>
                    <a:pt x="877291" y="756917"/>
                    <a:pt x="875564" y="756687"/>
                  </a:cubicBezTo>
                  <a:cubicBezTo>
                    <a:pt x="873721" y="756341"/>
                    <a:pt x="871878" y="755996"/>
                    <a:pt x="869919" y="755650"/>
                  </a:cubicBezTo>
                  <a:cubicBezTo>
                    <a:pt x="867961" y="755305"/>
                    <a:pt x="866003" y="754959"/>
                    <a:pt x="864045" y="754614"/>
                  </a:cubicBezTo>
                  <a:cubicBezTo>
                    <a:pt x="861971" y="754268"/>
                    <a:pt x="860128" y="754038"/>
                    <a:pt x="858285" y="753807"/>
                  </a:cubicBezTo>
                  <a:cubicBezTo>
                    <a:pt x="856787" y="753807"/>
                    <a:pt x="855175" y="753692"/>
                    <a:pt x="853562" y="753692"/>
                  </a:cubicBezTo>
                  <a:cubicBezTo>
                    <a:pt x="852065" y="753692"/>
                    <a:pt x="850452" y="753692"/>
                    <a:pt x="848955" y="753922"/>
                  </a:cubicBezTo>
                  <a:cubicBezTo>
                    <a:pt x="847457" y="754268"/>
                    <a:pt x="846075" y="754844"/>
                    <a:pt x="844693" y="755996"/>
                  </a:cubicBezTo>
                  <a:cubicBezTo>
                    <a:pt x="843425" y="757033"/>
                    <a:pt x="842158" y="758530"/>
                    <a:pt x="841122" y="760834"/>
                  </a:cubicBezTo>
                  <a:cubicBezTo>
                    <a:pt x="840776" y="761525"/>
                    <a:pt x="840661" y="762331"/>
                    <a:pt x="840430" y="763022"/>
                  </a:cubicBezTo>
                  <a:cubicBezTo>
                    <a:pt x="840315" y="763829"/>
                    <a:pt x="840200" y="764520"/>
                    <a:pt x="840200" y="765326"/>
                  </a:cubicBezTo>
                  <a:cubicBezTo>
                    <a:pt x="840200" y="766133"/>
                    <a:pt x="840200" y="766939"/>
                    <a:pt x="840200" y="767630"/>
                  </a:cubicBezTo>
                  <a:cubicBezTo>
                    <a:pt x="840200" y="768436"/>
                    <a:pt x="840315" y="769128"/>
                    <a:pt x="840430" y="769819"/>
                  </a:cubicBezTo>
                  <a:cubicBezTo>
                    <a:pt x="840891" y="772583"/>
                    <a:pt x="841582" y="775348"/>
                    <a:pt x="842504" y="777997"/>
                  </a:cubicBezTo>
                  <a:cubicBezTo>
                    <a:pt x="843425" y="780647"/>
                    <a:pt x="844347" y="783411"/>
                    <a:pt x="845614" y="786061"/>
                  </a:cubicBezTo>
                  <a:cubicBezTo>
                    <a:pt x="846766" y="788710"/>
                    <a:pt x="848033" y="791359"/>
                    <a:pt x="849300" y="794009"/>
                  </a:cubicBezTo>
                  <a:cubicBezTo>
                    <a:pt x="850567" y="796658"/>
                    <a:pt x="851949" y="799423"/>
                    <a:pt x="853332" y="802187"/>
                  </a:cubicBezTo>
                  <a:cubicBezTo>
                    <a:pt x="854484" y="804261"/>
                    <a:pt x="855405" y="806334"/>
                    <a:pt x="856442" y="808408"/>
                  </a:cubicBezTo>
                  <a:cubicBezTo>
                    <a:pt x="857363" y="810481"/>
                    <a:pt x="858285" y="812439"/>
                    <a:pt x="859206" y="814282"/>
                  </a:cubicBezTo>
                  <a:cubicBezTo>
                    <a:pt x="860013" y="816125"/>
                    <a:pt x="860819" y="817968"/>
                    <a:pt x="861395" y="819466"/>
                  </a:cubicBezTo>
                  <a:cubicBezTo>
                    <a:pt x="861971" y="820963"/>
                    <a:pt x="862547" y="822346"/>
                    <a:pt x="862893" y="823382"/>
                  </a:cubicBezTo>
                  <a:cubicBezTo>
                    <a:pt x="862893" y="823382"/>
                    <a:pt x="862893" y="823382"/>
                    <a:pt x="862893" y="823382"/>
                  </a:cubicBezTo>
                  <a:lnTo>
                    <a:pt x="862777" y="823382"/>
                  </a:lnTo>
                  <a:cubicBezTo>
                    <a:pt x="862777" y="823382"/>
                    <a:pt x="862777" y="823382"/>
                    <a:pt x="862662" y="823382"/>
                  </a:cubicBezTo>
                  <a:lnTo>
                    <a:pt x="862662" y="823382"/>
                  </a:lnTo>
                  <a:cubicBezTo>
                    <a:pt x="860819" y="823267"/>
                    <a:pt x="858285" y="822576"/>
                    <a:pt x="855405" y="821539"/>
                  </a:cubicBezTo>
                  <a:cubicBezTo>
                    <a:pt x="852525" y="820618"/>
                    <a:pt x="849300" y="819351"/>
                    <a:pt x="845960" y="818084"/>
                  </a:cubicBezTo>
                  <a:cubicBezTo>
                    <a:pt x="842619" y="816816"/>
                    <a:pt x="839048" y="815549"/>
                    <a:pt x="835592" y="814513"/>
                  </a:cubicBezTo>
                  <a:cubicBezTo>
                    <a:pt x="832252" y="813476"/>
                    <a:pt x="828911" y="812670"/>
                    <a:pt x="826032" y="812324"/>
                  </a:cubicBezTo>
                  <a:cubicBezTo>
                    <a:pt x="825110" y="812324"/>
                    <a:pt x="824189" y="812324"/>
                    <a:pt x="823267" y="812324"/>
                  </a:cubicBezTo>
                  <a:cubicBezTo>
                    <a:pt x="822346" y="812324"/>
                    <a:pt x="821309" y="812554"/>
                    <a:pt x="820387" y="812900"/>
                  </a:cubicBezTo>
                  <a:cubicBezTo>
                    <a:pt x="819466" y="813130"/>
                    <a:pt x="818544" y="813706"/>
                    <a:pt x="817623" y="814397"/>
                  </a:cubicBezTo>
                  <a:cubicBezTo>
                    <a:pt x="816701" y="815089"/>
                    <a:pt x="815895" y="816010"/>
                    <a:pt x="815089" y="817277"/>
                  </a:cubicBezTo>
                  <a:cubicBezTo>
                    <a:pt x="814513" y="818314"/>
                    <a:pt x="814052" y="819466"/>
                    <a:pt x="813821" y="820503"/>
                  </a:cubicBezTo>
                  <a:cubicBezTo>
                    <a:pt x="813476" y="821539"/>
                    <a:pt x="813361" y="822691"/>
                    <a:pt x="813245" y="823843"/>
                  </a:cubicBezTo>
                  <a:cubicBezTo>
                    <a:pt x="813245" y="824995"/>
                    <a:pt x="813245" y="826032"/>
                    <a:pt x="813245" y="827184"/>
                  </a:cubicBezTo>
                  <a:cubicBezTo>
                    <a:pt x="813245" y="828336"/>
                    <a:pt x="813476" y="829372"/>
                    <a:pt x="813591" y="830294"/>
                  </a:cubicBezTo>
                  <a:cubicBezTo>
                    <a:pt x="814282" y="834556"/>
                    <a:pt x="815434" y="839394"/>
                    <a:pt x="816932" y="844462"/>
                  </a:cubicBezTo>
                  <a:cubicBezTo>
                    <a:pt x="818429" y="849415"/>
                    <a:pt x="820272" y="854599"/>
                    <a:pt x="822000" y="859552"/>
                  </a:cubicBezTo>
                  <a:cubicBezTo>
                    <a:pt x="823728" y="864505"/>
                    <a:pt x="825456" y="869228"/>
                    <a:pt x="826838" y="873375"/>
                  </a:cubicBezTo>
                  <a:cubicBezTo>
                    <a:pt x="828220" y="877522"/>
                    <a:pt x="829257" y="881208"/>
                    <a:pt x="829718" y="883742"/>
                  </a:cubicBezTo>
                  <a:cubicBezTo>
                    <a:pt x="827759" y="883281"/>
                    <a:pt x="824995" y="881899"/>
                    <a:pt x="821770" y="880056"/>
                  </a:cubicBezTo>
                  <a:cubicBezTo>
                    <a:pt x="818544" y="878328"/>
                    <a:pt x="814743" y="876024"/>
                    <a:pt x="810826" y="873721"/>
                  </a:cubicBezTo>
                  <a:cubicBezTo>
                    <a:pt x="806795" y="871417"/>
                    <a:pt x="802763" y="869228"/>
                    <a:pt x="798731" y="867385"/>
                  </a:cubicBezTo>
                  <a:cubicBezTo>
                    <a:pt x="794700" y="865542"/>
                    <a:pt x="790899" y="864275"/>
                    <a:pt x="787558" y="863814"/>
                  </a:cubicBezTo>
                  <a:cubicBezTo>
                    <a:pt x="786867" y="863814"/>
                    <a:pt x="786176" y="863814"/>
                    <a:pt x="785485" y="863814"/>
                  </a:cubicBezTo>
                  <a:cubicBezTo>
                    <a:pt x="784793" y="863814"/>
                    <a:pt x="784102" y="864045"/>
                    <a:pt x="783411" y="864275"/>
                  </a:cubicBezTo>
                  <a:cubicBezTo>
                    <a:pt x="782720" y="864505"/>
                    <a:pt x="782029" y="864851"/>
                    <a:pt x="781222" y="865312"/>
                  </a:cubicBezTo>
                  <a:cubicBezTo>
                    <a:pt x="780531" y="865772"/>
                    <a:pt x="779840" y="866348"/>
                    <a:pt x="779149" y="867155"/>
                  </a:cubicBezTo>
                  <a:cubicBezTo>
                    <a:pt x="777997" y="868652"/>
                    <a:pt x="777306" y="870150"/>
                    <a:pt x="776730" y="871878"/>
                  </a:cubicBezTo>
                  <a:cubicBezTo>
                    <a:pt x="776269" y="873490"/>
                    <a:pt x="775924" y="875218"/>
                    <a:pt x="775809" y="876831"/>
                  </a:cubicBezTo>
                  <a:cubicBezTo>
                    <a:pt x="775693" y="878559"/>
                    <a:pt x="775693" y="880286"/>
                    <a:pt x="775809" y="881899"/>
                  </a:cubicBezTo>
                  <a:cubicBezTo>
                    <a:pt x="775924" y="883627"/>
                    <a:pt x="776039" y="885355"/>
                    <a:pt x="776269" y="886852"/>
                  </a:cubicBezTo>
                  <a:cubicBezTo>
                    <a:pt x="776730" y="890654"/>
                    <a:pt x="777421" y="894685"/>
                    <a:pt x="778228" y="898832"/>
                  </a:cubicBezTo>
                  <a:cubicBezTo>
                    <a:pt x="779034" y="902979"/>
                    <a:pt x="779955" y="907356"/>
                    <a:pt x="780877" y="911388"/>
                  </a:cubicBezTo>
                  <a:cubicBezTo>
                    <a:pt x="781798" y="915535"/>
                    <a:pt x="782720" y="919566"/>
                    <a:pt x="783526" y="923253"/>
                  </a:cubicBezTo>
                  <a:cubicBezTo>
                    <a:pt x="784333" y="926939"/>
                    <a:pt x="784909" y="930279"/>
                    <a:pt x="785139" y="933044"/>
                  </a:cubicBezTo>
                  <a:lnTo>
                    <a:pt x="785485" y="935693"/>
                  </a:lnTo>
                  <a:cubicBezTo>
                    <a:pt x="784563" y="935232"/>
                    <a:pt x="783526" y="934541"/>
                    <a:pt x="782259" y="933735"/>
                  </a:cubicBezTo>
                  <a:cubicBezTo>
                    <a:pt x="780992" y="932929"/>
                    <a:pt x="779610" y="932007"/>
                    <a:pt x="778112" y="930855"/>
                  </a:cubicBezTo>
                  <a:cubicBezTo>
                    <a:pt x="776615" y="929818"/>
                    <a:pt x="775002" y="928667"/>
                    <a:pt x="773390" y="927284"/>
                  </a:cubicBezTo>
                  <a:cubicBezTo>
                    <a:pt x="771777" y="926017"/>
                    <a:pt x="770049" y="924750"/>
                    <a:pt x="768436" y="923368"/>
                  </a:cubicBezTo>
                  <a:cubicBezTo>
                    <a:pt x="766017" y="921525"/>
                    <a:pt x="763829" y="919682"/>
                    <a:pt x="761525" y="917839"/>
                  </a:cubicBezTo>
                  <a:cubicBezTo>
                    <a:pt x="759221" y="915996"/>
                    <a:pt x="757032" y="914268"/>
                    <a:pt x="754613" y="912655"/>
                  </a:cubicBezTo>
                  <a:cubicBezTo>
                    <a:pt x="752425" y="911042"/>
                    <a:pt x="750006" y="909660"/>
                    <a:pt x="747702" y="908623"/>
                  </a:cubicBezTo>
                  <a:cubicBezTo>
                    <a:pt x="745398" y="907587"/>
                    <a:pt x="742979" y="906780"/>
                    <a:pt x="740445" y="906550"/>
                  </a:cubicBezTo>
                  <a:cubicBezTo>
                    <a:pt x="739984" y="906550"/>
                    <a:pt x="739523" y="906550"/>
                    <a:pt x="738948" y="906550"/>
                  </a:cubicBezTo>
                  <a:cubicBezTo>
                    <a:pt x="738487" y="906550"/>
                    <a:pt x="737911" y="906665"/>
                    <a:pt x="737335" y="906780"/>
                  </a:cubicBezTo>
                  <a:cubicBezTo>
                    <a:pt x="736759" y="907011"/>
                    <a:pt x="736183" y="907126"/>
                    <a:pt x="735722" y="907471"/>
                  </a:cubicBezTo>
                  <a:cubicBezTo>
                    <a:pt x="735146" y="907702"/>
                    <a:pt x="734570" y="908047"/>
                    <a:pt x="734110" y="908508"/>
                  </a:cubicBezTo>
                  <a:cubicBezTo>
                    <a:pt x="732612" y="909890"/>
                    <a:pt x="731575" y="911388"/>
                    <a:pt x="730769" y="913001"/>
                  </a:cubicBezTo>
                  <a:cubicBezTo>
                    <a:pt x="729963" y="914613"/>
                    <a:pt x="729387" y="916341"/>
                    <a:pt x="729041" y="918184"/>
                  </a:cubicBezTo>
                  <a:cubicBezTo>
                    <a:pt x="728696" y="919912"/>
                    <a:pt x="728580" y="921870"/>
                    <a:pt x="728465" y="923598"/>
                  </a:cubicBezTo>
                  <a:cubicBezTo>
                    <a:pt x="728465" y="925441"/>
                    <a:pt x="728465" y="927284"/>
                    <a:pt x="728350" y="929127"/>
                  </a:cubicBezTo>
                  <a:cubicBezTo>
                    <a:pt x="728350" y="931892"/>
                    <a:pt x="728465" y="934887"/>
                    <a:pt x="728696" y="937882"/>
                  </a:cubicBezTo>
                  <a:cubicBezTo>
                    <a:pt x="728926" y="940992"/>
                    <a:pt x="729041" y="943987"/>
                    <a:pt x="729387" y="947097"/>
                  </a:cubicBezTo>
                  <a:cubicBezTo>
                    <a:pt x="729617" y="950207"/>
                    <a:pt x="729963" y="953317"/>
                    <a:pt x="730193" y="956312"/>
                  </a:cubicBezTo>
                  <a:cubicBezTo>
                    <a:pt x="730423" y="959307"/>
                    <a:pt x="730654" y="962302"/>
                    <a:pt x="730884" y="965067"/>
                  </a:cubicBezTo>
                  <a:cubicBezTo>
                    <a:pt x="730884" y="966334"/>
                    <a:pt x="730999" y="967716"/>
                    <a:pt x="731115" y="968868"/>
                  </a:cubicBezTo>
                  <a:cubicBezTo>
                    <a:pt x="731115" y="970135"/>
                    <a:pt x="731115" y="971287"/>
                    <a:pt x="731115" y="972439"/>
                  </a:cubicBezTo>
                  <a:cubicBezTo>
                    <a:pt x="731115" y="973591"/>
                    <a:pt x="731115" y="974628"/>
                    <a:pt x="731115" y="975549"/>
                  </a:cubicBezTo>
                  <a:cubicBezTo>
                    <a:pt x="731115" y="976471"/>
                    <a:pt x="731115" y="977277"/>
                    <a:pt x="730999" y="977968"/>
                  </a:cubicBezTo>
                  <a:cubicBezTo>
                    <a:pt x="729963" y="977277"/>
                    <a:pt x="728580" y="976240"/>
                    <a:pt x="727083" y="974858"/>
                  </a:cubicBezTo>
                  <a:cubicBezTo>
                    <a:pt x="725585" y="973591"/>
                    <a:pt x="723973" y="971863"/>
                    <a:pt x="722245" y="970135"/>
                  </a:cubicBezTo>
                  <a:cubicBezTo>
                    <a:pt x="720517" y="968292"/>
                    <a:pt x="718674" y="966334"/>
                    <a:pt x="716716" y="964376"/>
                  </a:cubicBezTo>
                  <a:cubicBezTo>
                    <a:pt x="714758" y="962417"/>
                    <a:pt x="712914" y="960229"/>
                    <a:pt x="710956" y="958270"/>
                  </a:cubicBezTo>
                  <a:cubicBezTo>
                    <a:pt x="708883" y="956082"/>
                    <a:pt x="706809" y="953893"/>
                    <a:pt x="704736" y="951820"/>
                  </a:cubicBezTo>
                  <a:cubicBezTo>
                    <a:pt x="702663" y="949746"/>
                    <a:pt x="700704" y="947788"/>
                    <a:pt x="698631" y="945945"/>
                  </a:cubicBezTo>
                  <a:cubicBezTo>
                    <a:pt x="696557" y="944217"/>
                    <a:pt x="694484" y="942605"/>
                    <a:pt x="692180" y="941453"/>
                  </a:cubicBezTo>
                  <a:cubicBezTo>
                    <a:pt x="689876" y="940186"/>
                    <a:pt x="687457" y="939379"/>
                    <a:pt x="684808" y="938918"/>
                  </a:cubicBezTo>
                  <a:lnTo>
                    <a:pt x="683771" y="938918"/>
                  </a:lnTo>
                  <a:cubicBezTo>
                    <a:pt x="683771" y="938918"/>
                    <a:pt x="682965" y="938918"/>
                    <a:pt x="682619" y="939034"/>
                  </a:cubicBezTo>
                  <a:cubicBezTo>
                    <a:pt x="682159" y="939034"/>
                    <a:pt x="681813" y="939264"/>
                    <a:pt x="681352" y="939379"/>
                  </a:cubicBezTo>
                  <a:cubicBezTo>
                    <a:pt x="680892" y="939494"/>
                    <a:pt x="680546" y="939725"/>
                    <a:pt x="680085" y="939955"/>
                  </a:cubicBezTo>
                  <a:cubicBezTo>
                    <a:pt x="678357" y="940877"/>
                    <a:pt x="676975" y="942144"/>
                    <a:pt x="675938" y="943526"/>
                  </a:cubicBezTo>
                  <a:cubicBezTo>
                    <a:pt x="674902" y="944908"/>
                    <a:pt x="674095" y="946521"/>
                    <a:pt x="673404" y="948249"/>
                  </a:cubicBezTo>
                  <a:cubicBezTo>
                    <a:pt x="672828" y="949862"/>
                    <a:pt x="672367" y="951705"/>
                    <a:pt x="672022" y="953548"/>
                  </a:cubicBezTo>
                  <a:cubicBezTo>
                    <a:pt x="671676" y="955391"/>
                    <a:pt x="671446" y="957234"/>
                    <a:pt x="671100" y="958962"/>
                  </a:cubicBezTo>
                  <a:cubicBezTo>
                    <a:pt x="670755" y="961841"/>
                    <a:pt x="670409" y="964721"/>
                    <a:pt x="670179" y="967716"/>
                  </a:cubicBezTo>
                  <a:cubicBezTo>
                    <a:pt x="669948" y="970711"/>
                    <a:pt x="669718" y="973936"/>
                    <a:pt x="669603" y="977047"/>
                  </a:cubicBezTo>
                  <a:cubicBezTo>
                    <a:pt x="669488" y="980157"/>
                    <a:pt x="669257" y="983382"/>
                    <a:pt x="669142" y="986377"/>
                  </a:cubicBezTo>
                  <a:cubicBezTo>
                    <a:pt x="669027" y="989372"/>
                    <a:pt x="668796" y="992367"/>
                    <a:pt x="668681" y="995247"/>
                  </a:cubicBezTo>
                  <a:cubicBezTo>
                    <a:pt x="668566" y="996629"/>
                    <a:pt x="668451" y="997896"/>
                    <a:pt x="668336" y="999163"/>
                  </a:cubicBezTo>
                  <a:cubicBezTo>
                    <a:pt x="668336" y="1000430"/>
                    <a:pt x="668105" y="1001582"/>
                    <a:pt x="667990" y="1002734"/>
                  </a:cubicBezTo>
                  <a:cubicBezTo>
                    <a:pt x="667875" y="1003771"/>
                    <a:pt x="667760" y="1004808"/>
                    <a:pt x="667529" y="1005729"/>
                  </a:cubicBezTo>
                  <a:cubicBezTo>
                    <a:pt x="667299" y="1006650"/>
                    <a:pt x="667184" y="1007457"/>
                    <a:pt x="666953" y="1008148"/>
                  </a:cubicBezTo>
                  <a:cubicBezTo>
                    <a:pt x="665917" y="1007226"/>
                    <a:pt x="664765" y="1005729"/>
                    <a:pt x="663382" y="1004116"/>
                  </a:cubicBezTo>
                  <a:cubicBezTo>
                    <a:pt x="662000" y="1002388"/>
                    <a:pt x="660503" y="1000430"/>
                    <a:pt x="658890" y="998242"/>
                  </a:cubicBezTo>
                  <a:cubicBezTo>
                    <a:pt x="657277" y="996053"/>
                    <a:pt x="655550" y="993634"/>
                    <a:pt x="653822" y="991215"/>
                  </a:cubicBezTo>
                  <a:cubicBezTo>
                    <a:pt x="652094" y="988681"/>
                    <a:pt x="650366" y="986147"/>
                    <a:pt x="648638" y="983728"/>
                  </a:cubicBezTo>
                  <a:cubicBezTo>
                    <a:pt x="646565" y="981078"/>
                    <a:pt x="644606" y="978314"/>
                    <a:pt x="642648" y="975664"/>
                  </a:cubicBezTo>
                  <a:cubicBezTo>
                    <a:pt x="640690" y="973015"/>
                    <a:pt x="638847" y="970481"/>
                    <a:pt x="636774" y="968177"/>
                  </a:cubicBezTo>
                  <a:cubicBezTo>
                    <a:pt x="634700" y="965873"/>
                    <a:pt x="632512" y="963800"/>
                    <a:pt x="629977" y="962187"/>
                  </a:cubicBezTo>
                  <a:cubicBezTo>
                    <a:pt x="627558" y="960574"/>
                    <a:pt x="624679" y="959422"/>
                    <a:pt x="621453" y="958846"/>
                  </a:cubicBezTo>
                  <a:lnTo>
                    <a:pt x="618573" y="959422"/>
                  </a:lnTo>
                  <a:cubicBezTo>
                    <a:pt x="616615" y="959998"/>
                    <a:pt x="615118" y="960805"/>
                    <a:pt x="613735" y="961957"/>
                  </a:cubicBezTo>
                  <a:cubicBezTo>
                    <a:pt x="612468" y="963108"/>
                    <a:pt x="611432" y="964491"/>
                    <a:pt x="610510" y="965988"/>
                  </a:cubicBezTo>
                  <a:cubicBezTo>
                    <a:pt x="609589" y="967486"/>
                    <a:pt x="608897" y="969214"/>
                    <a:pt x="608206" y="970826"/>
                  </a:cubicBezTo>
                  <a:cubicBezTo>
                    <a:pt x="607515" y="972554"/>
                    <a:pt x="606939" y="974282"/>
                    <a:pt x="606363" y="976010"/>
                  </a:cubicBezTo>
                  <a:cubicBezTo>
                    <a:pt x="605557" y="978659"/>
                    <a:pt x="604751" y="981539"/>
                    <a:pt x="604059" y="984534"/>
                  </a:cubicBezTo>
                  <a:cubicBezTo>
                    <a:pt x="603368" y="987529"/>
                    <a:pt x="602677" y="990524"/>
                    <a:pt x="602101" y="993634"/>
                  </a:cubicBezTo>
                  <a:cubicBezTo>
                    <a:pt x="601525" y="996629"/>
                    <a:pt x="600834" y="999739"/>
                    <a:pt x="600258" y="1002849"/>
                  </a:cubicBezTo>
                  <a:cubicBezTo>
                    <a:pt x="599682" y="1005844"/>
                    <a:pt x="599106" y="1008724"/>
                    <a:pt x="598415" y="1011488"/>
                  </a:cubicBezTo>
                  <a:cubicBezTo>
                    <a:pt x="598069" y="1012756"/>
                    <a:pt x="597724" y="1014023"/>
                    <a:pt x="597494" y="1015175"/>
                  </a:cubicBezTo>
                  <a:cubicBezTo>
                    <a:pt x="597148" y="1016327"/>
                    <a:pt x="596802" y="1017478"/>
                    <a:pt x="596572" y="1018630"/>
                  </a:cubicBezTo>
                  <a:cubicBezTo>
                    <a:pt x="596226" y="1019667"/>
                    <a:pt x="595881" y="1020704"/>
                    <a:pt x="595650" y="1021625"/>
                  </a:cubicBezTo>
                  <a:cubicBezTo>
                    <a:pt x="595305" y="1022547"/>
                    <a:pt x="595075" y="1023238"/>
                    <a:pt x="594729" y="1023929"/>
                  </a:cubicBezTo>
                  <a:cubicBezTo>
                    <a:pt x="594499" y="1023584"/>
                    <a:pt x="594153" y="1023238"/>
                    <a:pt x="593923" y="1022777"/>
                  </a:cubicBezTo>
                  <a:cubicBezTo>
                    <a:pt x="593577" y="1022316"/>
                    <a:pt x="593231" y="1021856"/>
                    <a:pt x="593001" y="1021395"/>
                  </a:cubicBezTo>
                  <a:cubicBezTo>
                    <a:pt x="592655" y="1020934"/>
                    <a:pt x="592310" y="1020358"/>
                    <a:pt x="591964" y="1019782"/>
                  </a:cubicBezTo>
                  <a:cubicBezTo>
                    <a:pt x="591619" y="1019091"/>
                    <a:pt x="591273" y="1018515"/>
                    <a:pt x="590812" y="1017824"/>
                  </a:cubicBezTo>
                  <a:cubicBezTo>
                    <a:pt x="589661" y="1015751"/>
                    <a:pt x="588393" y="1013447"/>
                    <a:pt x="587126" y="1011028"/>
                  </a:cubicBezTo>
                  <a:cubicBezTo>
                    <a:pt x="585859" y="1008609"/>
                    <a:pt x="584477" y="1005959"/>
                    <a:pt x="583095" y="1003425"/>
                  </a:cubicBezTo>
                  <a:cubicBezTo>
                    <a:pt x="581712" y="1000776"/>
                    <a:pt x="580330" y="998127"/>
                    <a:pt x="578948" y="995362"/>
                  </a:cubicBezTo>
                  <a:cubicBezTo>
                    <a:pt x="577566" y="992713"/>
                    <a:pt x="576068" y="989948"/>
                    <a:pt x="574686" y="987529"/>
                  </a:cubicBezTo>
                  <a:cubicBezTo>
                    <a:pt x="573073" y="985110"/>
                    <a:pt x="571691" y="982576"/>
                    <a:pt x="570309" y="980157"/>
                  </a:cubicBezTo>
                  <a:cubicBezTo>
                    <a:pt x="568811" y="977738"/>
                    <a:pt x="567314" y="975319"/>
                    <a:pt x="565701" y="973245"/>
                  </a:cubicBezTo>
                  <a:cubicBezTo>
                    <a:pt x="563973" y="971172"/>
                    <a:pt x="562130" y="969214"/>
                    <a:pt x="559941" y="967831"/>
                  </a:cubicBezTo>
                  <a:cubicBezTo>
                    <a:pt x="557753" y="966334"/>
                    <a:pt x="555103" y="965182"/>
                    <a:pt x="551878" y="964721"/>
                  </a:cubicBezTo>
                  <a:cubicBezTo>
                    <a:pt x="549574" y="964836"/>
                    <a:pt x="547731" y="965412"/>
                    <a:pt x="546119" y="966334"/>
                  </a:cubicBezTo>
                  <a:cubicBezTo>
                    <a:pt x="544506" y="967140"/>
                    <a:pt x="543124" y="968292"/>
                    <a:pt x="541972" y="969559"/>
                  </a:cubicBezTo>
                  <a:cubicBezTo>
                    <a:pt x="540705" y="970826"/>
                    <a:pt x="539783" y="972209"/>
                    <a:pt x="538746" y="973821"/>
                  </a:cubicBezTo>
                  <a:cubicBezTo>
                    <a:pt x="537710" y="975319"/>
                    <a:pt x="536903" y="976816"/>
                    <a:pt x="536097" y="978314"/>
                  </a:cubicBezTo>
                  <a:cubicBezTo>
                    <a:pt x="534830" y="980733"/>
                    <a:pt x="533563" y="983497"/>
                    <a:pt x="532411" y="986262"/>
                  </a:cubicBezTo>
                  <a:cubicBezTo>
                    <a:pt x="531144" y="989026"/>
                    <a:pt x="530107" y="991906"/>
                    <a:pt x="528955" y="994786"/>
                  </a:cubicBezTo>
                  <a:cubicBezTo>
                    <a:pt x="527918" y="997666"/>
                    <a:pt x="526767" y="1000661"/>
                    <a:pt x="525730" y="1003425"/>
                  </a:cubicBezTo>
                  <a:cubicBezTo>
                    <a:pt x="524693" y="1006305"/>
                    <a:pt x="523656" y="1009070"/>
                    <a:pt x="522620" y="1011604"/>
                  </a:cubicBezTo>
                  <a:cubicBezTo>
                    <a:pt x="522044" y="1012871"/>
                    <a:pt x="521468" y="1014138"/>
                    <a:pt x="521007" y="1015290"/>
                  </a:cubicBezTo>
                  <a:cubicBezTo>
                    <a:pt x="520546" y="1016442"/>
                    <a:pt x="519970" y="1017594"/>
                    <a:pt x="519509" y="1018630"/>
                  </a:cubicBezTo>
                  <a:cubicBezTo>
                    <a:pt x="519049" y="1019667"/>
                    <a:pt x="518473" y="1020589"/>
                    <a:pt x="518127" y="1021395"/>
                  </a:cubicBezTo>
                  <a:cubicBezTo>
                    <a:pt x="517666" y="1022201"/>
                    <a:pt x="517206" y="1022892"/>
                    <a:pt x="516745" y="1023468"/>
                  </a:cubicBezTo>
                  <a:lnTo>
                    <a:pt x="516745" y="1023699"/>
                  </a:lnTo>
                  <a:cubicBezTo>
                    <a:pt x="515823" y="1022201"/>
                    <a:pt x="514902" y="1020128"/>
                    <a:pt x="513865" y="1017709"/>
                  </a:cubicBezTo>
                  <a:cubicBezTo>
                    <a:pt x="512828" y="1015290"/>
                    <a:pt x="511677" y="1012410"/>
                    <a:pt x="510525" y="1009415"/>
                  </a:cubicBezTo>
                  <a:cubicBezTo>
                    <a:pt x="509373" y="1006305"/>
                    <a:pt x="508106" y="1003080"/>
                    <a:pt x="506954" y="999624"/>
                  </a:cubicBezTo>
                  <a:cubicBezTo>
                    <a:pt x="505802" y="996283"/>
                    <a:pt x="504535" y="992943"/>
                    <a:pt x="503383" y="989602"/>
                  </a:cubicBezTo>
                  <a:cubicBezTo>
                    <a:pt x="501885" y="986262"/>
                    <a:pt x="500618" y="982806"/>
                    <a:pt x="499351" y="979466"/>
                  </a:cubicBezTo>
                  <a:cubicBezTo>
                    <a:pt x="498084" y="976240"/>
                    <a:pt x="496817" y="972900"/>
                    <a:pt x="495319" y="969905"/>
                  </a:cubicBezTo>
                  <a:cubicBezTo>
                    <a:pt x="493707" y="966910"/>
                    <a:pt x="491979" y="964145"/>
                    <a:pt x="489560" y="961611"/>
                  </a:cubicBezTo>
                  <a:cubicBezTo>
                    <a:pt x="487141" y="959192"/>
                    <a:pt x="484261" y="957119"/>
                    <a:pt x="480575" y="955621"/>
                  </a:cubicBezTo>
                  <a:lnTo>
                    <a:pt x="478156" y="955276"/>
                  </a:lnTo>
                  <a:cubicBezTo>
                    <a:pt x="474240" y="955852"/>
                    <a:pt x="471014" y="957234"/>
                    <a:pt x="468250" y="959077"/>
                  </a:cubicBezTo>
                  <a:cubicBezTo>
                    <a:pt x="465485" y="961035"/>
                    <a:pt x="463181" y="963569"/>
                    <a:pt x="460993" y="966334"/>
                  </a:cubicBezTo>
                  <a:cubicBezTo>
                    <a:pt x="458804" y="969214"/>
                    <a:pt x="456961" y="972439"/>
                    <a:pt x="455003" y="975664"/>
                  </a:cubicBezTo>
                  <a:cubicBezTo>
                    <a:pt x="453045" y="978890"/>
                    <a:pt x="450971" y="982345"/>
                    <a:pt x="448782" y="985455"/>
                  </a:cubicBezTo>
                  <a:cubicBezTo>
                    <a:pt x="447861" y="987068"/>
                    <a:pt x="446824" y="988681"/>
                    <a:pt x="445787" y="990293"/>
                  </a:cubicBezTo>
                  <a:cubicBezTo>
                    <a:pt x="444866" y="991906"/>
                    <a:pt x="443829" y="993519"/>
                    <a:pt x="442908" y="994901"/>
                  </a:cubicBezTo>
                  <a:cubicBezTo>
                    <a:pt x="441986" y="996399"/>
                    <a:pt x="440950" y="997781"/>
                    <a:pt x="440028" y="999163"/>
                  </a:cubicBezTo>
                  <a:cubicBezTo>
                    <a:pt x="439107" y="1000430"/>
                    <a:pt x="438300" y="1001697"/>
                    <a:pt x="437494" y="1002734"/>
                  </a:cubicBezTo>
                  <a:lnTo>
                    <a:pt x="434729" y="1005959"/>
                  </a:lnTo>
                  <a:cubicBezTo>
                    <a:pt x="434038" y="1004232"/>
                    <a:pt x="433347" y="1002043"/>
                    <a:pt x="432656" y="999394"/>
                  </a:cubicBezTo>
                  <a:cubicBezTo>
                    <a:pt x="431849" y="996744"/>
                    <a:pt x="431158" y="993749"/>
                    <a:pt x="430467" y="990409"/>
                  </a:cubicBezTo>
                  <a:cubicBezTo>
                    <a:pt x="429661" y="987183"/>
                    <a:pt x="428970" y="983612"/>
                    <a:pt x="428279" y="980041"/>
                  </a:cubicBezTo>
                  <a:cubicBezTo>
                    <a:pt x="427587" y="976471"/>
                    <a:pt x="426781" y="972785"/>
                    <a:pt x="426090" y="969214"/>
                  </a:cubicBezTo>
                  <a:cubicBezTo>
                    <a:pt x="425053" y="965528"/>
                    <a:pt x="424362" y="961957"/>
                    <a:pt x="423556" y="958386"/>
                  </a:cubicBezTo>
                  <a:cubicBezTo>
                    <a:pt x="422749" y="954815"/>
                    <a:pt x="421943" y="951359"/>
                    <a:pt x="420791" y="948134"/>
                  </a:cubicBezTo>
                  <a:cubicBezTo>
                    <a:pt x="419639" y="944908"/>
                    <a:pt x="418142" y="941798"/>
                    <a:pt x="416068" y="938918"/>
                  </a:cubicBezTo>
                  <a:cubicBezTo>
                    <a:pt x="413995" y="936039"/>
                    <a:pt x="411346" y="933505"/>
                    <a:pt x="407775" y="931201"/>
                  </a:cubicBezTo>
                  <a:lnTo>
                    <a:pt x="402476" y="929934"/>
                  </a:lnTo>
                  <a:cubicBezTo>
                    <a:pt x="398905" y="930279"/>
                    <a:pt x="395795" y="931201"/>
                    <a:pt x="393030" y="932583"/>
                  </a:cubicBezTo>
                  <a:cubicBezTo>
                    <a:pt x="390150" y="933965"/>
                    <a:pt x="387501" y="936039"/>
                    <a:pt x="384967" y="938227"/>
                  </a:cubicBezTo>
                  <a:cubicBezTo>
                    <a:pt x="382433" y="940531"/>
                    <a:pt x="380014" y="942950"/>
                    <a:pt x="377595" y="945600"/>
                  </a:cubicBezTo>
                  <a:cubicBezTo>
                    <a:pt x="375176" y="948249"/>
                    <a:pt x="372757" y="951013"/>
                    <a:pt x="370107" y="953548"/>
                  </a:cubicBezTo>
                  <a:cubicBezTo>
                    <a:pt x="368840" y="954930"/>
                    <a:pt x="367688" y="956197"/>
                    <a:pt x="366421" y="957464"/>
                  </a:cubicBezTo>
                  <a:cubicBezTo>
                    <a:pt x="365269" y="958731"/>
                    <a:pt x="364117" y="959998"/>
                    <a:pt x="362850" y="961150"/>
                  </a:cubicBezTo>
                  <a:cubicBezTo>
                    <a:pt x="361698" y="962302"/>
                    <a:pt x="360546" y="963454"/>
                    <a:pt x="359510" y="964491"/>
                  </a:cubicBezTo>
                  <a:cubicBezTo>
                    <a:pt x="358358" y="965528"/>
                    <a:pt x="357436" y="966564"/>
                    <a:pt x="356400" y="967371"/>
                  </a:cubicBezTo>
                  <a:lnTo>
                    <a:pt x="352138" y="970596"/>
                  </a:lnTo>
                  <a:cubicBezTo>
                    <a:pt x="351677" y="968753"/>
                    <a:pt x="351331" y="966449"/>
                    <a:pt x="350986" y="963684"/>
                  </a:cubicBezTo>
                  <a:cubicBezTo>
                    <a:pt x="350640" y="960920"/>
                    <a:pt x="350410" y="957810"/>
                    <a:pt x="350179" y="954469"/>
                  </a:cubicBezTo>
                  <a:cubicBezTo>
                    <a:pt x="349949" y="951129"/>
                    <a:pt x="349719" y="947558"/>
                    <a:pt x="349488" y="943872"/>
                  </a:cubicBezTo>
                  <a:cubicBezTo>
                    <a:pt x="349258" y="940186"/>
                    <a:pt x="349027" y="936499"/>
                    <a:pt x="348797" y="932929"/>
                  </a:cubicBezTo>
                  <a:cubicBezTo>
                    <a:pt x="348336" y="929127"/>
                    <a:pt x="348106" y="925441"/>
                    <a:pt x="347876" y="921870"/>
                  </a:cubicBezTo>
                  <a:cubicBezTo>
                    <a:pt x="347645" y="918299"/>
                    <a:pt x="347300" y="914728"/>
                    <a:pt x="346608" y="911158"/>
                  </a:cubicBezTo>
                  <a:cubicBezTo>
                    <a:pt x="345917" y="907702"/>
                    <a:pt x="344996" y="904246"/>
                    <a:pt x="343268" y="901021"/>
                  </a:cubicBezTo>
                  <a:cubicBezTo>
                    <a:pt x="341540" y="897795"/>
                    <a:pt x="339121" y="894570"/>
                    <a:pt x="335781" y="891575"/>
                  </a:cubicBezTo>
                  <a:cubicBezTo>
                    <a:pt x="335089" y="891114"/>
                    <a:pt x="334398" y="890769"/>
                    <a:pt x="333707" y="890423"/>
                  </a:cubicBezTo>
                  <a:cubicBezTo>
                    <a:pt x="333016" y="890078"/>
                    <a:pt x="332325" y="889847"/>
                    <a:pt x="331634" y="889617"/>
                  </a:cubicBezTo>
                  <a:cubicBezTo>
                    <a:pt x="330943" y="889387"/>
                    <a:pt x="330251" y="889271"/>
                    <a:pt x="329560" y="889156"/>
                  </a:cubicBezTo>
                  <a:cubicBezTo>
                    <a:pt x="328869" y="889041"/>
                    <a:pt x="328293" y="888926"/>
                    <a:pt x="327602" y="888926"/>
                  </a:cubicBezTo>
                  <a:cubicBezTo>
                    <a:pt x="324377" y="888926"/>
                    <a:pt x="321382" y="889617"/>
                    <a:pt x="318502" y="890538"/>
                  </a:cubicBezTo>
                  <a:cubicBezTo>
                    <a:pt x="315622" y="891460"/>
                    <a:pt x="312858" y="892842"/>
                    <a:pt x="310093" y="894455"/>
                  </a:cubicBezTo>
                  <a:cubicBezTo>
                    <a:pt x="307328" y="896068"/>
                    <a:pt x="304679" y="897795"/>
                    <a:pt x="301914" y="899754"/>
                  </a:cubicBezTo>
                  <a:cubicBezTo>
                    <a:pt x="299150" y="901597"/>
                    <a:pt x="296501" y="903555"/>
                    <a:pt x="293621" y="905513"/>
                  </a:cubicBezTo>
                  <a:cubicBezTo>
                    <a:pt x="291663" y="906895"/>
                    <a:pt x="289589" y="908393"/>
                    <a:pt x="287631" y="909660"/>
                  </a:cubicBezTo>
                  <a:cubicBezTo>
                    <a:pt x="285673" y="910927"/>
                    <a:pt x="283599" y="912309"/>
                    <a:pt x="281756" y="913346"/>
                  </a:cubicBezTo>
                  <a:cubicBezTo>
                    <a:pt x="279913" y="914498"/>
                    <a:pt x="278070" y="915420"/>
                    <a:pt x="276573" y="916341"/>
                  </a:cubicBezTo>
                  <a:cubicBezTo>
                    <a:pt x="274960" y="917147"/>
                    <a:pt x="273578" y="917839"/>
                    <a:pt x="272541" y="918299"/>
                  </a:cubicBezTo>
                  <a:lnTo>
                    <a:pt x="272311" y="915189"/>
                  </a:lnTo>
                  <a:cubicBezTo>
                    <a:pt x="272311" y="911964"/>
                    <a:pt x="272426" y="908047"/>
                    <a:pt x="272886" y="903785"/>
                  </a:cubicBezTo>
                  <a:cubicBezTo>
                    <a:pt x="273232" y="899523"/>
                    <a:pt x="273808" y="894916"/>
                    <a:pt x="274269" y="890078"/>
                  </a:cubicBezTo>
                  <a:cubicBezTo>
                    <a:pt x="274845" y="885240"/>
                    <a:pt x="275306" y="880286"/>
                    <a:pt x="275651" y="875564"/>
                  </a:cubicBezTo>
                  <a:cubicBezTo>
                    <a:pt x="275997" y="870841"/>
                    <a:pt x="276342" y="866118"/>
                    <a:pt x="276227" y="861741"/>
                  </a:cubicBezTo>
                  <a:cubicBezTo>
                    <a:pt x="276227" y="859898"/>
                    <a:pt x="275997" y="857939"/>
                    <a:pt x="275881" y="855981"/>
                  </a:cubicBezTo>
                  <a:cubicBezTo>
                    <a:pt x="275651" y="854023"/>
                    <a:pt x="275421" y="852065"/>
                    <a:pt x="274960" y="849991"/>
                  </a:cubicBezTo>
                  <a:cubicBezTo>
                    <a:pt x="274499" y="847918"/>
                    <a:pt x="273808" y="845960"/>
                    <a:pt x="272771" y="843886"/>
                  </a:cubicBezTo>
                  <a:cubicBezTo>
                    <a:pt x="271619" y="841928"/>
                    <a:pt x="270237" y="839855"/>
                    <a:pt x="268394" y="837781"/>
                  </a:cubicBezTo>
                  <a:cubicBezTo>
                    <a:pt x="267357" y="836860"/>
                    <a:pt x="266436" y="836168"/>
                    <a:pt x="265284" y="835477"/>
                  </a:cubicBezTo>
                  <a:cubicBezTo>
                    <a:pt x="264132" y="834786"/>
                    <a:pt x="263210" y="834325"/>
                    <a:pt x="262174" y="833980"/>
                  </a:cubicBezTo>
                  <a:cubicBezTo>
                    <a:pt x="261137" y="833634"/>
                    <a:pt x="260100" y="833289"/>
                    <a:pt x="259179" y="833174"/>
                  </a:cubicBezTo>
                  <a:cubicBezTo>
                    <a:pt x="258142" y="833058"/>
                    <a:pt x="257221" y="832828"/>
                    <a:pt x="256414" y="832828"/>
                  </a:cubicBezTo>
                  <a:cubicBezTo>
                    <a:pt x="251691" y="832828"/>
                    <a:pt x="246623" y="833865"/>
                    <a:pt x="241209" y="835362"/>
                  </a:cubicBezTo>
                  <a:cubicBezTo>
                    <a:pt x="235910" y="836860"/>
                    <a:pt x="230381" y="839048"/>
                    <a:pt x="225082" y="841122"/>
                  </a:cubicBezTo>
                  <a:cubicBezTo>
                    <a:pt x="219784" y="843310"/>
                    <a:pt x="214715" y="845499"/>
                    <a:pt x="210338" y="847227"/>
                  </a:cubicBezTo>
                  <a:cubicBezTo>
                    <a:pt x="205846" y="848955"/>
                    <a:pt x="202044" y="850222"/>
                    <a:pt x="199395" y="850567"/>
                  </a:cubicBezTo>
                  <a:cubicBezTo>
                    <a:pt x="199395" y="847457"/>
                    <a:pt x="200316" y="843080"/>
                    <a:pt x="201584" y="838242"/>
                  </a:cubicBezTo>
                  <a:cubicBezTo>
                    <a:pt x="202735" y="833404"/>
                    <a:pt x="204463" y="827760"/>
                    <a:pt x="206076" y="822000"/>
                  </a:cubicBezTo>
                  <a:cubicBezTo>
                    <a:pt x="207689" y="816241"/>
                    <a:pt x="209301" y="810251"/>
                    <a:pt x="210568" y="804491"/>
                  </a:cubicBezTo>
                  <a:cubicBezTo>
                    <a:pt x="211835" y="798732"/>
                    <a:pt x="212642" y="792972"/>
                    <a:pt x="212757" y="787904"/>
                  </a:cubicBezTo>
                  <a:cubicBezTo>
                    <a:pt x="212757" y="786637"/>
                    <a:pt x="212757" y="785369"/>
                    <a:pt x="212642" y="784102"/>
                  </a:cubicBezTo>
                  <a:cubicBezTo>
                    <a:pt x="212527" y="782835"/>
                    <a:pt x="212296" y="781453"/>
                    <a:pt x="211951" y="780071"/>
                  </a:cubicBezTo>
                  <a:cubicBezTo>
                    <a:pt x="211605" y="778688"/>
                    <a:pt x="211144" y="777306"/>
                    <a:pt x="210453" y="775924"/>
                  </a:cubicBezTo>
                  <a:cubicBezTo>
                    <a:pt x="209762" y="774542"/>
                    <a:pt x="208956" y="773159"/>
                    <a:pt x="207919" y="771777"/>
                  </a:cubicBezTo>
                  <a:cubicBezTo>
                    <a:pt x="206537" y="770049"/>
                    <a:pt x="205154" y="768782"/>
                    <a:pt x="203657" y="767745"/>
                  </a:cubicBezTo>
                  <a:cubicBezTo>
                    <a:pt x="202159" y="766709"/>
                    <a:pt x="200662" y="765902"/>
                    <a:pt x="199280" y="765326"/>
                  </a:cubicBezTo>
                  <a:cubicBezTo>
                    <a:pt x="197782" y="764750"/>
                    <a:pt x="196400" y="764405"/>
                    <a:pt x="194902" y="764059"/>
                  </a:cubicBezTo>
                  <a:cubicBezTo>
                    <a:pt x="193520" y="763829"/>
                    <a:pt x="192023" y="763598"/>
                    <a:pt x="190756" y="763483"/>
                  </a:cubicBezTo>
                  <a:cubicBezTo>
                    <a:pt x="186378" y="763253"/>
                    <a:pt x="181656" y="763483"/>
                    <a:pt x="176702" y="764174"/>
                  </a:cubicBezTo>
                  <a:cubicBezTo>
                    <a:pt x="171749" y="764750"/>
                    <a:pt x="166681" y="765672"/>
                    <a:pt x="161728" y="766478"/>
                  </a:cubicBezTo>
                  <a:cubicBezTo>
                    <a:pt x="156774" y="767285"/>
                    <a:pt x="151936" y="768206"/>
                    <a:pt x="147674" y="768782"/>
                  </a:cubicBezTo>
                  <a:cubicBezTo>
                    <a:pt x="143412" y="769358"/>
                    <a:pt x="139611" y="769704"/>
                    <a:pt x="136616" y="769473"/>
                  </a:cubicBezTo>
                  <a:cubicBezTo>
                    <a:pt x="136616" y="769473"/>
                    <a:pt x="136501" y="769473"/>
                    <a:pt x="136386" y="769473"/>
                  </a:cubicBezTo>
                  <a:lnTo>
                    <a:pt x="136155" y="769473"/>
                  </a:lnTo>
                  <a:cubicBezTo>
                    <a:pt x="136155" y="769473"/>
                    <a:pt x="136155" y="769473"/>
                    <a:pt x="135925" y="769473"/>
                  </a:cubicBezTo>
                  <a:lnTo>
                    <a:pt x="135694" y="769473"/>
                  </a:lnTo>
                  <a:cubicBezTo>
                    <a:pt x="136040" y="768206"/>
                    <a:pt x="136616" y="766593"/>
                    <a:pt x="137307" y="764865"/>
                  </a:cubicBezTo>
                  <a:cubicBezTo>
                    <a:pt x="137998" y="763022"/>
                    <a:pt x="138805" y="760949"/>
                    <a:pt x="139726" y="758760"/>
                  </a:cubicBezTo>
                  <a:cubicBezTo>
                    <a:pt x="140648" y="756572"/>
                    <a:pt x="141684" y="754268"/>
                    <a:pt x="142836" y="751964"/>
                  </a:cubicBezTo>
                  <a:cubicBezTo>
                    <a:pt x="143988" y="749660"/>
                    <a:pt x="145140" y="747241"/>
                    <a:pt x="146407" y="744938"/>
                  </a:cubicBezTo>
                  <a:cubicBezTo>
                    <a:pt x="147905" y="741827"/>
                    <a:pt x="149517" y="738717"/>
                    <a:pt x="150900" y="735607"/>
                  </a:cubicBezTo>
                  <a:cubicBezTo>
                    <a:pt x="152397" y="732612"/>
                    <a:pt x="153779" y="729502"/>
                    <a:pt x="155047" y="726507"/>
                  </a:cubicBezTo>
                  <a:cubicBezTo>
                    <a:pt x="156314" y="723512"/>
                    <a:pt x="157350" y="720402"/>
                    <a:pt x="158157" y="717292"/>
                  </a:cubicBezTo>
                  <a:cubicBezTo>
                    <a:pt x="158963" y="714182"/>
                    <a:pt x="159424" y="710841"/>
                    <a:pt x="159539" y="707501"/>
                  </a:cubicBezTo>
                  <a:cubicBezTo>
                    <a:pt x="159539" y="706694"/>
                    <a:pt x="159539" y="705773"/>
                    <a:pt x="159424" y="704966"/>
                  </a:cubicBezTo>
                  <a:cubicBezTo>
                    <a:pt x="159424" y="704045"/>
                    <a:pt x="159193" y="703123"/>
                    <a:pt x="158963" y="702202"/>
                  </a:cubicBezTo>
                  <a:cubicBezTo>
                    <a:pt x="158733" y="701165"/>
                    <a:pt x="158502" y="700244"/>
                    <a:pt x="158157" y="699207"/>
                  </a:cubicBezTo>
                  <a:cubicBezTo>
                    <a:pt x="157811" y="698170"/>
                    <a:pt x="157350" y="697133"/>
                    <a:pt x="156774" y="696097"/>
                  </a:cubicBezTo>
                  <a:cubicBezTo>
                    <a:pt x="154701" y="692987"/>
                    <a:pt x="152512" y="690798"/>
                    <a:pt x="150209" y="689070"/>
                  </a:cubicBezTo>
                  <a:cubicBezTo>
                    <a:pt x="147905" y="687342"/>
                    <a:pt x="145601" y="686306"/>
                    <a:pt x="143297" y="685384"/>
                  </a:cubicBezTo>
                  <a:cubicBezTo>
                    <a:pt x="140878" y="684578"/>
                    <a:pt x="138459" y="684117"/>
                    <a:pt x="136040" y="683771"/>
                  </a:cubicBezTo>
                  <a:cubicBezTo>
                    <a:pt x="133621" y="683426"/>
                    <a:pt x="131202" y="683195"/>
                    <a:pt x="128668" y="682735"/>
                  </a:cubicBezTo>
                  <a:cubicBezTo>
                    <a:pt x="125903" y="682504"/>
                    <a:pt x="123024" y="682274"/>
                    <a:pt x="120144" y="682159"/>
                  </a:cubicBezTo>
                  <a:cubicBezTo>
                    <a:pt x="117264" y="682044"/>
                    <a:pt x="114384" y="681928"/>
                    <a:pt x="111389" y="681813"/>
                  </a:cubicBezTo>
                  <a:cubicBezTo>
                    <a:pt x="108510" y="681813"/>
                    <a:pt x="105630" y="681698"/>
                    <a:pt x="102865" y="681468"/>
                  </a:cubicBezTo>
                  <a:cubicBezTo>
                    <a:pt x="100101" y="681352"/>
                    <a:pt x="97451" y="681122"/>
                    <a:pt x="94917" y="680892"/>
                  </a:cubicBezTo>
                  <a:cubicBezTo>
                    <a:pt x="94802" y="680892"/>
                    <a:pt x="94571" y="680892"/>
                    <a:pt x="94571" y="680892"/>
                  </a:cubicBezTo>
                  <a:cubicBezTo>
                    <a:pt x="94341" y="680892"/>
                    <a:pt x="94226" y="680892"/>
                    <a:pt x="94111" y="680892"/>
                  </a:cubicBezTo>
                  <a:cubicBezTo>
                    <a:pt x="93996" y="680892"/>
                    <a:pt x="93765" y="680892"/>
                    <a:pt x="93650" y="680892"/>
                  </a:cubicBezTo>
                  <a:cubicBezTo>
                    <a:pt x="93535" y="680892"/>
                    <a:pt x="93304" y="680892"/>
                    <a:pt x="93189" y="680892"/>
                  </a:cubicBezTo>
                  <a:cubicBezTo>
                    <a:pt x="92268" y="680892"/>
                    <a:pt x="91461" y="680776"/>
                    <a:pt x="90540" y="680661"/>
                  </a:cubicBezTo>
                  <a:cubicBezTo>
                    <a:pt x="89733" y="680661"/>
                    <a:pt x="88927" y="680431"/>
                    <a:pt x="88236" y="680316"/>
                  </a:cubicBezTo>
                  <a:cubicBezTo>
                    <a:pt x="87545" y="680200"/>
                    <a:pt x="86854" y="680085"/>
                    <a:pt x="86163" y="679970"/>
                  </a:cubicBezTo>
                  <a:cubicBezTo>
                    <a:pt x="85471" y="679970"/>
                    <a:pt x="84895" y="679740"/>
                    <a:pt x="84319" y="679625"/>
                  </a:cubicBezTo>
                  <a:cubicBezTo>
                    <a:pt x="84895" y="678473"/>
                    <a:pt x="85702" y="677090"/>
                    <a:pt x="86623" y="675478"/>
                  </a:cubicBezTo>
                  <a:cubicBezTo>
                    <a:pt x="87660" y="673865"/>
                    <a:pt x="88697" y="672022"/>
                    <a:pt x="89964" y="670179"/>
                  </a:cubicBezTo>
                  <a:cubicBezTo>
                    <a:pt x="91231" y="668336"/>
                    <a:pt x="92728" y="666262"/>
                    <a:pt x="94226" y="664189"/>
                  </a:cubicBezTo>
                  <a:cubicBezTo>
                    <a:pt x="95723" y="662231"/>
                    <a:pt x="97336" y="660157"/>
                    <a:pt x="98949" y="658084"/>
                  </a:cubicBezTo>
                  <a:cubicBezTo>
                    <a:pt x="101137" y="655089"/>
                    <a:pt x="103326" y="652209"/>
                    <a:pt x="105515" y="649445"/>
                  </a:cubicBezTo>
                  <a:cubicBezTo>
                    <a:pt x="107588" y="646680"/>
                    <a:pt x="109777" y="643915"/>
                    <a:pt x="111620" y="641036"/>
                  </a:cubicBezTo>
                  <a:cubicBezTo>
                    <a:pt x="113463" y="638156"/>
                    <a:pt x="115075" y="635161"/>
                    <a:pt x="116342" y="631936"/>
                  </a:cubicBezTo>
                  <a:cubicBezTo>
                    <a:pt x="117610" y="628710"/>
                    <a:pt x="118416" y="625255"/>
                    <a:pt x="118761" y="621453"/>
                  </a:cubicBezTo>
                  <a:cubicBezTo>
                    <a:pt x="118761" y="620877"/>
                    <a:pt x="118761" y="620186"/>
                    <a:pt x="118761" y="619610"/>
                  </a:cubicBezTo>
                  <a:cubicBezTo>
                    <a:pt x="118761" y="619034"/>
                    <a:pt x="118761" y="618343"/>
                    <a:pt x="118531" y="617767"/>
                  </a:cubicBezTo>
                  <a:cubicBezTo>
                    <a:pt x="118531" y="617076"/>
                    <a:pt x="118301" y="616500"/>
                    <a:pt x="118186" y="615809"/>
                  </a:cubicBezTo>
                  <a:cubicBezTo>
                    <a:pt x="117955" y="615233"/>
                    <a:pt x="117840" y="614542"/>
                    <a:pt x="117610" y="613851"/>
                  </a:cubicBezTo>
                  <a:cubicBezTo>
                    <a:pt x="116342" y="611086"/>
                    <a:pt x="114845" y="608782"/>
                    <a:pt x="113232" y="606939"/>
                  </a:cubicBezTo>
                  <a:cubicBezTo>
                    <a:pt x="111620" y="605096"/>
                    <a:pt x="110007" y="603714"/>
                    <a:pt x="108164" y="602447"/>
                  </a:cubicBezTo>
                  <a:cubicBezTo>
                    <a:pt x="106321" y="601295"/>
                    <a:pt x="104478" y="600373"/>
                    <a:pt x="102635" y="599567"/>
                  </a:cubicBezTo>
                  <a:cubicBezTo>
                    <a:pt x="100792" y="598761"/>
                    <a:pt x="98949" y="598070"/>
                    <a:pt x="97106" y="597378"/>
                  </a:cubicBezTo>
                  <a:cubicBezTo>
                    <a:pt x="94341" y="596342"/>
                    <a:pt x="91346" y="595420"/>
                    <a:pt x="88236" y="594614"/>
                  </a:cubicBezTo>
                  <a:cubicBezTo>
                    <a:pt x="85241" y="593807"/>
                    <a:pt x="82016" y="593001"/>
                    <a:pt x="78906" y="592310"/>
                  </a:cubicBezTo>
                  <a:cubicBezTo>
                    <a:pt x="75795" y="591619"/>
                    <a:pt x="72685" y="590928"/>
                    <a:pt x="69575" y="590237"/>
                  </a:cubicBezTo>
                  <a:cubicBezTo>
                    <a:pt x="66465" y="589545"/>
                    <a:pt x="63470" y="588854"/>
                    <a:pt x="60705" y="588163"/>
                  </a:cubicBezTo>
                  <a:cubicBezTo>
                    <a:pt x="59323" y="587818"/>
                    <a:pt x="58056" y="587472"/>
                    <a:pt x="56789" y="587011"/>
                  </a:cubicBezTo>
                  <a:cubicBezTo>
                    <a:pt x="55522" y="586666"/>
                    <a:pt x="54370" y="586205"/>
                    <a:pt x="53218" y="585859"/>
                  </a:cubicBezTo>
                  <a:cubicBezTo>
                    <a:pt x="52066" y="585514"/>
                    <a:pt x="51029" y="585053"/>
                    <a:pt x="50108" y="584707"/>
                  </a:cubicBezTo>
                  <a:cubicBezTo>
                    <a:pt x="49186" y="584362"/>
                    <a:pt x="48265" y="583901"/>
                    <a:pt x="47574" y="583671"/>
                  </a:cubicBezTo>
                  <a:cubicBezTo>
                    <a:pt x="48380" y="582634"/>
                    <a:pt x="49532" y="581367"/>
                    <a:pt x="51029" y="579869"/>
                  </a:cubicBezTo>
                  <a:cubicBezTo>
                    <a:pt x="52412" y="578487"/>
                    <a:pt x="54140" y="576759"/>
                    <a:pt x="55867" y="575147"/>
                  </a:cubicBezTo>
                  <a:cubicBezTo>
                    <a:pt x="57710" y="573419"/>
                    <a:pt x="59669" y="571691"/>
                    <a:pt x="61742" y="569963"/>
                  </a:cubicBezTo>
                  <a:cubicBezTo>
                    <a:pt x="63816" y="568235"/>
                    <a:pt x="65889" y="566507"/>
                    <a:pt x="68078" y="564779"/>
                  </a:cubicBezTo>
                  <a:cubicBezTo>
                    <a:pt x="70612" y="562245"/>
                    <a:pt x="73261" y="560057"/>
                    <a:pt x="75911" y="557753"/>
                  </a:cubicBezTo>
                  <a:cubicBezTo>
                    <a:pt x="78445" y="555564"/>
                    <a:pt x="80979" y="553260"/>
                    <a:pt x="83168" y="550957"/>
                  </a:cubicBezTo>
                  <a:cubicBezTo>
                    <a:pt x="85356" y="548538"/>
                    <a:pt x="87314" y="546003"/>
                    <a:pt x="88927" y="543008"/>
                  </a:cubicBezTo>
                  <a:cubicBezTo>
                    <a:pt x="90425" y="540014"/>
                    <a:pt x="91577" y="536673"/>
                    <a:pt x="92152" y="532641"/>
                  </a:cubicBezTo>
                  <a:lnTo>
                    <a:pt x="91807" y="528725"/>
                  </a:lnTo>
                  <a:cubicBezTo>
                    <a:pt x="90885" y="525845"/>
                    <a:pt x="89849" y="523311"/>
                    <a:pt x="88582" y="521353"/>
                  </a:cubicBezTo>
                  <a:cubicBezTo>
                    <a:pt x="87314" y="519279"/>
                    <a:pt x="85817" y="517551"/>
                    <a:pt x="84204" y="516054"/>
                  </a:cubicBezTo>
                  <a:cubicBezTo>
                    <a:pt x="82707" y="514672"/>
                    <a:pt x="80979" y="513404"/>
                    <a:pt x="79251" y="512253"/>
                  </a:cubicBezTo>
                  <a:cubicBezTo>
                    <a:pt x="77523" y="511101"/>
                    <a:pt x="75795" y="510179"/>
                    <a:pt x="74183" y="509027"/>
                  </a:cubicBezTo>
                  <a:cubicBezTo>
                    <a:pt x="71533" y="507530"/>
                    <a:pt x="68654" y="506147"/>
                    <a:pt x="65774" y="504765"/>
                  </a:cubicBezTo>
                  <a:cubicBezTo>
                    <a:pt x="62894" y="503383"/>
                    <a:pt x="59899" y="502116"/>
                    <a:pt x="56789" y="500733"/>
                  </a:cubicBezTo>
                  <a:cubicBezTo>
                    <a:pt x="53794" y="499466"/>
                    <a:pt x="50799" y="498084"/>
                    <a:pt x="47919" y="496817"/>
                  </a:cubicBezTo>
                  <a:cubicBezTo>
                    <a:pt x="45040" y="495550"/>
                    <a:pt x="42160" y="494283"/>
                    <a:pt x="39510" y="493016"/>
                  </a:cubicBezTo>
                  <a:cubicBezTo>
                    <a:pt x="38128" y="492440"/>
                    <a:pt x="36861" y="491864"/>
                    <a:pt x="35709" y="491288"/>
                  </a:cubicBezTo>
                  <a:cubicBezTo>
                    <a:pt x="34442" y="490712"/>
                    <a:pt x="33405" y="490136"/>
                    <a:pt x="32253" y="489560"/>
                  </a:cubicBezTo>
                  <a:cubicBezTo>
                    <a:pt x="31217" y="488984"/>
                    <a:pt x="30295" y="488523"/>
                    <a:pt x="29374" y="487947"/>
                  </a:cubicBezTo>
                  <a:cubicBezTo>
                    <a:pt x="28452" y="487371"/>
                    <a:pt x="27761" y="486911"/>
                    <a:pt x="27070" y="486450"/>
                  </a:cubicBezTo>
                  <a:cubicBezTo>
                    <a:pt x="27991" y="485644"/>
                    <a:pt x="29374" y="484722"/>
                    <a:pt x="30986" y="483570"/>
                  </a:cubicBezTo>
                  <a:cubicBezTo>
                    <a:pt x="32599" y="482533"/>
                    <a:pt x="34557" y="481266"/>
                    <a:pt x="36631" y="480114"/>
                  </a:cubicBezTo>
                  <a:cubicBezTo>
                    <a:pt x="38704" y="478847"/>
                    <a:pt x="41008" y="477580"/>
                    <a:pt x="43312" y="476313"/>
                  </a:cubicBezTo>
                  <a:cubicBezTo>
                    <a:pt x="45615" y="475046"/>
                    <a:pt x="48034" y="473894"/>
                    <a:pt x="50453" y="472742"/>
                  </a:cubicBezTo>
                  <a:cubicBezTo>
                    <a:pt x="53448" y="470784"/>
                    <a:pt x="56559" y="469171"/>
                    <a:pt x="59554" y="467559"/>
                  </a:cubicBezTo>
                  <a:cubicBezTo>
                    <a:pt x="62548" y="465946"/>
                    <a:pt x="65543" y="464448"/>
                    <a:pt x="68193" y="462490"/>
                  </a:cubicBezTo>
                  <a:cubicBezTo>
                    <a:pt x="70842" y="460647"/>
                    <a:pt x="73261" y="458459"/>
                    <a:pt x="75219" y="455809"/>
                  </a:cubicBezTo>
                  <a:cubicBezTo>
                    <a:pt x="77178" y="453045"/>
                    <a:pt x="78675" y="449819"/>
                    <a:pt x="79482" y="445672"/>
                  </a:cubicBezTo>
                  <a:lnTo>
                    <a:pt x="79712" y="444520"/>
                  </a:lnTo>
                  <a:lnTo>
                    <a:pt x="79712" y="443369"/>
                  </a:lnTo>
                  <a:cubicBezTo>
                    <a:pt x="79251" y="440604"/>
                    <a:pt x="78560" y="438185"/>
                    <a:pt x="77638" y="436112"/>
                  </a:cubicBezTo>
                  <a:cubicBezTo>
                    <a:pt x="76717" y="434038"/>
                    <a:pt x="75565" y="432195"/>
                    <a:pt x="74183" y="430582"/>
                  </a:cubicBezTo>
                  <a:cubicBezTo>
                    <a:pt x="72800" y="428970"/>
                    <a:pt x="71418" y="427472"/>
                    <a:pt x="69806" y="426090"/>
                  </a:cubicBezTo>
                  <a:cubicBezTo>
                    <a:pt x="68308" y="424708"/>
                    <a:pt x="66695" y="423441"/>
                    <a:pt x="65198" y="422173"/>
                  </a:cubicBezTo>
                  <a:cubicBezTo>
                    <a:pt x="62894" y="420215"/>
                    <a:pt x="60360" y="418372"/>
                    <a:pt x="57710" y="416644"/>
                  </a:cubicBezTo>
                  <a:cubicBezTo>
                    <a:pt x="55061" y="414801"/>
                    <a:pt x="52297" y="413074"/>
                    <a:pt x="49532" y="411230"/>
                  </a:cubicBezTo>
                  <a:cubicBezTo>
                    <a:pt x="46767" y="409503"/>
                    <a:pt x="44003" y="407660"/>
                    <a:pt x="41353" y="406047"/>
                  </a:cubicBezTo>
                  <a:cubicBezTo>
                    <a:pt x="38704" y="404319"/>
                    <a:pt x="36055" y="402706"/>
                    <a:pt x="33636" y="400978"/>
                  </a:cubicBezTo>
                  <a:cubicBezTo>
                    <a:pt x="32369" y="400172"/>
                    <a:pt x="31217" y="399366"/>
                    <a:pt x="30065" y="398559"/>
                  </a:cubicBezTo>
                  <a:cubicBezTo>
                    <a:pt x="29028" y="397753"/>
                    <a:pt x="27991" y="396947"/>
                    <a:pt x="26955" y="396256"/>
                  </a:cubicBezTo>
                  <a:cubicBezTo>
                    <a:pt x="25918" y="395564"/>
                    <a:pt x="25112" y="394873"/>
                    <a:pt x="24305" y="394182"/>
                  </a:cubicBezTo>
                  <a:cubicBezTo>
                    <a:pt x="23499" y="393606"/>
                    <a:pt x="22808" y="392915"/>
                    <a:pt x="22232" y="392339"/>
                  </a:cubicBezTo>
                  <a:cubicBezTo>
                    <a:pt x="23499" y="391533"/>
                    <a:pt x="25342" y="390726"/>
                    <a:pt x="27531" y="389920"/>
                  </a:cubicBezTo>
                  <a:cubicBezTo>
                    <a:pt x="29719" y="389114"/>
                    <a:pt x="32253" y="388308"/>
                    <a:pt x="35018" y="387501"/>
                  </a:cubicBezTo>
                  <a:cubicBezTo>
                    <a:pt x="37783" y="386695"/>
                    <a:pt x="40662" y="385889"/>
                    <a:pt x="43772" y="384967"/>
                  </a:cubicBezTo>
                  <a:cubicBezTo>
                    <a:pt x="46767" y="384161"/>
                    <a:pt x="49762" y="383239"/>
                    <a:pt x="52757" y="382433"/>
                  </a:cubicBezTo>
                  <a:cubicBezTo>
                    <a:pt x="55637" y="381281"/>
                    <a:pt x="58632" y="380475"/>
                    <a:pt x="61627" y="379553"/>
                  </a:cubicBezTo>
                  <a:cubicBezTo>
                    <a:pt x="64507" y="378631"/>
                    <a:pt x="67386" y="377710"/>
                    <a:pt x="69921" y="376443"/>
                  </a:cubicBezTo>
                  <a:cubicBezTo>
                    <a:pt x="72455" y="375176"/>
                    <a:pt x="74874" y="373563"/>
                    <a:pt x="76832" y="371259"/>
                  </a:cubicBezTo>
                  <a:cubicBezTo>
                    <a:pt x="78790" y="368955"/>
                    <a:pt x="80403" y="366076"/>
                    <a:pt x="81440" y="362159"/>
                  </a:cubicBezTo>
                  <a:lnTo>
                    <a:pt x="81670" y="360892"/>
                  </a:lnTo>
                  <a:cubicBezTo>
                    <a:pt x="81555" y="358358"/>
                    <a:pt x="81094" y="356169"/>
                    <a:pt x="80403" y="354211"/>
                  </a:cubicBezTo>
                  <a:cubicBezTo>
                    <a:pt x="79712" y="352253"/>
                    <a:pt x="78790" y="350410"/>
                    <a:pt x="77754" y="348682"/>
                  </a:cubicBezTo>
                  <a:cubicBezTo>
                    <a:pt x="76717" y="346954"/>
                    <a:pt x="75565" y="345457"/>
                    <a:pt x="74298" y="343959"/>
                  </a:cubicBezTo>
                  <a:cubicBezTo>
                    <a:pt x="73031" y="342462"/>
                    <a:pt x="71764" y="340964"/>
                    <a:pt x="70497" y="339582"/>
                  </a:cubicBezTo>
                  <a:cubicBezTo>
                    <a:pt x="68538" y="337508"/>
                    <a:pt x="66350" y="335320"/>
                    <a:pt x="64161" y="333131"/>
                  </a:cubicBezTo>
                  <a:cubicBezTo>
                    <a:pt x="61857" y="330943"/>
                    <a:pt x="59554" y="328869"/>
                    <a:pt x="57250" y="326796"/>
                  </a:cubicBezTo>
                  <a:cubicBezTo>
                    <a:pt x="54831" y="324722"/>
                    <a:pt x="52527" y="322649"/>
                    <a:pt x="50223" y="320691"/>
                  </a:cubicBezTo>
                  <a:cubicBezTo>
                    <a:pt x="47919" y="318732"/>
                    <a:pt x="45615" y="316774"/>
                    <a:pt x="43542" y="314931"/>
                  </a:cubicBezTo>
                  <a:cubicBezTo>
                    <a:pt x="42505" y="313894"/>
                    <a:pt x="41469" y="312973"/>
                    <a:pt x="40547" y="312051"/>
                  </a:cubicBezTo>
                  <a:cubicBezTo>
                    <a:pt x="39626" y="311130"/>
                    <a:pt x="38704" y="310208"/>
                    <a:pt x="37898" y="309402"/>
                  </a:cubicBezTo>
                  <a:cubicBezTo>
                    <a:pt x="37091" y="308596"/>
                    <a:pt x="36285" y="307789"/>
                    <a:pt x="35594" y="306983"/>
                  </a:cubicBezTo>
                  <a:cubicBezTo>
                    <a:pt x="34903" y="306177"/>
                    <a:pt x="34327" y="305485"/>
                    <a:pt x="33866" y="304909"/>
                  </a:cubicBezTo>
                  <a:lnTo>
                    <a:pt x="33520" y="304449"/>
                  </a:lnTo>
                  <a:cubicBezTo>
                    <a:pt x="35018" y="303988"/>
                    <a:pt x="36861" y="303642"/>
                    <a:pt x="39165" y="303297"/>
                  </a:cubicBezTo>
                  <a:cubicBezTo>
                    <a:pt x="41469" y="302951"/>
                    <a:pt x="44118" y="302721"/>
                    <a:pt x="46883" y="302490"/>
                  </a:cubicBezTo>
                  <a:cubicBezTo>
                    <a:pt x="49647" y="302145"/>
                    <a:pt x="52642" y="302030"/>
                    <a:pt x="55752" y="301799"/>
                  </a:cubicBezTo>
                  <a:cubicBezTo>
                    <a:pt x="58747" y="301569"/>
                    <a:pt x="61857" y="301339"/>
                    <a:pt x="64852" y="301108"/>
                  </a:cubicBezTo>
                  <a:cubicBezTo>
                    <a:pt x="67847" y="300647"/>
                    <a:pt x="70957" y="300302"/>
                    <a:pt x="74068" y="300071"/>
                  </a:cubicBezTo>
                  <a:cubicBezTo>
                    <a:pt x="77062" y="299841"/>
                    <a:pt x="80057" y="299380"/>
                    <a:pt x="82822" y="298689"/>
                  </a:cubicBezTo>
                  <a:cubicBezTo>
                    <a:pt x="85587" y="297998"/>
                    <a:pt x="88121" y="296961"/>
                    <a:pt x="90425" y="295233"/>
                  </a:cubicBezTo>
                  <a:cubicBezTo>
                    <a:pt x="92728" y="293506"/>
                    <a:pt x="94687" y="291087"/>
                    <a:pt x="96415" y="287746"/>
                  </a:cubicBezTo>
                  <a:lnTo>
                    <a:pt x="96990" y="283945"/>
                  </a:lnTo>
                  <a:cubicBezTo>
                    <a:pt x="96645" y="280028"/>
                    <a:pt x="95608" y="276457"/>
                    <a:pt x="94111" y="273232"/>
                  </a:cubicBezTo>
                  <a:cubicBezTo>
                    <a:pt x="92613" y="269892"/>
                    <a:pt x="90770" y="266897"/>
                    <a:pt x="88582" y="263902"/>
                  </a:cubicBezTo>
                  <a:cubicBezTo>
                    <a:pt x="86393" y="261022"/>
                    <a:pt x="83974" y="258142"/>
                    <a:pt x="81440" y="255262"/>
                  </a:cubicBezTo>
                  <a:cubicBezTo>
                    <a:pt x="78906" y="252383"/>
                    <a:pt x="76371" y="249503"/>
                    <a:pt x="73952" y="246393"/>
                  </a:cubicBezTo>
                  <a:cubicBezTo>
                    <a:pt x="72685" y="244895"/>
                    <a:pt x="71418" y="243398"/>
                    <a:pt x="70266" y="242015"/>
                  </a:cubicBezTo>
                  <a:cubicBezTo>
                    <a:pt x="69114" y="240518"/>
                    <a:pt x="67847" y="239136"/>
                    <a:pt x="66811" y="237753"/>
                  </a:cubicBezTo>
                  <a:cubicBezTo>
                    <a:pt x="65659" y="236371"/>
                    <a:pt x="64622" y="235104"/>
                    <a:pt x="63585" y="233837"/>
                  </a:cubicBezTo>
                  <a:cubicBezTo>
                    <a:pt x="62664" y="232570"/>
                    <a:pt x="61742" y="231418"/>
                    <a:pt x="60936" y="230266"/>
                  </a:cubicBezTo>
                  <a:lnTo>
                    <a:pt x="58286" y="226119"/>
                  </a:lnTo>
                  <a:cubicBezTo>
                    <a:pt x="59669" y="225889"/>
                    <a:pt x="61627" y="225889"/>
                    <a:pt x="63931" y="225889"/>
                  </a:cubicBezTo>
                  <a:cubicBezTo>
                    <a:pt x="66235" y="225889"/>
                    <a:pt x="68884" y="226234"/>
                    <a:pt x="71649" y="226465"/>
                  </a:cubicBezTo>
                  <a:cubicBezTo>
                    <a:pt x="74413" y="226695"/>
                    <a:pt x="77408" y="227041"/>
                    <a:pt x="80518" y="227386"/>
                  </a:cubicBezTo>
                  <a:cubicBezTo>
                    <a:pt x="83513" y="227732"/>
                    <a:pt x="86623" y="228077"/>
                    <a:pt x="89618" y="228423"/>
                  </a:cubicBezTo>
                  <a:cubicBezTo>
                    <a:pt x="92728" y="228423"/>
                    <a:pt x="95839" y="228884"/>
                    <a:pt x="98949" y="229114"/>
                  </a:cubicBezTo>
                  <a:cubicBezTo>
                    <a:pt x="101944" y="229460"/>
                    <a:pt x="104939" y="229690"/>
                    <a:pt x="107818" y="229575"/>
                  </a:cubicBezTo>
                  <a:cubicBezTo>
                    <a:pt x="110698" y="229460"/>
                    <a:pt x="113348" y="228999"/>
                    <a:pt x="115882" y="227847"/>
                  </a:cubicBezTo>
                  <a:cubicBezTo>
                    <a:pt x="118416" y="226695"/>
                    <a:pt x="120720" y="224852"/>
                    <a:pt x="122908" y="222087"/>
                  </a:cubicBezTo>
                  <a:cubicBezTo>
                    <a:pt x="123139" y="221511"/>
                    <a:pt x="123369" y="221051"/>
                    <a:pt x="123599" y="220475"/>
                  </a:cubicBezTo>
                  <a:cubicBezTo>
                    <a:pt x="123830" y="220014"/>
                    <a:pt x="123945" y="219438"/>
                    <a:pt x="124060" y="218977"/>
                  </a:cubicBezTo>
                  <a:cubicBezTo>
                    <a:pt x="124175" y="218517"/>
                    <a:pt x="124291" y="217941"/>
                    <a:pt x="124406" y="217480"/>
                  </a:cubicBezTo>
                  <a:cubicBezTo>
                    <a:pt x="124406" y="217019"/>
                    <a:pt x="124406" y="216443"/>
                    <a:pt x="124406" y="215982"/>
                  </a:cubicBezTo>
                  <a:cubicBezTo>
                    <a:pt x="124175" y="212642"/>
                    <a:pt x="123484" y="209647"/>
                    <a:pt x="122448" y="206652"/>
                  </a:cubicBezTo>
                  <a:cubicBezTo>
                    <a:pt x="121411" y="203657"/>
                    <a:pt x="120029" y="200662"/>
                    <a:pt x="118416" y="197782"/>
                  </a:cubicBezTo>
                  <a:cubicBezTo>
                    <a:pt x="116803" y="194902"/>
                    <a:pt x="114960" y="192023"/>
                    <a:pt x="113117" y="189028"/>
                  </a:cubicBezTo>
                  <a:cubicBezTo>
                    <a:pt x="111274" y="186148"/>
                    <a:pt x="109316" y="183268"/>
                    <a:pt x="107588" y="180158"/>
                  </a:cubicBezTo>
                  <a:cubicBezTo>
                    <a:pt x="106091" y="178085"/>
                    <a:pt x="104708" y="176011"/>
                    <a:pt x="103441" y="173938"/>
                  </a:cubicBezTo>
                  <a:cubicBezTo>
                    <a:pt x="102174" y="171864"/>
                    <a:pt x="100907" y="169906"/>
                    <a:pt x="99870" y="168063"/>
                  </a:cubicBezTo>
                  <a:cubicBezTo>
                    <a:pt x="98718" y="166220"/>
                    <a:pt x="97797" y="164492"/>
                    <a:pt x="96990" y="162879"/>
                  </a:cubicBezTo>
                  <a:cubicBezTo>
                    <a:pt x="96184" y="161382"/>
                    <a:pt x="95608" y="160000"/>
                    <a:pt x="95032" y="158963"/>
                  </a:cubicBezTo>
                  <a:cubicBezTo>
                    <a:pt x="95378" y="158963"/>
                    <a:pt x="95839" y="158963"/>
                    <a:pt x="96299" y="158963"/>
                  </a:cubicBezTo>
                  <a:cubicBezTo>
                    <a:pt x="96760" y="158963"/>
                    <a:pt x="97221" y="159078"/>
                    <a:pt x="97682" y="159078"/>
                  </a:cubicBezTo>
                  <a:cubicBezTo>
                    <a:pt x="98258" y="159078"/>
                    <a:pt x="98718" y="159193"/>
                    <a:pt x="99294" y="159309"/>
                  </a:cubicBezTo>
                  <a:cubicBezTo>
                    <a:pt x="99870" y="159309"/>
                    <a:pt x="100446" y="159539"/>
                    <a:pt x="101022" y="159654"/>
                  </a:cubicBezTo>
                  <a:cubicBezTo>
                    <a:pt x="101137" y="159654"/>
                    <a:pt x="101253" y="159654"/>
                    <a:pt x="101483" y="159769"/>
                  </a:cubicBezTo>
                  <a:cubicBezTo>
                    <a:pt x="101598" y="159769"/>
                    <a:pt x="101713" y="159769"/>
                    <a:pt x="101944" y="159769"/>
                  </a:cubicBezTo>
                  <a:cubicBezTo>
                    <a:pt x="101944" y="159769"/>
                    <a:pt x="102174" y="159769"/>
                    <a:pt x="102404" y="159885"/>
                  </a:cubicBezTo>
                  <a:cubicBezTo>
                    <a:pt x="102520" y="159885"/>
                    <a:pt x="102635" y="159885"/>
                    <a:pt x="102865" y="160000"/>
                  </a:cubicBezTo>
                  <a:cubicBezTo>
                    <a:pt x="105169" y="160576"/>
                    <a:pt x="107588" y="161267"/>
                    <a:pt x="110122" y="161958"/>
                  </a:cubicBezTo>
                  <a:cubicBezTo>
                    <a:pt x="112656" y="162649"/>
                    <a:pt x="115306" y="163455"/>
                    <a:pt x="118070" y="164262"/>
                  </a:cubicBezTo>
                  <a:cubicBezTo>
                    <a:pt x="120720" y="165068"/>
                    <a:pt x="123484" y="165874"/>
                    <a:pt x="126249" y="166681"/>
                  </a:cubicBezTo>
                  <a:cubicBezTo>
                    <a:pt x="128898" y="167487"/>
                    <a:pt x="131663" y="168178"/>
                    <a:pt x="134312" y="168754"/>
                  </a:cubicBezTo>
                  <a:cubicBezTo>
                    <a:pt x="136501" y="169215"/>
                    <a:pt x="138689" y="169676"/>
                    <a:pt x="140763" y="170021"/>
                  </a:cubicBezTo>
                  <a:cubicBezTo>
                    <a:pt x="142952" y="170482"/>
                    <a:pt x="145025" y="170712"/>
                    <a:pt x="147214" y="170828"/>
                  </a:cubicBezTo>
                  <a:cubicBezTo>
                    <a:pt x="149287" y="170828"/>
                    <a:pt x="151360" y="170712"/>
                    <a:pt x="153434" y="170021"/>
                  </a:cubicBezTo>
                  <a:cubicBezTo>
                    <a:pt x="155507" y="169330"/>
                    <a:pt x="157465" y="168178"/>
                    <a:pt x="159424" y="166450"/>
                  </a:cubicBezTo>
                  <a:cubicBezTo>
                    <a:pt x="160000" y="165759"/>
                    <a:pt x="160345" y="165183"/>
                    <a:pt x="160691" y="164377"/>
                  </a:cubicBezTo>
                  <a:cubicBezTo>
                    <a:pt x="161036" y="163686"/>
                    <a:pt x="161267" y="162995"/>
                    <a:pt x="161497" y="162304"/>
                  </a:cubicBezTo>
                  <a:cubicBezTo>
                    <a:pt x="161728" y="161612"/>
                    <a:pt x="161843" y="160921"/>
                    <a:pt x="161958" y="160230"/>
                  </a:cubicBezTo>
                  <a:cubicBezTo>
                    <a:pt x="161958" y="159539"/>
                    <a:pt x="161958" y="158848"/>
                    <a:pt x="161958" y="158157"/>
                  </a:cubicBezTo>
                  <a:cubicBezTo>
                    <a:pt x="161958" y="155507"/>
                    <a:pt x="161497" y="152858"/>
                    <a:pt x="160806" y="150093"/>
                  </a:cubicBezTo>
                  <a:cubicBezTo>
                    <a:pt x="160115" y="147444"/>
                    <a:pt x="159193" y="144679"/>
                    <a:pt x="158157" y="142030"/>
                  </a:cubicBezTo>
                  <a:cubicBezTo>
                    <a:pt x="157120" y="139381"/>
                    <a:pt x="155853" y="136616"/>
                    <a:pt x="154586" y="133851"/>
                  </a:cubicBezTo>
                  <a:cubicBezTo>
                    <a:pt x="153319" y="131087"/>
                    <a:pt x="152052" y="128322"/>
                    <a:pt x="150784" y="125558"/>
                  </a:cubicBezTo>
                  <a:cubicBezTo>
                    <a:pt x="149748" y="123369"/>
                    <a:pt x="148711" y="121296"/>
                    <a:pt x="147790" y="119222"/>
                  </a:cubicBezTo>
                  <a:cubicBezTo>
                    <a:pt x="146868" y="117149"/>
                    <a:pt x="145946" y="115075"/>
                    <a:pt x="145140" y="113232"/>
                  </a:cubicBezTo>
                  <a:cubicBezTo>
                    <a:pt x="144334" y="111389"/>
                    <a:pt x="143643" y="109546"/>
                    <a:pt x="143182" y="108049"/>
                  </a:cubicBezTo>
                  <a:cubicBezTo>
                    <a:pt x="142606" y="106551"/>
                    <a:pt x="142145" y="105169"/>
                    <a:pt x="141915" y="104132"/>
                  </a:cubicBezTo>
                  <a:cubicBezTo>
                    <a:pt x="141915" y="104132"/>
                    <a:pt x="142030" y="104132"/>
                    <a:pt x="142030" y="104132"/>
                  </a:cubicBezTo>
                  <a:cubicBezTo>
                    <a:pt x="142030" y="104132"/>
                    <a:pt x="142145" y="104132"/>
                    <a:pt x="142260" y="104132"/>
                  </a:cubicBezTo>
                  <a:cubicBezTo>
                    <a:pt x="142260" y="104132"/>
                    <a:pt x="142260" y="104132"/>
                    <a:pt x="142376" y="104132"/>
                  </a:cubicBezTo>
                  <a:cubicBezTo>
                    <a:pt x="142376" y="104132"/>
                    <a:pt x="142491" y="104132"/>
                    <a:pt x="142491" y="104132"/>
                  </a:cubicBezTo>
                  <a:cubicBezTo>
                    <a:pt x="145025" y="104823"/>
                    <a:pt x="148250" y="106091"/>
                    <a:pt x="151936" y="107703"/>
                  </a:cubicBezTo>
                  <a:cubicBezTo>
                    <a:pt x="155622" y="109316"/>
                    <a:pt x="159769" y="111274"/>
                    <a:pt x="164031" y="113348"/>
                  </a:cubicBezTo>
                  <a:cubicBezTo>
                    <a:pt x="168293" y="115306"/>
                    <a:pt x="172671" y="117379"/>
                    <a:pt x="176933" y="119222"/>
                  </a:cubicBezTo>
                  <a:cubicBezTo>
                    <a:pt x="181195" y="121065"/>
                    <a:pt x="185342" y="122563"/>
                    <a:pt x="189143" y="123599"/>
                  </a:cubicBezTo>
                  <a:cubicBezTo>
                    <a:pt x="190295" y="123830"/>
                    <a:pt x="191562" y="124175"/>
                    <a:pt x="192714" y="124291"/>
                  </a:cubicBezTo>
                  <a:cubicBezTo>
                    <a:pt x="193981" y="124521"/>
                    <a:pt x="195133" y="124636"/>
                    <a:pt x="196400" y="124636"/>
                  </a:cubicBezTo>
                  <a:cubicBezTo>
                    <a:pt x="197667" y="124636"/>
                    <a:pt x="198934" y="124521"/>
                    <a:pt x="200086" y="124175"/>
                  </a:cubicBezTo>
                  <a:cubicBezTo>
                    <a:pt x="201353" y="123830"/>
                    <a:pt x="202620" y="123254"/>
                    <a:pt x="203772" y="122448"/>
                  </a:cubicBezTo>
                  <a:cubicBezTo>
                    <a:pt x="204694" y="121641"/>
                    <a:pt x="205500" y="120835"/>
                    <a:pt x="206076" y="119913"/>
                  </a:cubicBezTo>
                  <a:cubicBezTo>
                    <a:pt x="206652" y="118992"/>
                    <a:pt x="207113" y="118070"/>
                    <a:pt x="207343" y="117149"/>
                  </a:cubicBezTo>
                  <a:cubicBezTo>
                    <a:pt x="207573" y="116227"/>
                    <a:pt x="207804" y="115191"/>
                    <a:pt x="207919" y="114269"/>
                  </a:cubicBezTo>
                  <a:cubicBezTo>
                    <a:pt x="207919" y="113348"/>
                    <a:pt x="207919" y="112426"/>
                    <a:pt x="207919" y="111504"/>
                  </a:cubicBezTo>
                  <a:cubicBezTo>
                    <a:pt x="207804" y="107703"/>
                    <a:pt x="206997" y="103211"/>
                    <a:pt x="205846" y="98603"/>
                  </a:cubicBezTo>
                  <a:cubicBezTo>
                    <a:pt x="204694" y="93996"/>
                    <a:pt x="203311" y="89158"/>
                    <a:pt x="201929" y="84550"/>
                  </a:cubicBezTo>
                  <a:cubicBezTo>
                    <a:pt x="200547" y="79942"/>
                    <a:pt x="199165" y="75565"/>
                    <a:pt x="198013" y="71764"/>
                  </a:cubicBezTo>
                  <a:cubicBezTo>
                    <a:pt x="196861" y="67962"/>
                    <a:pt x="196170" y="64737"/>
                    <a:pt x="196170" y="62548"/>
                  </a:cubicBezTo>
                  <a:cubicBezTo>
                    <a:pt x="198473" y="63470"/>
                    <a:pt x="201584" y="65313"/>
                    <a:pt x="205385" y="67732"/>
                  </a:cubicBezTo>
                  <a:cubicBezTo>
                    <a:pt x="209071" y="70151"/>
                    <a:pt x="213448" y="73031"/>
                    <a:pt x="217941" y="76026"/>
                  </a:cubicBezTo>
                  <a:cubicBezTo>
                    <a:pt x="222433" y="78906"/>
                    <a:pt x="227156" y="81901"/>
                    <a:pt x="231763" y="84550"/>
                  </a:cubicBezTo>
                  <a:cubicBezTo>
                    <a:pt x="236371" y="87084"/>
                    <a:pt x="240748" y="89273"/>
                    <a:pt x="244780" y="90540"/>
                  </a:cubicBezTo>
                  <a:cubicBezTo>
                    <a:pt x="245471" y="90770"/>
                    <a:pt x="246277" y="90885"/>
                    <a:pt x="247199" y="91001"/>
                  </a:cubicBezTo>
                  <a:cubicBezTo>
                    <a:pt x="248005" y="91116"/>
                    <a:pt x="248812" y="91231"/>
                    <a:pt x="249733" y="91231"/>
                  </a:cubicBezTo>
                  <a:cubicBezTo>
                    <a:pt x="250540" y="91231"/>
                    <a:pt x="251461" y="91231"/>
                    <a:pt x="252267" y="91116"/>
                  </a:cubicBezTo>
                  <a:cubicBezTo>
                    <a:pt x="253189" y="90885"/>
                    <a:pt x="253995" y="90655"/>
                    <a:pt x="254802" y="90309"/>
                  </a:cubicBezTo>
                  <a:cubicBezTo>
                    <a:pt x="256414" y="89388"/>
                    <a:pt x="257451" y="88236"/>
                    <a:pt x="258372" y="87084"/>
                  </a:cubicBezTo>
                  <a:cubicBezTo>
                    <a:pt x="259294" y="85932"/>
                    <a:pt x="259755" y="84665"/>
                    <a:pt x="260216" y="83283"/>
                  </a:cubicBezTo>
                  <a:cubicBezTo>
                    <a:pt x="260561" y="81901"/>
                    <a:pt x="260791" y="80518"/>
                    <a:pt x="260907" y="79136"/>
                  </a:cubicBezTo>
                  <a:cubicBezTo>
                    <a:pt x="260907" y="77754"/>
                    <a:pt x="260907" y="76371"/>
                    <a:pt x="261022" y="74989"/>
                  </a:cubicBezTo>
                  <a:cubicBezTo>
                    <a:pt x="261022" y="71879"/>
                    <a:pt x="260561" y="68538"/>
                    <a:pt x="260100" y="65083"/>
                  </a:cubicBezTo>
                  <a:cubicBezTo>
                    <a:pt x="259640" y="61627"/>
                    <a:pt x="259064" y="58056"/>
                    <a:pt x="258603" y="54600"/>
                  </a:cubicBezTo>
                  <a:cubicBezTo>
                    <a:pt x="258027" y="51145"/>
                    <a:pt x="257566" y="47804"/>
                    <a:pt x="257105" y="44809"/>
                  </a:cubicBezTo>
                  <a:cubicBezTo>
                    <a:pt x="256760" y="41814"/>
                    <a:pt x="256414" y="39050"/>
                    <a:pt x="256414" y="36861"/>
                  </a:cubicBezTo>
                  <a:lnTo>
                    <a:pt x="256414" y="34672"/>
                  </a:lnTo>
                  <a:cubicBezTo>
                    <a:pt x="257221" y="35248"/>
                    <a:pt x="258372" y="36055"/>
                    <a:pt x="259755" y="37091"/>
                  </a:cubicBezTo>
                  <a:cubicBezTo>
                    <a:pt x="261022" y="38013"/>
                    <a:pt x="262519" y="39280"/>
                    <a:pt x="264132" y="40432"/>
                  </a:cubicBezTo>
                  <a:cubicBezTo>
                    <a:pt x="265745" y="41699"/>
                    <a:pt x="267473" y="43081"/>
                    <a:pt x="269085" y="44579"/>
                  </a:cubicBezTo>
                  <a:cubicBezTo>
                    <a:pt x="270813" y="46076"/>
                    <a:pt x="272541" y="47574"/>
                    <a:pt x="274269" y="49186"/>
                  </a:cubicBezTo>
                  <a:cubicBezTo>
                    <a:pt x="276688" y="51145"/>
                    <a:pt x="278992" y="53333"/>
                    <a:pt x="281411" y="55291"/>
                  </a:cubicBezTo>
                  <a:cubicBezTo>
                    <a:pt x="283714" y="57365"/>
                    <a:pt x="286018" y="59323"/>
                    <a:pt x="288437" y="61166"/>
                  </a:cubicBezTo>
                  <a:cubicBezTo>
                    <a:pt x="290741" y="63009"/>
                    <a:pt x="293160" y="64622"/>
                    <a:pt x="295694" y="66119"/>
                  </a:cubicBezTo>
                  <a:cubicBezTo>
                    <a:pt x="298113" y="67617"/>
                    <a:pt x="300763" y="68769"/>
                    <a:pt x="303412" y="69690"/>
                  </a:cubicBezTo>
                  <a:cubicBezTo>
                    <a:pt x="303988" y="69806"/>
                    <a:pt x="304564" y="69921"/>
                    <a:pt x="305140" y="70036"/>
                  </a:cubicBezTo>
                  <a:cubicBezTo>
                    <a:pt x="305716" y="70036"/>
                    <a:pt x="306292" y="70151"/>
                    <a:pt x="306868" y="70151"/>
                  </a:cubicBezTo>
                  <a:cubicBezTo>
                    <a:pt x="307444" y="70151"/>
                    <a:pt x="308020" y="70151"/>
                    <a:pt x="308596" y="70151"/>
                  </a:cubicBezTo>
                  <a:cubicBezTo>
                    <a:pt x="309172" y="70151"/>
                    <a:pt x="309747" y="70151"/>
                    <a:pt x="310208" y="69921"/>
                  </a:cubicBezTo>
                  <a:cubicBezTo>
                    <a:pt x="312051" y="69345"/>
                    <a:pt x="313549" y="68423"/>
                    <a:pt x="314585" y="67387"/>
                  </a:cubicBezTo>
                  <a:cubicBezTo>
                    <a:pt x="315737" y="66350"/>
                    <a:pt x="316429" y="65198"/>
                    <a:pt x="317004" y="63931"/>
                  </a:cubicBezTo>
                  <a:cubicBezTo>
                    <a:pt x="317580" y="62664"/>
                    <a:pt x="317926" y="61397"/>
                    <a:pt x="318156" y="60014"/>
                  </a:cubicBezTo>
                  <a:cubicBezTo>
                    <a:pt x="318387" y="58632"/>
                    <a:pt x="318617" y="57365"/>
                    <a:pt x="318848" y="55983"/>
                  </a:cubicBezTo>
                  <a:cubicBezTo>
                    <a:pt x="319078" y="53909"/>
                    <a:pt x="319193" y="51721"/>
                    <a:pt x="319308" y="49417"/>
                  </a:cubicBezTo>
                  <a:cubicBezTo>
                    <a:pt x="319308" y="47113"/>
                    <a:pt x="319308" y="44809"/>
                    <a:pt x="319308" y="42505"/>
                  </a:cubicBezTo>
                  <a:cubicBezTo>
                    <a:pt x="319308" y="40086"/>
                    <a:pt x="319308" y="37783"/>
                    <a:pt x="319308" y="35594"/>
                  </a:cubicBezTo>
                  <a:cubicBezTo>
                    <a:pt x="319308" y="33405"/>
                    <a:pt x="319308" y="31101"/>
                    <a:pt x="319308" y="29143"/>
                  </a:cubicBezTo>
                  <a:cubicBezTo>
                    <a:pt x="319308" y="28107"/>
                    <a:pt x="319308" y="27185"/>
                    <a:pt x="319423" y="26263"/>
                  </a:cubicBezTo>
                  <a:cubicBezTo>
                    <a:pt x="319423" y="25342"/>
                    <a:pt x="319423" y="24536"/>
                    <a:pt x="319654" y="23729"/>
                  </a:cubicBezTo>
                  <a:cubicBezTo>
                    <a:pt x="319654" y="22923"/>
                    <a:pt x="319884" y="22232"/>
                    <a:pt x="319884" y="21541"/>
                  </a:cubicBezTo>
                  <a:cubicBezTo>
                    <a:pt x="319884" y="20850"/>
                    <a:pt x="320115" y="20274"/>
                    <a:pt x="320230" y="19813"/>
                  </a:cubicBezTo>
                  <a:cubicBezTo>
                    <a:pt x="321267" y="20619"/>
                    <a:pt x="322534" y="21771"/>
                    <a:pt x="323916" y="23269"/>
                  </a:cubicBezTo>
                  <a:cubicBezTo>
                    <a:pt x="325298" y="24651"/>
                    <a:pt x="326911" y="26263"/>
                    <a:pt x="328524" y="28107"/>
                  </a:cubicBezTo>
                  <a:cubicBezTo>
                    <a:pt x="330136" y="29834"/>
                    <a:pt x="331864" y="31793"/>
                    <a:pt x="333707" y="33751"/>
                  </a:cubicBezTo>
                  <a:cubicBezTo>
                    <a:pt x="335550" y="35709"/>
                    <a:pt x="337278" y="37783"/>
                    <a:pt x="339121" y="39741"/>
                  </a:cubicBezTo>
                  <a:cubicBezTo>
                    <a:pt x="341079" y="41814"/>
                    <a:pt x="343038" y="43888"/>
                    <a:pt x="344996" y="45961"/>
                  </a:cubicBezTo>
                  <a:cubicBezTo>
                    <a:pt x="346839" y="48034"/>
                    <a:pt x="348797" y="49993"/>
                    <a:pt x="350755" y="51836"/>
                  </a:cubicBezTo>
                  <a:cubicBezTo>
                    <a:pt x="352714" y="53679"/>
                    <a:pt x="354787" y="55407"/>
                    <a:pt x="356976" y="56904"/>
                  </a:cubicBezTo>
                  <a:cubicBezTo>
                    <a:pt x="359164" y="58402"/>
                    <a:pt x="361583" y="59669"/>
                    <a:pt x="364233" y="60590"/>
                  </a:cubicBezTo>
                  <a:lnTo>
                    <a:pt x="368149" y="61166"/>
                  </a:lnTo>
                  <a:cubicBezTo>
                    <a:pt x="370107" y="60936"/>
                    <a:pt x="371720" y="60360"/>
                    <a:pt x="372987" y="59669"/>
                  </a:cubicBezTo>
                  <a:cubicBezTo>
                    <a:pt x="374254" y="58978"/>
                    <a:pt x="375176" y="58056"/>
                    <a:pt x="375982" y="57019"/>
                  </a:cubicBezTo>
                  <a:cubicBezTo>
                    <a:pt x="376788" y="55983"/>
                    <a:pt x="377364" y="54831"/>
                    <a:pt x="377825" y="53679"/>
                  </a:cubicBezTo>
                  <a:cubicBezTo>
                    <a:pt x="378286" y="52527"/>
                    <a:pt x="378747" y="51260"/>
                    <a:pt x="379092" y="50108"/>
                  </a:cubicBezTo>
                  <a:cubicBezTo>
                    <a:pt x="379668" y="48265"/>
                    <a:pt x="380129" y="46307"/>
                    <a:pt x="380474" y="44233"/>
                  </a:cubicBezTo>
                  <a:cubicBezTo>
                    <a:pt x="380935" y="42160"/>
                    <a:pt x="381281" y="40086"/>
                    <a:pt x="381626" y="37898"/>
                  </a:cubicBezTo>
                  <a:cubicBezTo>
                    <a:pt x="381972" y="35709"/>
                    <a:pt x="382318" y="33636"/>
                    <a:pt x="382548" y="31677"/>
                  </a:cubicBezTo>
                  <a:cubicBezTo>
                    <a:pt x="382893" y="29604"/>
                    <a:pt x="383239" y="27646"/>
                    <a:pt x="383585" y="25803"/>
                  </a:cubicBezTo>
                  <a:cubicBezTo>
                    <a:pt x="383700" y="24881"/>
                    <a:pt x="383930" y="24075"/>
                    <a:pt x="384045" y="23269"/>
                  </a:cubicBezTo>
                  <a:cubicBezTo>
                    <a:pt x="384276" y="22462"/>
                    <a:pt x="384391" y="21656"/>
                    <a:pt x="384621" y="20965"/>
                  </a:cubicBezTo>
                  <a:cubicBezTo>
                    <a:pt x="384852" y="20274"/>
                    <a:pt x="384967" y="19582"/>
                    <a:pt x="385197" y="19006"/>
                  </a:cubicBezTo>
                  <a:cubicBezTo>
                    <a:pt x="385428" y="18431"/>
                    <a:pt x="385543" y="17970"/>
                    <a:pt x="385773" y="17509"/>
                  </a:cubicBezTo>
                  <a:cubicBezTo>
                    <a:pt x="386580" y="18315"/>
                    <a:pt x="387501" y="19467"/>
                    <a:pt x="388653" y="20850"/>
                  </a:cubicBezTo>
                  <a:cubicBezTo>
                    <a:pt x="389690" y="22232"/>
                    <a:pt x="390957" y="23844"/>
                    <a:pt x="392339" y="25572"/>
                  </a:cubicBezTo>
                  <a:cubicBezTo>
                    <a:pt x="393606" y="27300"/>
                    <a:pt x="394988" y="29143"/>
                    <a:pt x="396371" y="31101"/>
                  </a:cubicBezTo>
                  <a:cubicBezTo>
                    <a:pt x="397753" y="32945"/>
                    <a:pt x="399020" y="34903"/>
                    <a:pt x="400287" y="36861"/>
                  </a:cubicBezTo>
                  <a:cubicBezTo>
                    <a:pt x="402245" y="39510"/>
                    <a:pt x="404089" y="42045"/>
                    <a:pt x="405816" y="44579"/>
                  </a:cubicBezTo>
                  <a:cubicBezTo>
                    <a:pt x="407659" y="47113"/>
                    <a:pt x="409387" y="49647"/>
                    <a:pt x="411346" y="51951"/>
                  </a:cubicBezTo>
                  <a:cubicBezTo>
                    <a:pt x="413304" y="54255"/>
                    <a:pt x="415262" y="56328"/>
                    <a:pt x="417681" y="58286"/>
                  </a:cubicBezTo>
                  <a:cubicBezTo>
                    <a:pt x="420100" y="60130"/>
                    <a:pt x="422634" y="61742"/>
                    <a:pt x="425860" y="63009"/>
                  </a:cubicBezTo>
                  <a:lnTo>
                    <a:pt x="427242" y="63355"/>
                  </a:lnTo>
                  <a:cubicBezTo>
                    <a:pt x="429315" y="63470"/>
                    <a:pt x="430928" y="63355"/>
                    <a:pt x="432425" y="62894"/>
                  </a:cubicBezTo>
                  <a:cubicBezTo>
                    <a:pt x="433808" y="62433"/>
                    <a:pt x="434844" y="61742"/>
                    <a:pt x="435881" y="60936"/>
                  </a:cubicBezTo>
                  <a:cubicBezTo>
                    <a:pt x="436803" y="60130"/>
                    <a:pt x="437494" y="59208"/>
                    <a:pt x="438185" y="58171"/>
                  </a:cubicBezTo>
                  <a:cubicBezTo>
                    <a:pt x="438876" y="57250"/>
                    <a:pt x="439337" y="56098"/>
                    <a:pt x="440028" y="55176"/>
                  </a:cubicBezTo>
                  <a:cubicBezTo>
                    <a:pt x="440834" y="53564"/>
                    <a:pt x="441641" y="51836"/>
                    <a:pt x="442332" y="50108"/>
                  </a:cubicBezTo>
                  <a:cubicBezTo>
                    <a:pt x="443023" y="48265"/>
                    <a:pt x="443714" y="46422"/>
                    <a:pt x="444405" y="44579"/>
                  </a:cubicBezTo>
                  <a:cubicBezTo>
                    <a:pt x="445096" y="42736"/>
                    <a:pt x="445672" y="40893"/>
                    <a:pt x="446363" y="39050"/>
                  </a:cubicBezTo>
                  <a:cubicBezTo>
                    <a:pt x="446939" y="37207"/>
                    <a:pt x="447631" y="35479"/>
                    <a:pt x="448207" y="33866"/>
                  </a:cubicBezTo>
                  <a:cubicBezTo>
                    <a:pt x="448552" y="33060"/>
                    <a:pt x="448782" y="32253"/>
                    <a:pt x="449013" y="31562"/>
                  </a:cubicBezTo>
                  <a:cubicBezTo>
                    <a:pt x="449243" y="30871"/>
                    <a:pt x="449589" y="30180"/>
                    <a:pt x="449934" y="29604"/>
                  </a:cubicBezTo>
                  <a:cubicBezTo>
                    <a:pt x="450280" y="29028"/>
                    <a:pt x="450510" y="28452"/>
                    <a:pt x="450856" y="27991"/>
                  </a:cubicBezTo>
                  <a:cubicBezTo>
                    <a:pt x="451201" y="27531"/>
                    <a:pt x="451432" y="27070"/>
                    <a:pt x="451662" y="26724"/>
                  </a:cubicBezTo>
                  <a:cubicBezTo>
                    <a:pt x="451893" y="27070"/>
                    <a:pt x="452123" y="27300"/>
                    <a:pt x="452353" y="27646"/>
                  </a:cubicBezTo>
                  <a:cubicBezTo>
                    <a:pt x="452584" y="27991"/>
                    <a:pt x="452814" y="28337"/>
                    <a:pt x="453160" y="28798"/>
                  </a:cubicBezTo>
                  <a:cubicBezTo>
                    <a:pt x="453505" y="29258"/>
                    <a:pt x="453736" y="29604"/>
                    <a:pt x="453966" y="30180"/>
                  </a:cubicBezTo>
                  <a:cubicBezTo>
                    <a:pt x="454312" y="30641"/>
                    <a:pt x="454542" y="31217"/>
                    <a:pt x="454888" y="31677"/>
                  </a:cubicBezTo>
                  <a:cubicBezTo>
                    <a:pt x="455924" y="33290"/>
                    <a:pt x="456846" y="35018"/>
                    <a:pt x="457998" y="36976"/>
                  </a:cubicBezTo>
                  <a:cubicBezTo>
                    <a:pt x="459034" y="38934"/>
                    <a:pt x="460071" y="40893"/>
                    <a:pt x="461223" y="42966"/>
                  </a:cubicBezTo>
                  <a:cubicBezTo>
                    <a:pt x="462375" y="45040"/>
                    <a:pt x="463412" y="47113"/>
                    <a:pt x="464564" y="49186"/>
                  </a:cubicBezTo>
                  <a:cubicBezTo>
                    <a:pt x="465716" y="51260"/>
                    <a:pt x="466867" y="53333"/>
                    <a:pt x="468019" y="55407"/>
                  </a:cubicBezTo>
                  <a:cubicBezTo>
                    <a:pt x="469286" y="57365"/>
                    <a:pt x="470438" y="59438"/>
                    <a:pt x="471705" y="61397"/>
                  </a:cubicBezTo>
                  <a:cubicBezTo>
                    <a:pt x="472857" y="63355"/>
                    <a:pt x="474124" y="65313"/>
                    <a:pt x="475507" y="67041"/>
                  </a:cubicBezTo>
                  <a:cubicBezTo>
                    <a:pt x="476889" y="68884"/>
                    <a:pt x="478502" y="70612"/>
                    <a:pt x="480460" y="71994"/>
                  </a:cubicBezTo>
                  <a:cubicBezTo>
                    <a:pt x="482303" y="73492"/>
                    <a:pt x="484492" y="74874"/>
                    <a:pt x="487141" y="75911"/>
                  </a:cubicBezTo>
                  <a:cubicBezTo>
                    <a:pt x="488984" y="76371"/>
                    <a:pt x="490597" y="76371"/>
                    <a:pt x="491979" y="76256"/>
                  </a:cubicBezTo>
                  <a:cubicBezTo>
                    <a:pt x="493361" y="76026"/>
                    <a:pt x="494513" y="75680"/>
                    <a:pt x="495550" y="75104"/>
                  </a:cubicBezTo>
                  <a:cubicBezTo>
                    <a:pt x="496587" y="74528"/>
                    <a:pt x="497393" y="73837"/>
                    <a:pt x="498199" y="73031"/>
                  </a:cubicBezTo>
                  <a:cubicBezTo>
                    <a:pt x="499006" y="72225"/>
                    <a:pt x="499697" y="71418"/>
                    <a:pt x="500388" y="70612"/>
                  </a:cubicBezTo>
                  <a:cubicBezTo>
                    <a:pt x="501425" y="69345"/>
                    <a:pt x="502461" y="67847"/>
                    <a:pt x="503383" y="66350"/>
                  </a:cubicBezTo>
                  <a:cubicBezTo>
                    <a:pt x="504304" y="64852"/>
                    <a:pt x="505341" y="63355"/>
                    <a:pt x="506263" y="61742"/>
                  </a:cubicBezTo>
                  <a:cubicBezTo>
                    <a:pt x="507184" y="60130"/>
                    <a:pt x="508106" y="58517"/>
                    <a:pt x="508912" y="57019"/>
                  </a:cubicBezTo>
                  <a:cubicBezTo>
                    <a:pt x="509718" y="55407"/>
                    <a:pt x="510640" y="53909"/>
                    <a:pt x="511446" y="52642"/>
                  </a:cubicBezTo>
                  <a:cubicBezTo>
                    <a:pt x="511907" y="51951"/>
                    <a:pt x="512253" y="51260"/>
                    <a:pt x="512713" y="50684"/>
                  </a:cubicBezTo>
                  <a:cubicBezTo>
                    <a:pt x="513174" y="50108"/>
                    <a:pt x="513520" y="49532"/>
                    <a:pt x="513980" y="48956"/>
                  </a:cubicBezTo>
                  <a:cubicBezTo>
                    <a:pt x="514326" y="48495"/>
                    <a:pt x="514787" y="47919"/>
                    <a:pt x="515132" y="47574"/>
                  </a:cubicBezTo>
                  <a:cubicBezTo>
                    <a:pt x="515478" y="47113"/>
                    <a:pt x="515823" y="46767"/>
                    <a:pt x="516169" y="46537"/>
                  </a:cubicBezTo>
                  <a:cubicBezTo>
                    <a:pt x="516860" y="47689"/>
                    <a:pt x="517666" y="49186"/>
                    <a:pt x="518473" y="50914"/>
                  </a:cubicBezTo>
                  <a:cubicBezTo>
                    <a:pt x="519279" y="52642"/>
                    <a:pt x="520201" y="54716"/>
                    <a:pt x="521122" y="56904"/>
                  </a:cubicBezTo>
                  <a:cubicBezTo>
                    <a:pt x="522044" y="59093"/>
                    <a:pt x="522965" y="61397"/>
                    <a:pt x="524002" y="63816"/>
                  </a:cubicBezTo>
                  <a:cubicBezTo>
                    <a:pt x="524923" y="66235"/>
                    <a:pt x="525960" y="68654"/>
                    <a:pt x="526882" y="71073"/>
                  </a:cubicBezTo>
                  <a:cubicBezTo>
                    <a:pt x="528034" y="73492"/>
                    <a:pt x="529070" y="76026"/>
                    <a:pt x="529992" y="78445"/>
                  </a:cubicBezTo>
                  <a:cubicBezTo>
                    <a:pt x="530913" y="80864"/>
                    <a:pt x="531950" y="83168"/>
                    <a:pt x="533217" y="85471"/>
                  </a:cubicBezTo>
                  <a:cubicBezTo>
                    <a:pt x="534484" y="87775"/>
                    <a:pt x="535867" y="89964"/>
                    <a:pt x="537825" y="91922"/>
                  </a:cubicBezTo>
                  <a:cubicBezTo>
                    <a:pt x="539668" y="93996"/>
                    <a:pt x="541972" y="95954"/>
                    <a:pt x="544851" y="97682"/>
                  </a:cubicBezTo>
                  <a:lnTo>
                    <a:pt x="546003" y="83398"/>
                  </a:lnTo>
                  <a:lnTo>
                    <a:pt x="545773" y="85932"/>
                  </a:lnTo>
                  <a:lnTo>
                    <a:pt x="546925" y="83974"/>
                  </a:lnTo>
                  <a:lnTo>
                    <a:pt x="546694" y="83744"/>
                  </a:lnTo>
                  <a:cubicBezTo>
                    <a:pt x="546694" y="83744"/>
                    <a:pt x="545773" y="82476"/>
                    <a:pt x="545082" y="81094"/>
                  </a:cubicBezTo>
                  <a:cubicBezTo>
                    <a:pt x="544391" y="79712"/>
                    <a:pt x="543469" y="77869"/>
                    <a:pt x="542548" y="75795"/>
                  </a:cubicBezTo>
                  <a:cubicBezTo>
                    <a:pt x="541626" y="73722"/>
                    <a:pt x="540589" y="71303"/>
                    <a:pt x="539553" y="68884"/>
                  </a:cubicBezTo>
                  <a:cubicBezTo>
                    <a:pt x="538516" y="66350"/>
                    <a:pt x="537594" y="63816"/>
                    <a:pt x="536558" y="61166"/>
                  </a:cubicBezTo>
                  <a:cubicBezTo>
                    <a:pt x="535982" y="59784"/>
                    <a:pt x="535406" y="58402"/>
                    <a:pt x="534830" y="57019"/>
                  </a:cubicBezTo>
                  <a:cubicBezTo>
                    <a:pt x="534254" y="55637"/>
                    <a:pt x="533678" y="54140"/>
                    <a:pt x="533102" y="52757"/>
                  </a:cubicBezTo>
                  <a:cubicBezTo>
                    <a:pt x="532526" y="51375"/>
                    <a:pt x="531835" y="49993"/>
                    <a:pt x="531259" y="48726"/>
                  </a:cubicBezTo>
                  <a:cubicBezTo>
                    <a:pt x="530568" y="47343"/>
                    <a:pt x="529877" y="46076"/>
                    <a:pt x="529186" y="44809"/>
                  </a:cubicBezTo>
                  <a:cubicBezTo>
                    <a:pt x="528494" y="43657"/>
                    <a:pt x="527918" y="42505"/>
                    <a:pt x="527112" y="41238"/>
                  </a:cubicBezTo>
                  <a:cubicBezTo>
                    <a:pt x="526421" y="40086"/>
                    <a:pt x="525499" y="38819"/>
                    <a:pt x="524578" y="37667"/>
                  </a:cubicBezTo>
                  <a:cubicBezTo>
                    <a:pt x="523656" y="36515"/>
                    <a:pt x="522620" y="35364"/>
                    <a:pt x="521353" y="34212"/>
                  </a:cubicBezTo>
                  <a:cubicBezTo>
                    <a:pt x="520085" y="33175"/>
                    <a:pt x="518703" y="32138"/>
                    <a:pt x="517090" y="31332"/>
                  </a:cubicBezTo>
                  <a:lnTo>
                    <a:pt x="515363" y="30641"/>
                  </a:lnTo>
                  <a:lnTo>
                    <a:pt x="515363" y="30641"/>
                  </a:lnTo>
                  <a:cubicBezTo>
                    <a:pt x="513520" y="30180"/>
                    <a:pt x="511907" y="30065"/>
                    <a:pt x="510640" y="30180"/>
                  </a:cubicBezTo>
                  <a:cubicBezTo>
                    <a:pt x="509258" y="30295"/>
                    <a:pt x="508221" y="30756"/>
                    <a:pt x="507184" y="31332"/>
                  </a:cubicBezTo>
                  <a:cubicBezTo>
                    <a:pt x="506263" y="31793"/>
                    <a:pt x="505341" y="32599"/>
                    <a:pt x="504535" y="33290"/>
                  </a:cubicBezTo>
                  <a:cubicBezTo>
                    <a:pt x="503844" y="34096"/>
                    <a:pt x="503037" y="34903"/>
                    <a:pt x="502346" y="35594"/>
                  </a:cubicBezTo>
                  <a:cubicBezTo>
                    <a:pt x="501309" y="36861"/>
                    <a:pt x="500273" y="38243"/>
                    <a:pt x="499351" y="39741"/>
                  </a:cubicBezTo>
                  <a:cubicBezTo>
                    <a:pt x="498430" y="41238"/>
                    <a:pt x="497393" y="42736"/>
                    <a:pt x="496587" y="44348"/>
                  </a:cubicBezTo>
                  <a:cubicBezTo>
                    <a:pt x="495665" y="45961"/>
                    <a:pt x="494743" y="47459"/>
                    <a:pt x="493822" y="48956"/>
                  </a:cubicBezTo>
                  <a:cubicBezTo>
                    <a:pt x="492900" y="50569"/>
                    <a:pt x="492094" y="51951"/>
                    <a:pt x="491173" y="53448"/>
                  </a:cubicBezTo>
                  <a:cubicBezTo>
                    <a:pt x="490712" y="54140"/>
                    <a:pt x="490366" y="54831"/>
                    <a:pt x="489906" y="55407"/>
                  </a:cubicBezTo>
                  <a:cubicBezTo>
                    <a:pt x="489445" y="55983"/>
                    <a:pt x="489099" y="56559"/>
                    <a:pt x="488638" y="57135"/>
                  </a:cubicBezTo>
                  <a:cubicBezTo>
                    <a:pt x="488293" y="57711"/>
                    <a:pt x="487832" y="58171"/>
                    <a:pt x="487487" y="58517"/>
                  </a:cubicBezTo>
                  <a:cubicBezTo>
                    <a:pt x="487141" y="58978"/>
                    <a:pt x="486795" y="59323"/>
                    <a:pt x="486335" y="59669"/>
                  </a:cubicBezTo>
                  <a:lnTo>
                    <a:pt x="485874" y="60014"/>
                  </a:lnTo>
                  <a:cubicBezTo>
                    <a:pt x="485298" y="59208"/>
                    <a:pt x="484492" y="58056"/>
                    <a:pt x="483570" y="56674"/>
                  </a:cubicBezTo>
                  <a:cubicBezTo>
                    <a:pt x="482649" y="55291"/>
                    <a:pt x="481612" y="53564"/>
                    <a:pt x="480460" y="51721"/>
                  </a:cubicBezTo>
                  <a:cubicBezTo>
                    <a:pt x="479308" y="49878"/>
                    <a:pt x="478156" y="47919"/>
                    <a:pt x="477004" y="45731"/>
                  </a:cubicBezTo>
                  <a:cubicBezTo>
                    <a:pt x="475852" y="43657"/>
                    <a:pt x="474700" y="41469"/>
                    <a:pt x="473548" y="39280"/>
                  </a:cubicBezTo>
                  <a:cubicBezTo>
                    <a:pt x="472742" y="37898"/>
                    <a:pt x="472051" y="36515"/>
                    <a:pt x="471245" y="35018"/>
                  </a:cubicBezTo>
                  <a:cubicBezTo>
                    <a:pt x="470438" y="33636"/>
                    <a:pt x="469747" y="32253"/>
                    <a:pt x="468941" y="30871"/>
                  </a:cubicBezTo>
                  <a:cubicBezTo>
                    <a:pt x="468134" y="29489"/>
                    <a:pt x="467443" y="28222"/>
                    <a:pt x="466522" y="26839"/>
                  </a:cubicBezTo>
                  <a:cubicBezTo>
                    <a:pt x="465716" y="25572"/>
                    <a:pt x="464909" y="24305"/>
                    <a:pt x="463988" y="23038"/>
                  </a:cubicBezTo>
                  <a:cubicBezTo>
                    <a:pt x="463181" y="21886"/>
                    <a:pt x="462375" y="20734"/>
                    <a:pt x="461453" y="19467"/>
                  </a:cubicBezTo>
                  <a:cubicBezTo>
                    <a:pt x="460532" y="18315"/>
                    <a:pt x="459610" y="17163"/>
                    <a:pt x="458459" y="16011"/>
                  </a:cubicBezTo>
                  <a:cubicBezTo>
                    <a:pt x="457307" y="14860"/>
                    <a:pt x="456155" y="13823"/>
                    <a:pt x="454657" y="12901"/>
                  </a:cubicBezTo>
                  <a:cubicBezTo>
                    <a:pt x="453275" y="11980"/>
                    <a:pt x="451662" y="11174"/>
                    <a:pt x="449819" y="10482"/>
                  </a:cubicBezTo>
                  <a:lnTo>
                    <a:pt x="448437" y="10137"/>
                  </a:lnTo>
                  <a:cubicBezTo>
                    <a:pt x="446594" y="9906"/>
                    <a:pt x="445096" y="9906"/>
                    <a:pt x="443714" y="10137"/>
                  </a:cubicBezTo>
                  <a:cubicBezTo>
                    <a:pt x="442447" y="10482"/>
                    <a:pt x="441295" y="11058"/>
                    <a:pt x="440489" y="11749"/>
                  </a:cubicBezTo>
                  <a:cubicBezTo>
                    <a:pt x="439567" y="12441"/>
                    <a:pt x="438876" y="13362"/>
                    <a:pt x="438185" y="14284"/>
                  </a:cubicBezTo>
                  <a:cubicBezTo>
                    <a:pt x="437494" y="15205"/>
                    <a:pt x="436918" y="16242"/>
                    <a:pt x="436342" y="17048"/>
                  </a:cubicBezTo>
                  <a:cubicBezTo>
                    <a:pt x="435536" y="18546"/>
                    <a:pt x="434729" y="20274"/>
                    <a:pt x="434038" y="22117"/>
                  </a:cubicBezTo>
                  <a:cubicBezTo>
                    <a:pt x="433347" y="23844"/>
                    <a:pt x="432656" y="25687"/>
                    <a:pt x="431965" y="27531"/>
                  </a:cubicBezTo>
                  <a:cubicBezTo>
                    <a:pt x="431274" y="29374"/>
                    <a:pt x="430698" y="31332"/>
                    <a:pt x="430006" y="33060"/>
                  </a:cubicBezTo>
                  <a:cubicBezTo>
                    <a:pt x="429315" y="34903"/>
                    <a:pt x="428739" y="36631"/>
                    <a:pt x="428048" y="38358"/>
                  </a:cubicBezTo>
                  <a:cubicBezTo>
                    <a:pt x="427703" y="39165"/>
                    <a:pt x="427357" y="39971"/>
                    <a:pt x="427127" y="40662"/>
                  </a:cubicBezTo>
                  <a:cubicBezTo>
                    <a:pt x="426781" y="41469"/>
                    <a:pt x="426435" y="42160"/>
                    <a:pt x="426205" y="42851"/>
                  </a:cubicBezTo>
                  <a:cubicBezTo>
                    <a:pt x="425860" y="43542"/>
                    <a:pt x="425629" y="44118"/>
                    <a:pt x="425399" y="44694"/>
                  </a:cubicBezTo>
                  <a:cubicBezTo>
                    <a:pt x="425053" y="45155"/>
                    <a:pt x="424823" y="45731"/>
                    <a:pt x="424477" y="46076"/>
                  </a:cubicBezTo>
                  <a:lnTo>
                    <a:pt x="424132" y="46652"/>
                  </a:lnTo>
                  <a:cubicBezTo>
                    <a:pt x="423441" y="45961"/>
                    <a:pt x="422519" y="44809"/>
                    <a:pt x="421367" y="43427"/>
                  </a:cubicBezTo>
                  <a:cubicBezTo>
                    <a:pt x="420215" y="42045"/>
                    <a:pt x="419063" y="40432"/>
                    <a:pt x="417681" y="38704"/>
                  </a:cubicBezTo>
                  <a:cubicBezTo>
                    <a:pt x="416299" y="36976"/>
                    <a:pt x="414801" y="35018"/>
                    <a:pt x="413419" y="32945"/>
                  </a:cubicBezTo>
                  <a:cubicBezTo>
                    <a:pt x="411922" y="30986"/>
                    <a:pt x="410539" y="28798"/>
                    <a:pt x="409157" y="26724"/>
                  </a:cubicBezTo>
                  <a:cubicBezTo>
                    <a:pt x="407199" y="24190"/>
                    <a:pt x="405356" y="21656"/>
                    <a:pt x="403628" y="19122"/>
                  </a:cubicBezTo>
                  <a:cubicBezTo>
                    <a:pt x="401785" y="16587"/>
                    <a:pt x="400057" y="14168"/>
                    <a:pt x="398214" y="11865"/>
                  </a:cubicBezTo>
                  <a:cubicBezTo>
                    <a:pt x="396256" y="9561"/>
                    <a:pt x="394297" y="7372"/>
                    <a:pt x="391878" y="5529"/>
                  </a:cubicBezTo>
                  <a:cubicBezTo>
                    <a:pt x="389575" y="3571"/>
                    <a:pt x="386925" y="1958"/>
                    <a:pt x="383815" y="576"/>
                  </a:cubicBezTo>
                  <a:lnTo>
                    <a:pt x="380705" y="0"/>
                  </a:lnTo>
                  <a:cubicBezTo>
                    <a:pt x="378747" y="0"/>
                    <a:pt x="377249" y="461"/>
                    <a:pt x="375982" y="1037"/>
                  </a:cubicBezTo>
                  <a:cubicBezTo>
                    <a:pt x="374715" y="1613"/>
                    <a:pt x="373678" y="2534"/>
                    <a:pt x="372872" y="3456"/>
                  </a:cubicBezTo>
                  <a:cubicBezTo>
                    <a:pt x="372066" y="4492"/>
                    <a:pt x="371490" y="5529"/>
                    <a:pt x="370914" y="6681"/>
                  </a:cubicBezTo>
                  <a:cubicBezTo>
                    <a:pt x="370338" y="7833"/>
                    <a:pt x="369992" y="8985"/>
                    <a:pt x="369531" y="10022"/>
                  </a:cubicBezTo>
                  <a:cubicBezTo>
                    <a:pt x="368955" y="11749"/>
                    <a:pt x="368495" y="13708"/>
                    <a:pt x="368034" y="15781"/>
                  </a:cubicBezTo>
                  <a:cubicBezTo>
                    <a:pt x="367573" y="17739"/>
                    <a:pt x="367228" y="19928"/>
                    <a:pt x="366882" y="22001"/>
                  </a:cubicBezTo>
                  <a:cubicBezTo>
                    <a:pt x="366536" y="24075"/>
                    <a:pt x="366191" y="26263"/>
                    <a:pt x="365845" y="28337"/>
                  </a:cubicBezTo>
                  <a:cubicBezTo>
                    <a:pt x="365500" y="30410"/>
                    <a:pt x="365154" y="32369"/>
                    <a:pt x="364809" y="34212"/>
                  </a:cubicBezTo>
                  <a:cubicBezTo>
                    <a:pt x="364578" y="35248"/>
                    <a:pt x="364463" y="36170"/>
                    <a:pt x="364233" y="36976"/>
                  </a:cubicBezTo>
                  <a:cubicBezTo>
                    <a:pt x="364002" y="37898"/>
                    <a:pt x="363772" y="38704"/>
                    <a:pt x="363657" y="39395"/>
                  </a:cubicBezTo>
                  <a:cubicBezTo>
                    <a:pt x="363426" y="40202"/>
                    <a:pt x="363311" y="40777"/>
                    <a:pt x="363081" y="41469"/>
                  </a:cubicBezTo>
                  <a:cubicBezTo>
                    <a:pt x="362850" y="42045"/>
                    <a:pt x="362735" y="42621"/>
                    <a:pt x="362505" y="43081"/>
                  </a:cubicBezTo>
                  <a:lnTo>
                    <a:pt x="362274" y="43772"/>
                  </a:lnTo>
                  <a:cubicBezTo>
                    <a:pt x="361353" y="43081"/>
                    <a:pt x="360086" y="41929"/>
                    <a:pt x="358703" y="40547"/>
                  </a:cubicBezTo>
                  <a:cubicBezTo>
                    <a:pt x="357321" y="39165"/>
                    <a:pt x="355709" y="37552"/>
                    <a:pt x="353981" y="35709"/>
                  </a:cubicBezTo>
                  <a:cubicBezTo>
                    <a:pt x="352253" y="33866"/>
                    <a:pt x="350410" y="31908"/>
                    <a:pt x="348567" y="29834"/>
                  </a:cubicBezTo>
                  <a:cubicBezTo>
                    <a:pt x="346724" y="27761"/>
                    <a:pt x="344765" y="25687"/>
                    <a:pt x="342922" y="23614"/>
                  </a:cubicBezTo>
                  <a:cubicBezTo>
                    <a:pt x="340964" y="21541"/>
                    <a:pt x="339006" y="19352"/>
                    <a:pt x="337048" y="17279"/>
                  </a:cubicBezTo>
                  <a:cubicBezTo>
                    <a:pt x="335205" y="15205"/>
                    <a:pt x="333362" y="13247"/>
                    <a:pt x="331403" y="11404"/>
                  </a:cubicBezTo>
                  <a:cubicBezTo>
                    <a:pt x="329445" y="9561"/>
                    <a:pt x="327487" y="7833"/>
                    <a:pt x="325183" y="6335"/>
                  </a:cubicBezTo>
                  <a:cubicBezTo>
                    <a:pt x="322994" y="4838"/>
                    <a:pt x="320460" y="3571"/>
                    <a:pt x="317811" y="2534"/>
                  </a:cubicBezTo>
                  <a:cubicBezTo>
                    <a:pt x="317350" y="2419"/>
                    <a:pt x="317004" y="2304"/>
                    <a:pt x="316544" y="2189"/>
                  </a:cubicBezTo>
                  <a:cubicBezTo>
                    <a:pt x="316083" y="2189"/>
                    <a:pt x="315622" y="2073"/>
                    <a:pt x="315161" y="1958"/>
                  </a:cubicBezTo>
                  <a:cubicBezTo>
                    <a:pt x="314701" y="1958"/>
                    <a:pt x="314240" y="1958"/>
                    <a:pt x="313779" y="1958"/>
                  </a:cubicBezTo>
                  <a:cubicBezTo>
                    <a:pt x="313318" y="1958"/>
                    <a:pt x="312858" y="1958"/>
                    <a:pt x="312397" y="1958"/>
                  </a:cubicBezTo>
                  <a:cubicBezTo>
                    <a:pt x="310554" y="2419"/>
                    <a:pt x="309056" y="3110"/>
                    <a:pt x="307904" y="4032"/>
                  </a:cubicBezTo>
                  <a:cubicBezTo>
                    <a:pt x="306753" y="4953"/>
                    <a:pt x="305946" y="5990"/>
                    <a:pt x="305370" y="7142"/>
                  </a:cubicBezTo>
                  <a:cubicBezTo>
                    <a:pt x="304679" y="8294"/>
                    <a:pt x="304333" y="9676"/>
                    <a:pt x="303988" y="10943"/>
                  </a:cubicBezTo>
                  <a:cubicBezTo>
                    <a:pt x="303642" y="12210"/>
                    <a:pt x="303412" y="13592"/>
                    <a:pt x="303182" y="14860"/>
                  </a:cubicBezTo>
                  <a:cubicBezTo>
                    <a:pt x="302836" y="16818"/>
                    <a:pt x="302721" y="19006"/>
                    <a:pt x="302606" y="21195"/>
                  </a:cubicBezTo>
                  <a:cubicBezTo>
                    <a:pt x="302606" y="23384"/>
                    <a:pt x="302490" y="25687"/>
                    <a:pt x="302490" y="28107"/>
                  </a:cubicBezTo>
                  <a:cubicBezTo>
                    <a:pt x="302490" y="30526"/>
                    <a:pt x="302490" y="32714"/>
                    <a:pt x="302490" y="35018"/>
                  </a:cubicBezTo>
                  <a:cubicBezTo>
                    <a:pt x="302490" y="37322"/>
                    <a:pt x="302490" y="39510"/>
                    <a:pt x="302490" y="41699"/>
                  </a:cubicBezTo>
                  <a:cubicBezTo>
                    <a:pt x="302490" y="42736"/>
                    <a:pt x="302490" y="43772"/>
                    <a:pt x="302490" y="44694"/>
                  </a:cubicBezTo>
                  <a:cubicBezTo>
                    <a:pt x="302490" y="45731"/>
                    <a:pt x="302375" y="46652"/>
                    <a:pt x="302260" y="47459"/>
                  </a:cubicBezTo>
                  <a:cubicBezTo>
                    <a:pt x="302260" y="48380"/>
                    <a:pt x="302145" y="49071"/>
                    <a:pt x="302030" y="49878"/>
                  </a:cubicBezTo>
                  <a:cubicBezTo>
                    <a:pt x="301914" y="50569"/>
                    <a:pt x="301799" y="51145"/>
                    <a:pt x="301569" y="51721"/>
                  </a:cubicBezTo>
                  <a:lnTo>
                    <a:pt x="301569" y="52642"/>
                  </a:lnTo>
                  <a:cubicBezTo>
                    <a:pt x="300647" y="52066"/>
                    <a:pt x="299496" y="51260"/>
                    <a:pt x="298228" y="50338"/>
                  </a:cubicBezTo>
                  <a:cubicBezTo>
                    <a:pt x="296846" y="49417"/>
                    <a:pt x="295349" y="48150"/>
                    <a:pt x="293736" y="46883"/>
                  </a:cubicBezTo>
                  <a:cubicBezTo>
                    <a:pt x="292123" y="45616"/>
                    <a:pt x="290280" y="44118"/>
                    <a:pt x="288552" y="42621"/>
                  </a:cubicBezTo>
                  <a:cubicBezTo>
                    <a:pt x="286825" y="41123"/>
                    <a:pt x="284982" y="39510"/>
                    <a:pt x="283254" y="37898"/>
                  </a:cubicBezTo>
                  <a:cubicBezTo>
                    <a:pt x="280835" y="35824"/>
                    <a:pt x="278416" y="33751"/>
                    <a:pt x="276112" y="31677"/>
                  </a:cubicBezTo>
                  <a:cubicBezTo>
                    <a:pt x="273693" y="29604"/>
                    <a:pt x="271389" y="27646"/>
                    <a:pt x="269085" y="25803"/>
                  </a:cubicBezTo>
                  <a:cubicBezTo>
                    <a:pt x="266781" y="23960"/>
                    <a:pt x="264362" y="22232"/>
                    <a:pt x="261828" y="20850"/>
                  </a:cubicBezTo>
                  <a:cubicBezTo>
                    <a:pt x="259294" y="19352"/>
                    <a:pt x="256760" y="18200"/>
                    <a:pt x="254110" y="17163"/>
                  </a:cubicBezTo>
                  <a:cubicBezTo>
                    <a:pt x="253534" y="17048"/>
                    <a:pt x="252843" y="16818"/>
                    <a:pt x="252267" y="16703"/>
                  </a:cubicBezTo>
                  <a:cubicBezTo>
                    <a:pt x="251576" y="16587"/>
                    <a:pt x="251000" y="16472"/>
                    <a:pt x="250309" y="16472"/>
                  </a:cubicBezTo>
                  <a:cubicBezTo>
                    <a:pt x="249618" y="16472"/>
                    <a:pt x="248927" y="16472"/>
                    <a:pt x="248236" y="16587"/>
                  </a:cubicBezTo>
                  <a:cubicBezTo>
                    <a:pt x="247545" y="16587"/>
                    <a:pt x="246853" y="16818"/>
                    <a:pt x="246277" y="17048"/>
                  </a:cubicBezTo>
                  <a:cubicBezTo>
                    <a:pt x="244550" y="17855"/>
                    <a:pt x="243167" y="18776"/>
                    <a:pt x="242131" y="19813"/>
                  </a:cubicBezTo>
                  <a:cubicBezTo>
                    <a:pt x="241209" y="20965"/>
                    <a:pt x="240518" y="22232"/>
                    <a:pt x="240057" y="23499"/>
                  </a:cubicBezTo>
                  <a:cubicBezTo>
                    <a:pt x="239596" y="24881"/>
                    <a:pt x="239366" y="26263"/>
                    <a:pt x="239251" y="27646"/>
                  </a:cubicBezTo>
                  <a:cubicBezTo>
                    <a:pt x="239136" y="29028"/>
                    <a:pt x="239136" y="30526"/>
                    <a:pt x="239020" y="31793"/>
                  </a:cubicBezTo>
                  <a:cubicBezTo>
                    <a:pt x="239020" y="34903"/>
                    <a:pt x="239481" y="38243"/>
                    <a:pt x="239942" y="41699"/>
                  </a:cubicBezTo>
                  <a:cubicBezTo>
                    <a:pt x="240403" y="45155"/>
                    <a:pt x="240979" y="48726"/>
                    <a:pt x="241555" y="52181"/>
                  </a:cubicBezTo>
                  <a:cubicBezTo>
                    <a:pt x="242131" y="55637"/>
                    <a:pt x="242707" y="59093"/>
                    <a:pt x="243052" y="62088"/>
                  </a:cubicBezTo>
                  <a:cubicBezTo>
                    <a:pt x="243513" y="65198"/>
                    <a:pt x="243743" y="67962"/>
                    <a:pt x="243743" y="70151"/>
                  </a:cubicBezTo>
                  <a:lnTo>
                    <a:pt x="243743" y="73031"/>
                  </a:lnTo>
                  <a:cubicBezTo>
                    <a:pt x="241555" y="72225"/>
                    <a:pt x="238445" y="70497"/>
                    <a:pt x="234758" y="68078"/>
                  </a:cubicBezTo>
                  <a:cubicBezTo>
                    <a:pt x="231072" y="65774"/>
                    <a:pt x="226810" y="62779"/>
                    <a:pt x="222203" y="59784"/>
                  </a:cubicBezTo>
                  <a:cubicBezTo>
                    <a:pt x="217710" y="56789"/>
                    <a:pt x="212872" y="53679"/>
                    <a:pt x="208149" y="51029"/>
                  </a:cubicBezTo>
                  <a:cubicBezTo>
                    <a:pt x="203542" y="48380"/>
                    <a:pt x="198934" y="46076"/>
                    <a:pt x="194787" y="44809"/>
                  </a:cubicBezTo>
                  <a:cubicBezTo>
                    <a:pt x="193981" y="44579"/>
                    <a:pt x="193059" y="44348"/>
                    <a:pt x="192138" y="44233"/>
                  </a:cubicBezTo>
                  <a:cubicBezTo>
                    <a:pt x="191216" y="44118"/>
                    <a:pt x="190180" y="44003"/>
                    <a:pt x="189258" y="44003"/>
                  </a:cubicBezTo>
                  <a:cubicBezTo>
                    <a:pt x="188221" y="44003"/>
                    <a:pt x="187300" y="44118"/>
                    <a:pt x="186263" y="44348"/>
                  </a:cubicBezTo>
                  <a:cubicBezTo>
                    <a:pt x="185342" y="44579"/>
                    <a:pt x="184305" y="44924"/>
                    <a:pt x="183383" y="45500"/>
                  </a:cubicBezTo>
                  <a:cubicBezTo>
                    <a:pt x="182347" y="46191"/>
                    <a:pt x="181425" y="46998"/>
                    <a:pt x="180849" y="47804"/>
                  </a:cubicBezTo>
                  <a:cubicBezTo>
                    <a:pt x="180158" y="48610"/>
                    <a:pt x="179697" y="49532"/>
                    <a:pt x="179352" y="50569"/>
                  </a:cubicBezTo>
                  <a:cubicBezTo>
                    <a:pt x="179006" y="51490"/>
                    <a:pt x="178776" y="52527"/>
                    <a:pt x="178661" y="53564"/>
                  </a:cubicBezTo>
                  <a:cubicBezTo>
                    <a:pt x="178545" y="54600"/>
                    <a:pt x="178430" y="55522"/>
                    <a:pt x="178430" y="56443"/>
                  </a:cubicBezTo>
                  <a:cubicBezTo>
                    <a:pt x="178545" y="60245"/>
                    <a:pt x="179352" y="64737"/>
                    <a:pt x="180388" y="69460"/>
                  </a:cubicBezTo>
                  <a:cubicBezTo>
                    <a:pt x="181540" y="74183"/>
                    <a:pt x="182923" y="79021"/>
                    <a:pt x="184420" y="83744"/>
                  </a:cubicBezTo>
                  <a:cubicBezTo>
                    <a:pt x="185802" y="88466"/>
                    <a:pt x="187300" y="92959"/>
                    <a:pt x="188337" y="96875"/>
                  </a:cubicBezTo>
                  <a:cubicBezTo>
                    <a:pt x="189373" y="100677"/>
                    <a:pt x="190064" y="104017"/>
                    <a:pt x="190180" y="106206"/>
                  </a:cubicBezTo>
                  <a:lnTo>
                    <a:pt x="189489" y="106206"/>
                  </a:lnTo>
                  <a:cubicBezTo>
                    <a:pt x="189489" y="106206"/>
                    <a:pt x="189489" y="105975"/>
                    <a:pt x="189373" y="105975"/>
                  </a:cubicBezTo>
                  <a:cubicBezTo>
                    <a:pt x="189373" y="105975"/>
                    <a:pt x="189373" y="105975"/>
                    <a:pt x="189258" y="105975"/>
                  </a:cubicBezTo>
                  <a:cubicBezTo>
                    <a:pt x="189258" y="105975"/>
                    <a:pt x="189258" y="105975"/>
                    <a:pt x="189143" y="105975"/>
                  </a:cubicBezTo>
                  <a:cubicBezTo>
                    <a:pt x="189143" y="105975"/>
                    <a:pt x="189028" y="105975"/>
                    <a:pt x="188913" y="105975"/>
                  </a:cubicBezTo>
                  <a:cubicBezTo>
                    <a:pt x="186378" y="105284"/>
                    <a:pt x="183268" y="104017"/>
                    <a:pt x="179697" y="102404"/>
                  </a:cubicBezTo>
                  <a:cubicBezTo>
                    <a:pt x="176011" y="100677"/>
                    <a:pt x="171980" y="98718"/>
                    <a:pt x="167717" y="96760"/>
                  </a:cubicBezTo>
                  <a:cubicBezTo>
                    <a:pt x="163455" y="94687"/>
                    <a:pt x="159078" y="92613"/>
                    <a:pt x="154701" y="90770"/>
                  </a:cubicBezTo>
                  <a:cubicBezTo>
                    <a:pt x="150439" y="88927"/>
                    <a:pt x="146177" y="87314"/>
                    <a:pt x="142376" y="86278"/>
                  </a:cubicBezTo>
                  <a:cubicBezTo>
                    <a:pt x="141108" y="85932"/>
                    <a:pt x="139841" y="85587"/>
                    <a:pt x="138459" y="85471"/>
                  </a:cubicBezTo>
                  <a:cubicBezTo>
                    <a:pt x="137077" y="85241"/>
                    <a:pt x="135694" y="85126"/>
                    <a:pt x="134312" y="85126"/>
                  </a:cubicBezTo>
                  <a:cubicBezTo>
                    <a:pt x="132930" y="85126"/>
                    <a:pt x="131548" y="85356"/>
                    <a:pt x="130165" y="85817"/>
                  </a:cubicBezTo>
                  <a:cubicBezTo>
                    <a:pt x="128783" y="86278"/>
                    <a:pt x="127516" y="87084"/>
                    <a:pt x="126249" y="88121"/>
                  </a:cubicBezTo>
                  <a:cubicBezTo>
                    <a:pt x="125558" y="88697"/>
                    <a:pt x="124982" y="89388"/>
                    <a:pt x="124521" y="90079"/>
                  </a:cubicBezTo>
                  <a:cubicBezTo>
                    <a:pt x="124060" y="90770"/>
                    <a:pt x="123715" y="91461"/>
                    <a:pt x="123484" y="92268"/>
                  </a:cubicBezTo>
                  <a:cubicBezTo>
                    <a:pt x="123254" y="93074"/>
                    <a:pt x="123139" y="93765"/>
                    <a:pt x="123024" y="94572"/>
                  </a:cubicBezTo>
                  <a:cubicBezTo>
                    <a:pt x="123024" y="95378"/>
                    <a:pt x="122908" y="96069"/>
                    <a:pt x="122908" y="96875"/>
                  </a:cubicBezTo>
                  <a:cubicBezTo>
                    <a:pt x="122908" y="99525"/>
                    <a:pt x="123369" y="102174"/>
                    <a:pt x="124060" y="104823"/>
                  </a:cubicBezTo>
                  <a:cubicBezTo>
                    <a:pt x="124751" y="107473"/>
                    <a:pt x="125673" y="110122"/>
                    <a:pt x="126710" y="112887"/>
                  </a:cubicBezTo>
                  <a:cubicBezTo>
                    <a:pt x="127862" y="115651"/>
                    <a:pt x="129013" y="118301"/>
                    <a:pt x="130281" y="121065"/>
                  </a:cubicBezTo>
                  <a:cubicBezTo>
                    <a:pt x="131548" y="123830"/>
                    <a:pt x="132930" y="126594"/>
                    <a:pt x="134197" y="129359"/>
                  </a:cubicBezTo>
                  <a:cubicBezTo>
                    <a:pt x="135234" y="131548"/>
                    <a:pt x="136386" y="133851"/>
                    <a:pt x="137307" y="136040"/>
                  </a:cubicBezTo>
                  <a:cubicBezTo>
                    <a:pt x="138344" y="138229"/>
                    <a:pt x="139265" y="140417"/>
                    <a:pt x="140072" y="142376"/>
                  </a:cubicBezTo>
                  <a:cubicBezTo>
                    <a:pt x="140878" y="144449"/>
                    <a:pt x="141569" y="146177"/>
                    <a:pt x="142145" y="147790"/>
                  </a:cubicBezTo>
                  <a:cubicBezTo>
                    <a:pt x="142721" y="149402"/>
                    <a:pt x="143067" y="150669"/>
                    <a:pt x="143297" y="151706"/>
                  </a:cubicBezTo>
                  <a:cubicBezTo>
                    <a:pt x="142836" y="151706"/>
                    <a:pt x="142376" y="151706"/>
                    <a:pt x="141800" y="151591"/>
                  </a:cubicBezTo>
                  <a:cubicBezTo>
                    <a:pt x="141224" y="151591"/>
                    <a:pt x="140533" y="151360"/>
                    <a:pt x="139841" y="151360"/>
                  </a:cubicBezTo>
                  <a:cubicBezTo>
                    <a:pt x="139150" y="151245"/>
                    <a:pt x="138344" y="151130"/>
                    <a:pt x="137538" y="150900"/>
                  </a:cubicBezTo>
                  <a:cubicBezTo>
                    <a:pt x="136731" y="150784"/>
                    <a:pt x="135925" y="150554"/>
                    <a:pt x="135003" y="150324"/>
                  </a:cubicBezTo>
                  <a:cubicBezTo>
                    <a:pt x="132815" y="149748"/>
                    <a:pt x="130396" y="149057"/>
                    <a:pt x="127862" y="148365"/>
                  </a:cubicBezTo>
                  <a:cubicBezTo>
                    <a:pt x="125327" y="147674"/>
                    <a:pt x="122678" y="146868"/>
                    <a:pt x="120029" y="145947"/>
                  </a:cubicBezTo>
                  <a:cubicBezTo>
                    <a:pt x="117379" y="145140"/>
                    <a:pt x="114615" y="144219"/>
                    <a:pt x="111850" y="143528"/>
                  </a:cubicBezTo>
                  <a:cubicBezTo>
                    <a:pt x="109085" y="142721"/>
                    <a:pt x="106436" y="142030"/>
                    <a:pt x="103787" y="141339"/>
                  </a:cubicBezTo>
                  <a:cubicBezTo>
                    <a:pt x="101483" y="140993"/>
                    <a:pt x="99294" y="140417"/>
                    <a:pt x="96875" y="139957"/>
                  </a:cubicBezTo>
                  <a:cubicBezTo>
                    <a:pt x="94571" y="139496"/>
                    <a:pt x="92268" y="139150"/>
                    <a:pt x="89964" y="139035"/>
                  </a:cubicBezTo>
                  <a:cubicBezTo>
                    <a:pt x="87660" y="139035"/>
                    <a:pt x="85471" y="139265"/>
                    <a:pt x="83283" y="140072"/>
                  </a:cubicBezTo>
                  <a:cubicBezTo>
                    <a:pt x="81094" y="140878"/>
                    <a:pt x="79021" y="142260"/>
                    <a:pt x="76947" y="144334"/>
                  </a:cubicBezTo>
                  <a:cubicBezTo>
                    <a:pt x="76602" y="144795"/>
                    <a:pt x="76256" y="145255"/>
                    <a:pt x="76026" y="145831"/>
                  </a:cubicBezTo>
                  <a:cubicBezTo>
                    <a:pt x="75795" y="146292"/>
                    <a:pt x="75565" y="146868"/>
                    <a:pt x="75335" y="147444"/>
                  </a:cubicBezTo>
                  <a:cubicBezTo>
                    <a:pt x="75104" y="148020"/>
                    <a:pt x="74989" y="148596"/>
                    <a:pt x="74874" y="149172"/>
                  </a:cubicBezTo>
                  <a:cubicBezTo>
                    <a:pt x="74874" y="149748"/>
                    <a:pt x="74759" y="150439"/>
                    <a:pt x="74759" y="151015"/>
                  </a:cubicBezTo>
                  <a:cubicBezTo>
                    <a:pt x="74874" y="154240"/>
                    <a:pt x="75680" y="157350"/>
                    <a:pt x="76717" y="160460"/>
                  </a:cubicBezTo>
                  <a:cubicBezTo>
                    <a:pt x="77754" y="163455"/>
                    <a:pt x="79136" y="166335"/>
                    <a:pt x="80749" y="169330"/>
                  </a:cubicBezTo>
                  <a:cubicBezTo>
                    <a:pt x="82361" y="172210"/>
                    <a:pt x="84204" y="175090"/>
                    <a:pt x="86047" y="177969"/>
                  </a:cubicBezTo>
                  <a:cubicBezTo>
                    <a:pt x="87890" y="180849"/>
                    <a:pt x="89849" y="183844"/>
                    <a:pt x="91692" y="186954"/>
                  </a:cubicBezTo>
                  <a:cubicBezTo>
                    <a:pt x="93304" y="189143"/>
                    <a:pt x="94802" y="191447"/>
                    <a:pt x="96069" y="193635"/>
                  </a:cubicBezTo>
                  <a:cubicBezTo>
                    <a:pt x="97451" y="195824"/>
                    <a:pt x="98718" y="198013"/>
                    <a:pt x="99755" y="199971"/>
                  </a:cubicBezTo>
                  <a:cubicBezTo>
                    <a:pt x="100907" y="201929"/>
                    <a:pt x="101828" y="203772"/>
                    <a:pt x="102635" y="205385"/>
                  </a:cubicBezTo>
                  <a:cubicBezTo>
                    <a:pt x="103441" y="206997"/>
                    <a:pt x="104017" y="208265"/>
                    <a:pt x="104478" y="209186"/>
                  </a:cubicBezTo>
                  <a:cubicBezTo>
                    <a:pt x="103441" y="209186"/>
                    <a:pt x="101828" y="209186"/>
                    <a:pt x="99985" y="209186"/>
                  </a:cubicBezTo>
                  <a:cubicBezTo>
                    <a:pt x="98142" y="209186"/>
                    <a:pt x="95954" y="208956"/>
                    <a:pt x="93420" y="208841"/>
                  </a:cubicBezTo>
                  <a:cubicBezTo>
                    <a:pt x="91001" y="208725"/>
                    <a:pt x="88351" y="208495"/>
                    <a:pt x="85587" y="208149"/>
                  </a:cubicBezTo>
                  <a:cubicBezTo>
                    <a:pt x="82822" y="207804"/>
                    <a:pt x="79942" y="207458"/>
                    <a:pt x="77178" y="206997"/>
                  </a:cubicBezTo>
                  <a:cubicBezTo>
                    <a:pt x="75335" y="206767"/>
                    <a:pt x="73492" y="206652"/>
                    <a:pt x="71764" y="206422"/>
                  </a:cubicBezTo>
                  <a:cubicBezTo>
                    <a:pt x="69921" y="206191"/>
                    <a:pt x="68078" y="206076"/>
                    <a:pt x="66350" y="205961"/>
                  </a:cubicBezTo>
                  <a:cubicBezTo>
                    <a:pt x="64507" y="205846"/>
                    <a:pt x="62779" y="205730"/>
                    <a:pt x="61051" y="205615"/>
                  </a:cubicBezTo>
                  <a:cubicBezTo>
                    <a:pt x="59323" y="205615"/>
                    <a:pt x="57595" y="205615"/>
                    <a:pt x="55983" y="205615"/>
                  </a:cubicBezTo>
                  <a:cubicBezTo>
                    <a:pt x="54485" y="205615"/>
                    <a:pt x="52872" y="205730"/>
                    <a:pt x="51145" y="205961"/>
                  </a:cubicBezTo>
                  <a:cubicBezTo>
                    <a:pt x="49532" y="206191"/>
                    <a:pt x="47919" y="206422"/>
                    <a:pt x="46191" y="206997"/>
                  </a:cubicBezTo>
                  <a:cubicBezTo>
                    <a:pt x="44579" y="207573"/>
                    <a:pt x="43081" y="208380"/>
                    <a:pt x="41699" y="209532"/>
                  </a:cubicBezTo>
                  <a:cubicBezTo>
                    <a:pt x="40317" y="210684"/>
                    <a:pt x="39050" y="212181"/>
                    <a:pt x="37898" y="214255"/>
                  </a:cubicBezTo>
                  <a:lnTo>
                    <a:pt x="36861" y="219208"/>
                  </a:lnTo>
                  <a:cubicBezTo>
                    <a:pt x="37207" y="223124"/>
                    <a:pt x="38128" y="226580"/>
                    <a:pt x="39626" y="229920"/>
                  </a:cubicBezTo>
                  <a:cubicBezTo>
                    <a:pt x="41123" y="233146"/>
                    <a:pt x="42966" y="236256"/>
                    <a:pt x="45270" y="239251"/>
                  </a:cubicBezTo>
                  <a:cubicBezTo>
                    <a:pt x="47459" y="242246"/>
                    <a:pt x="49878" y="245126"/>
                    <a:pt x="52412" y="248005"/>
                  </a:cubicBezTo>
                  <a:cubicBezTo>
                    <a:pt x="54831" y="250885"/>
                    <a:pt x="57480" y="253880"/>
                    <a:pt x="59899" y="256990"/>
                  </a:cubicBezTo>
                  <a:cubicBezTo>
                    <a:pt x="61166" y="258373"/>
                    <a:pt x="62433" y="259870"/>
                    <a:pt x="63700" y="261252"/>
                  </a:cubicBezTo>
                  <a:cubicBezTo>
                    <a:pt x="64967" y="262635"/>
                    <a:pt x="66119" y="264132"/>
                    <a:pt x="67271" y="265399"/>
                  </a:cubicBezTo>
                  <a:cubicBezTo>
                    <a:pt x="68423" y="266781"/>
                    <a:pt x="69575" y="268049"/>
                    <a:pt x="70497" y="269316"/>
                  </a:cubicBezTo>
                  <a:cubicBezTo>
                    <a:pt x="71533" y="270583"/>
                    <a:pt x="72455" y="271735"/>
                    <a:pt x="73261" y="272886"/>
                  </a:cubicBezTo>
                  <a:lnTo>
                    <a:pt x="76256" y="277725"/>
                  </a:lnTo>
                  <a:cubicBezTo>
                    <a:pt x="75219" y="278070"/>
                    <a:pt x="73837" y="278416"/>
                    <a:pt x="71994" y="278761"/>
                  </a:cubicBezTo>
                  <a:cubicBezTo>
                    <a:pt x="70151" y="279107"/>
                    <a:pt x="67962" y="279452"/>
                    <a:pt x="65543" y="279798"/>
                  </a:cubicBezTo>
                  <a:cubicBezTo>
                    <a:pt x="63124" y="280028"/>
                    <a:pt x="60360" y="280374"/>
                    <a:pt x="57710" y="280604"/>
                  </a:cubicBezTo>
                  <a:cubicBezTo>
                    <a:pt x="54946" y="280835"/>
                    <a:pt x="52066" y="280950"/>
                    <a:pt x="49186" y="281065"/>
                  </a:cubicBezTo>
                  <a:cubicBezTo>
                    <a:pt x="47343" y="281180"/>
                    <a:pt x="45500" y="281295"/>
                    <a:pt x="43657" y="281411"/>
                  </a:cubicBezTo>
                  <a:cubicBezTo>
                    <a:pt x="41814" y="281526"/>
                    <a:pt x="39971" y="281756"/>
                    <a:pt x="38243" y="281871"/>
                  </a:cubicBezTo>
                  <a:cubicBezTo>
                    <a:pt x="36515" y="282102"/>
                    <a:pt x="34672" y="282332"/>
                    <a:pt x="32945" y="282563"/>
                  </a:cubicBezTo>
                  <a:cubicBezTo>
                    <a:pt x="31217" y="282793"/>
                    <a:pt x="29604" y="283138"/>
                    <a:pt x="27991" y="283484"/>
                  </a:cubicBezTo>
                  <a:cubicBezTo>
                    <a:pt x="26379" y="283945"/>
                    <a:pt x="24766" y="284290"/>
                    <a:pt x="23269" y="284866"/>
                  </a:cubicBezTo>
                  <a:cubicBezTo>
                    <a:pt x="21656" y="285442"/>
                    <a:pt x="20043" y="286018"/>
                    <a:pt x="18546" y="286940"/>
                  </a:cubicBezTo>
                  <a:cubicBezTo>
                    <a:pt x="17048" y="287746"/>
                    <a:pt x="15666" y="288898"/>
                    <a:pt x="14514" y="290511"/>
                  </a:cubicBezTo>
                  <a:cubicBezTo>
                    <a:pt x="13247" y="292008"/>
                    <a:pt x="12325" y="293851"/>
                    <a:pt x="11519" y="296155"/>
                  </a:cubicBezTo>
                  <a:lnTo>
                    <a:pt x="11289" y="298689"/>
                  </a:lnTo>
                  <a:cubicBezTo>
                    <a:pt x="11289" y="301223"/>
                    <a:pt x="11749" y="303412"/>
                    <a:pt x="12441" y="305370"/>
                  </a:cubicBezTo>
                  <a:cubicBezTo>
                    <a:pt x="13132" y="307329"/>
                    <a:pt x="13938" y="309172"/>
                    <a:pt x="14975" y="310899"/>
                  </a:cubicBezTo>
                  <a:cubicBezTo>
                    <a:pt x="16011" y="312627"/>
                    <a:pt x="17279" y="314125"/>
                    <a:pt x="18546" y="315622"/>
                  </a:cubicBezTo>
                  <a:cubicBezTo>
                    <a:pt x="19813" y="317235"/>
                    <a:pt x="21195" y="318617"/>
                    <a:pt x="22462" y="320115"/>
                  </a:cubicBezTo>
                  <a:cubicBezTo>
                    <a:pt x="24420" y="322188"/>
                    <a:pt x="26609" y="324377"/>
                    <a:pt x="28913" y="326450"/>
                  </a:cubicBezTo>
                  <a:cubicBezTo>
                    <a:pt x="31217" y="328524"/>
                    <a:pt x="33520" y="330712"/>
                    <a:pt x="35939" y="332786"/>
                  </a:cubicBezTo>
                  <a:cubicBezTo>
                    <a:pt x="38358" y="334859"/>
                    <a:pt x="40777" y="336933"/>
                    <a:pt x="42966" y="339006"/>
                  </a:cubicBezTo>
                  <a:cubicBezTo>
                    <a:pt x="45270" y="341079"/>
                    <a:pt x="47574" y="343038"/>
                    <a:pt x="49647" y="344996"/>
                  </a:cubicBezTo>
                  <a:cubicBezTo>
                    <a:pt x="50684" y="345917"/>
                    <a:pt x="51721" y="346839"/>
                    <a:pt x="52642" y="347760"/>
                  </a:cubicBezTo>
                  <a:cubicBezTo>
                    <a:pt x="53564" y="348682"/>
                    <a:pt x="54485" y="349488"/>
                    <a:pt x="55407" y="350295"/>
                  </a:cubicBezTo>
                  <a:cubicBezTo>
                    <a:pt x="56328" y="351101"/>
                    <a:pt x="57019" y="351907"/>
                    <a:pt x="57710" y="352598"/>
                  </a:cubicBezTo>
                  <a:cubicBezTo>
                    <a:pt x="58402" y="353405"/>
                    <a:pt x="58978" y="354096"/>
                    <a:pt x="59554" y="354672"/>
                  </a:cubicBezTo>
                  <a:lnTo>
                    <a:pt x="60475" y="355939"/>
                  </a:lnTo>
                  <a:cubicBezTo>
                    <a:pt x="60475" y="355939"/>
                    <a:pt x="59784" y="356285"/>
                    <a:pt x="59323" y="356515"/>
                  </a:cubicBezTo>
                  <a:cubicBezTo>
                    <a:pt x="58862" y="356745"/>
                    <a:pt x="58402" y="356976"/>
                    <a:pt x="57826" y="357206"/>
                  </a:cubicBezTo>
                  <a:cubicBezTo>
                    <a:pt x="57250" y="357436"/>
                    <a:pt x="56674" y="357782"/>
                    <a:pt x="55983" y="358012"/>
                  </a:cubicBezTo>
                  <a:cubicBezTo>
                    <a:pt x="55291" y="358243"/>
                    <a:pt x="54600" y="358473"/>
                    <a:pt x="53794" y="358704"/>
                  </a:cubicBezTo>
                  <a:cubicBezTo>
                    <a:pt x="51721" y="359395"/>
                    <a:pt x="49417" y="360086"/>
                    <a:pt x="47113" y="360777"/>
                  </a:cubicBezTo>
                  <a:cubicBezTo>
                    <a:pt x="44694" y="361468"/>
                    <a:pt x="42160" y="362159"/>
                    <a:pt x="39510" y="362850"/>
                  </a:cubicBezTo>
                  <a:cubicBezTo>
                    <a:pt x="36976" y="363542"/>
                    <a:pt x="34212" y="364233"/>
                    <a:pt x="31562" y="364924"/>
                  </a:cubicBezTo>
                  <a:cubicBezTo>
                    <a:pt x="28913" y="365730"/>
                    <a:pt x="26148" y="366536"/>
                    <a:pt x="23614" y="367228"/>
                  </a:cubicBezTo>
                  <a:cubicBezTo>
                    <a:pt x="21195" y="368264"/>
                    <a:pt x="18661" y="369071"/>
                    <a:pt x="16242" y="369877"/>
                  </a:cubicBezTo>
                  <a:cubicBezTo>
                    <a:pt x="13823" y="370798"/>
                    <a:pt x="11404" y="371835"/>
                    <a:pt x="9215" y="373217"/>
                  </a:cubicBezTo>
                  <a:cubicBezTo>
                    <a:pt x="7027" y="374600"/>
                    <a:pt x="5068" y="376212"/>
                    <a:pt x="3456" y="378516"/>
                  </a:cubicBezTo>
                  <a:cubicBezTo>
                    <a:pt x="1843" y="380820"/>
                    <a:pt x="691" y="383700"/>
                    <a:pt x="0" y="387501"/>
                  </a:cubicBezTo>
                  <a:cubicBezTo>
                    <a:pt x="0" y="390381"/>
                    <a:pt x="576" y="392915"/>
                    <a:pt x="1497" y="395104"/>
                  </a:cubicBezTo>
                  <a:cubicBezTo>
                    <a:pt x="2304" y="397292"/>
                    <a:pt x="3456" y="399366"/>
                    <a:pt x="4723" y="401094"/>
                  </a:cubicBezTo>
                  <a:cubicBezTo>
                    <a:pt x="5990" y="402821"/>
                    <a:pt x="7487" y="404434"/>
                    <a:pt x="9100" y="405816"/>
                  </a:cubicBezTo>
                  <a:cubicBezTo>
                    <a:pt x="10598" y="407314"/>
                    <a:pt x="12210" y="408581"/>
                    <a:pt x="13708" y="409963"/>
                  </a:cubicBezTo>
                  <a:cubicBezTo>
                    <a:pt x="16127" y="411922"/>
                    <a:pt x="18661" y="413765"/>
                    <a:pt x="21425" y="415608"/>
                  </a:cubicBezTo>
                  <a:cubicBezTo>
                    <a:pt x="24075" y="417451"/>
                    <a:pt x="26839" y="419294"/>
                    <a:pt x="29604" y="421137"/>
                  </a:cubicBezTo>
                  <a:cubicBezTo>
                    <a:pt x="32369" y="422865"/>
                    <a:pt x="35133" y="424708"/>
                    <a:pt x="37898" y="426436"/>
                  </a:cubicBezTo>
                  <a:cubicBezTo>
                    <a:pt x="40662" y="428163"/>
                    <a:pt x="43312" y="429891"/>
                    <a:pt x="45846" y="431504"/>
                  </a:cubicBezTo>
                  <a:cubicBezTo>
                    <a:pt x="46998" y="432310"/>
                    <a:pt x="48265" y="433117"/>
                    <a:pt x="49302" y="433923"/>
                  </a:cubicBezTo>
                  <a:cubicBezTo>
                    <a:pt x="50453" y="434614"/>
                    <a:pt x="51490" y="435420"/>
                    <a:pt x="52527" y="436112"/>
                  </a:cubicBezTo>
                  <a:cubicBezTo>
                    <a:pt x="53448" y="436803"/>
                    <a:pt x="54370" y="437494"/>
                    <a:pt x="55176" y="438185"/>
                  </a:cubicBezTo>
                  <a:cubicBezTo>
                    <a:pt x="55983" y="438876"/>
                    <a:pt x="56674" y="439452"/>
                    <a:pt x="57250" y="440028"/>
                  </a:cubicBezTo>
                  <a:lnTo>
                    <a:pt x="58171" y="440950"/>
                  </a:lnTo>
                  <a:cubicBezTo>
                    <a:pt x="57365" y="441641"/>
                    <a:pt x="56098" y="442562"/>
                    <a:pt x="54485" y="443599"/>
                  </a:cubicBezTo>
                  <a:cubicBezTo>
                    <a:pt x="52872" y="444636"/>
                    <a:pt x="50914" y="445903"/>
                    <a:pt x="48841" y="447170"/>
                  </a:cubicBezTo>
                  <a:cubicBezTo>
                    <a:pt x="46767" y="448437"/>
                    <a:pt x="44348" y="449704"/>
                    <a:pt x="41929" y="451086"/>
                  </a:cubicBezTo>
                  <a:cubicBezTo>
                    <a:pt x="39510" y="452353"/>
                    <a:pt x="36976" y="453736"/>
                    <a:pt x="34442" y="454888"/>
                  </a:cubicBezTo>
                  <a:cubicBezTo>
                    <a:pt x="31332" y="456846"/>
                    <a:pt x="28107" y="458459"/>
                    <a:pt x="24996" y="460071"/>
                  </a:cubicBezTo>
                  <a:cubicBezTo>
                    <a:pt x="21886" y="461684"/>
                    <a:pt x="18776" y="463297"/>
                    <a:pt x="16011" y="465255"/>
                  </a:cubicBezTo>
                  <a:cubicBezTo>
                    <a:pt x="13132" y="467213"/>
                    <a:pt x="10598" y="469517"/>
                    <a:pt x="8524" y="472397"/>
                  </a:cubicBezTo>
                  <a:cubicBezTo>
                    <a:pt x="6451" y="475276"/>
                    <a:pt x="4838" y="478847"/>
                    <a:pt x="4032" y="483455"/>
                  </a:cubicBezTo>
                  <a:lnTo>
                    <a:pt x="4032" y="486220"/>
                  </a:lnTo>
                  <a:cubicBezTo>
                    <a:pt x="4723" y="489214"/>
                    <a:pt x="5644" y="491633"/>
                    <a:pt x="6911" y="493822"/>
                  </a:cubicBezTo>
                  <a:cubicBezTo>
                    <a:pt x="8179" y="496011"/>
                    <a:pt x="9561" y="497739"/>
                    <a:pt x="11173" y="499351"/>
                  </a:cubicBezTo>
                  <a:cubicBezTo>
                    <a:pt x="12786" y="500849"/>
                    <a:pt x="14514" y="502231"/>
                    <a:pt x="16242" y="503383"/>
                  </a:cubicBezTo>
                  <a:cubicBezTo>
                    <a:pt x="17970" y="504650"/>
                    <a:pt x="19813" y="505687"/>
                    <a:pt x="21541" y="506839"/>
                  </a:cubicBezTo>
                  <a:cubicBezTo>
                    <a:pt x="24190" y="508336"/>
                    <a:pt x="26955" y="509834"/>
                    <a:pt x="29950" y="511216"/>
                  </a:cubicBezTo>
                  <a:cubicBezTo>
                    <a:pt x="32829" y="512598"/>
                    <a:pt x="35824" y="513980"/>
                    <a:pt x="38934" y="515247"/>
                  </a:cubicBezTo>
                  <a:cubicBezTo>
                    <a:pt x="41929" y="516515"/>
                    <a:pt x="45040" y="517782"/>
                    <a:pt x="47919" y="519049"/>
                  </a:cubicBezTo>
                  <a:cubicBezTo>
                    <a:pt x="50914" y="520316"/>
                    <a:pt x="53794" y="521583"/>
                    <a:pt x="56443" y="522735"/>
                  </a:cubicBezTo>
                  <a:cubicBezTo>
                    <a:pt x="57826" y="523311"/>
                    <a:pt x="59093" y="524002"/>
                    <a:pt x="60360" y="524578"/>
                  </a:cubicBezTo>
                  <a:cubicBezTo>
                    <a:pt x="61627" y="525154"/>
                    <a:pt x="62779" y="525730"/>
                    <a:pt x="63931" y="526306"/>
                  </a:cubicBezTo>
                  <a:cubicBezTo>
                    <a:pt x="64967" y="526882"/>
                    <a:pt x="66004" y="527458"/>
                    <a:pt x="66926" y="527918"/>
                  </a:cubicBezTo>
                  <a:cubicBezTo>
                    <a:pt x="67847" y="528494"/>
                    <a:pt x="68654" y="528955"/>
                    <a:pt x="69345" y="529416"/>
                  </a:cubicBezTo>
                  <a:lnTo>
                    <a:pt x="70381" y="529992"/>
                  </a:lnTo>
                  <a:cubicBezTo>
                    <a:pt x="69690" y="531029"/>
                    <a:pt x="68538" y="532296"/>
                    <a:pt x="67156" y="533678"/>
                  </a:cubicBezTo>
                  <a:cubicBezTo>
                    <a:pt x="65774" y="535176"/>
                    <a:pt x="64161" y="536673"/>
                    <a:pt x="62203" y="538516"/>
                  </a:cubicBezTo>
                  <a:cubicBezTo>
                    <a:pt x="60360" y="540244"/>
                    <a:pt x="58286" y="541972"/>
                    <a:pt x="56213" y="543815"/>
                  </a:cubicBezTo>
                  <a:cubicBezTo>
                    <a:pt x="54024" y="545658"/>
                    <a:pt x="51836" y="547386"/>
                    <a:pt x="49532" y="549229"/>
                  </a:cubicBezTo>
                  <a:cubicBezTo>
                    <a:pt x="46883" y="551763"/>
                    <a:pt x="44118" y="553952"/>
                    <a:pt x="41584" y="556255"/>
                  </a:cubicBezTo>
                  <a:cubicBezTo>
                    <a:pt x="38934" y="558444"/>
                    <a:pt x="36400" y="560633"/>
                    <a:pt x="34096" y="563167"/>
                  </a:cubicBezTo>
                  <a:cubicBezTo>
                    <a:pt x="31793" y="565586"/>
                    <a:pt x="29719" y="568235"/>
                    <a:pt x="27991" y="571230"/>
                  </a:cubicBezTo>
                  <a:cubicBezTo>
                    <a:pt x="26263" y="574340"/>
                    <a:pt x="25112" y="577796"/>
                    <a:pt x="24536" y="582058"/>
                  </a:cubicBezTo>
                  <a:lnTo>
                    <a:pt x="25342" y="587933"/>
                  </a:lnTo>
                  <a:cubicBezTo>
                    <a:pt x="26379" y="590928"/>
                    <a:pt x="27761" y="593347"/>
                    <a:pt x="29374" y="595305"/>
                  </a:cubicBezTo>
                  <a:cubicBezTo>
                    <a:pt x="30871" y="597263"/>
                    <a:pt x="32599" y="598876"/>
                    <a:pt x="34442" y="600143"/>
                  </a:cubicBezTo>
                  <a:cubicBezTo>
                    <a:pt x="36285" y="601410"/>
                    <a:pt x="38128" y="602447"/>
                    <a:pt x="40086" y="603368"/>
                  </a:cubicBezTo>
                  <a:cubicBezTo>
                    <a:pt x="42045" y="604290"/>
                    <a:pt x="43888" y="604981"/>
                    <a:pt x="45731" y="605787"/>
                  </a:cubicBezTo>
                  <a:cubicBezTo>
                    <a:pt x="48610" y="606824"/>
                    <a:pt x="51605" y="607746"/>
                    <a:pt x="54716" y="608552"/>
                  </a:cubicBezTo>
                  <a:cubicBezTo>
                    <a:pt x="57826" y="609473"/>
                    <a:pt x="60936" y="610165"/>
                    <a:pt x="64161" y="610856"/>
                  </a:cubicBezTo>
                  <a:cubicBezTo>
                    <a:pt x="67386" y="611547"/>
                    <a:pt x="70497" y="612238"/>
                    <a:pt x="73607" y="613044"/>
                  </a:cubicBezTo>
                  <a:cubicBezTo>
                    <a:pt x="76717" y="613735"/>
                    <a:pt x="79712" y="614427"/>
                    <a:pt x="82592" y="615233"/>
                  </a:cubicBezTo>
                  <a:cubicBezTo>
                    <a:pt x="83974" y="615578"/>
                    <a:pt x="85356" y="615924"/>
                    <a:pt x="86623" y="616154"/>
                  </a:cubicBezTo>
                  <a:cubicBezTo>
                    <a:pt x="87890" y="616500"/>
                    <a:pt x="89158" y="616846"/>
                    <a:pt x="90309" y="617191"/>
                  </a:cubicBezTo>
                  <a:cubicBezTo>
                    <a:pt x="91461" y="617537"/>
                    <a:pt x="92498" y="617882"/>
                    <a:pt x="93535" y="618228"/>
                  </a:cubicBezTo>
                  <a:cubicBezTo>
                    <a:pt x="94571" y="618573"/>
                    <a:pt x="95378" y="618919"/>
                    <a:pt x="96069" y="619265"/>
                  </a:cubicBezTo>
                  <a:lnTo>
                    <a:pt x="96990" y="619841"/>
                  </a:lnTo>
                  <a:cubicBezTo>
                    <a:pt x="96530" y="620877"/>
                    <a:pt x="95723" y="622144"/>
                    <a:pt x="94802" y="623642"/>
                  </a:cubicBezTo>
                  <a:cubicBezTo>
                    <a:pt x="93880" y="625255"/>
                    <a:pt x="92728" y="626982"/>
                    <a:pt x="91346" y="628941"/>
                  </a:cubicBezTo>
                  <a:cubicBezTo>
                    <a:pt x="90079" y="630784"/>
                    <a:pt x="88582" y="632972"/>
                    <a:pt x="86969" y="635046"/>
                  </a:cubicBezTo>
                  <a:cubicBezTo>
                    <a:pt x="85356" y="637119"/>
                    <a:pt x="83628" y="639308"/>
                    <a:pt x="81901" y="641266"/>
                  </a:cubicBezTo>
                  <a:cubicBezTo>
                    <a:pt x="79712" y="644261"/>
                    <a:pt x="77523" y="647141"/>
                    <a:pt x="75219" y="650021"/>
                  </a:cubicBezTo>
                  <a:cubicBezTo>
                    <a:pt x="73031" y="652900"/>
                    <a:pt x="70842" y="655665"/>
                    <a:pt x="68884" y="658660"/>
                  </a:cubicBezTo>
                  <a:cubicBezTo>
                    <a:pt x="66926" y="661655"/>
                    <a:pt x="65198" y="664650"/>
                    <a:pt x="63816" y="667990"/>
                  </a:cubicBezTo>
                  <a:cubicBezTo>
                    <a:pt x="62433" y="671331"/>
                    <a:pt x="61512" y="674902"/>
                    <a:pt x="61051" y="678818"/>
                  </a:cubicBezTo>
                  <a:cubicBezTo>
                    <a:pt x="61051" y="679509"/>
                    <a:pt x="61051" y="680200"/>
                    <a:pt x="61051" y="681007"/>
                  </a:cubicBezTo>
                  <a:cubicBezTo>
                    <a:pt x="61051" y="681813"/>
                    <a:pt x="61166" y="682619"/>
                    <a:pt x="61397" y="683426"/>
                  </a:cubicBezTo>
                  <a:cubicBezTo>
                    <a:pt x="61512" y="684232"/>
                    <a:pt x="61742" y="685038"/>
                    <a:pt x="62088" y="685845"/>
                  </a:cubicBezTo>
                  <a:cubicBezTo>
                    <a:pt x="62433" y="686766"/>
                    <a:pt x="62664" y="687573"/>
                    <a:pt x="63009" y="688379"/>
                  </a:cubicBezTo>
                  <a:cubicBezTo>
                    <a:pt x="65083" y="691950"/>
                    <a:pt x="67386" y="694484"/>
                    <a:pt x="69690" y="696442"/>
                  </a:cubicBezTo>
                  <a:cubicBezTo>
                    <a:pt x="72109" y="698401"/>
                    <a:pt x="74528" y="699552"/>
                    <a:pt x="77062" y="700474"/>
                  </a:cubicBezTo>
                  <a:cubicBezTo>
                    <a:pt x="79597" y="701396"/>
                    <a:pt x="82246" y="701856"/>
                    <a:pt x="84895" y="702202"/>
                  </a:cubicBezTo>
                  <a:cubicBezTo>
                    <a:pt x="87545" y="702547"/>
                    <a:pt x="90194" y="702893"/>
                    <a:pt x="92728" y="703239"/>
                  </a:cubicBezTo>
                  <a:cubicBezTo>
                    <a:pt x="95723" y="703469"/>
                    <a:pt x="98834" y="703584"/>
                    <a:pt x="101944" y="703699"/>
                  </a:cubicBezTo>
                  <a:cubicBezTo>
                    <a:pt x="105054" y="703815"/>
                    <a:pt x="108164" y="703930"/>
                    <a:pt x="111274" y="703930"/>
                  </a:cubicBezTo>
                  <a:cubicBezTo>
                    <a:pt x="114384" y="703930"/>
                    <a:pt x="117379" y="704045"/>
                    <a:pt x="120259" y="704160"/>
                  </a:cubicBezTo>
                  <a:cubicBezTo>
                    <a:pt x="123139" y="704275"/>
                    <a:pt x="125903" y="704390"/>
                    <a:pt x="128322" y="704621"/>
                  </a:cubicBezTo>
                  <a:cubicBezTo>
                    <a:pt x="129359" y="704621"/>
                    <a:pt x="130281" y="704851"/>
                    <a:pt x="131202" y="704851"/>
                  </a:cubicBezTo>
                  <a:cubicBezTo>
                    <a:pt x="132124" y="704966"/>
                    <a:pt x="132930" y="705082"/>
                    <a:pt x="133736" y="705197"/>
                  </a:cubicBezTo>
                  <a:cubicBezTo>
                    <a:pt x="134543" y="705197"/>
                    <a:pt x="135234" y="705427"/>
                    <a:pt x="135925" y="705542"/>
                  </a:cubicBezTo>
                  <a:cubicBezTo>
                    <a:pt x="136616" y="705658"/>
                    <a:pt x="137192" y="705888"/>
                    <a:pt x="137768" y="706003"/>
                  </a:cubicBezTo>
                  <a:cubicBezTo>
                    <a:pt x="137538" y="707155"/>
                    <a:pt x="137077" y="708768"/>
                    <a:pt x="136386" y="710496"/>
                  </a:cubicBezTo>
                  <a:cubicBezTo>
                    <a:pt x="135694" y="712339"/>
                    <a:pt x="134888" y="714412"/>
                    <a:pt x="133967" y="716601"/>
                  </a:cubicBezTo>
                  <a:cubicBezTo>
                    <a:pt x="133045" y="718789"/>
                    <a:pt x="131893" y="721208"/>
                    <a:pt x="130741" y="723627"/>
                  </a:cubicBezTo>
                  <a:cubicBezTo>
                    <a:pt x="129589" y="726046"/>
                    <a:pt x="128322" y="728581"/>
                    <a:pt x="126940" y="731000"/>
                  </a:cubicBezTo>
                  <a:cubicBezTo>
                    <a:pt x="125443" y="734110"/>
                    <a:pt x="123830" y="737335"/>
                    <a:pt x="122332" y="740330"/>
                  </a:cubicBezTo>
                  <a:cubicBezTo>
                    <a:pt x="120835" y="743440"/>
                    <a:pt x="119337" y="746550"/>
                    <a:pt x="117955" y="749660"/>
                  </a:cubicBezTo>
                  <a:cubicBezTo>
                    <a:pt x="116688" y="752771"/>
                    <a:pt x="115536" y="755996"/>
                    <a:pt x="114615" y="759221"/>
                  </a:cubicBezTo>
                  <a:cubicBezTo>
                    <a:pt x="113693" y="762446"/>
                    <a:pt x="113232" y="765787"/>
                    <a:pt x="113002" y="769243"/>
                  </a:cubicBezTo>
                  <a:cubicBezTo>
                    <a:pt x="113002" y="770279"/>
                    <a:pt x="113002" y="771316"/>
                    <a:pt x="113002" y="772468"/>
                  </a:cubicBezTo>
                  <a:cubicBezTo>
                    <a:pt x="113117" y="773620"/>
                    <a:pt x="113348" y="774657"/>
                    <a:pt x="113578" y="775924"/>
                  </a:cubicBezTo>
                  <a:cubicBezTo>
                    <a:pt x="113808" y="776961"/>
                    <a:pt x="114154" y="778112"/>
                    <a:pt x="114730" y="779264"/>
                  </a:cubicBezTo>
                  <a:cubicBezTo>
                    <a:pt x="115191" y="780416"/>
                    <a:pt x="115767" y="781568"/>
                    <a:pt x="116573" y="782605"/>
                  </a:cubicBezTo>
                  <a:cubicBezTo>
                    <a:pt x="117955" y="784563"/>
                    <a:pt x="119568" y="786176"/>
                    <a:pt x="121065" y="787328"/>
                  </a:cubicBezTo>
                  <a:cubicBezTo>
                    <a:pt x="122678" y="788595"/>
                    <a:pt x="124291" y="789401"/>
                    <a:pt x="125903" y="790092"/>
                  </a:cubicBezTo>
                  <a:cubicBezTo>
                    <a:pt x="127516" y="790783"/>
                    <a:pt x="129129" y="791129"/>
                    <a:pt x="130741" y="791475"/>
                  </a:cubicBezTo>
                  <a:cubicBezTo>
                    <a:pt x="132354" y="791705"/>
                    <a:pt x="133851" y="791935"/>
                    <a:pt x="135349" y="792050"/>
                  </a:cubicBezTo>
                  <a:cubicBezTo>
                    <a:pt x="139957" y="792281"/>
                    <a:pt x="144910" y="791820"/>
                    <a:pt x="149978" y="791244"/>
                  </a:cubicBezTo>
                  <a:cubicBezTo>
                    <a:pt x="155047" y="790553"/>
                    <a:pt x="160345" y="789631"/>
                    <a:pt x="165298" y="788710"/>
                  </a:cubicBezTo>
                  <a:cubicBezTo>
                    <a:pt x="170252" y="787788"/>
                    <a:pt x="175090" y="786867"/>
                    <a:pt x="179352" y="786176"/>
                  </a:cubicBezTo>
                  <a:cubicBezTo>
                    <a:pt x="183614" y="785600"/>
                    <a:pt x="187300" y="785139"/>
                    <a:pt x="190064" y="785369"/>
                  </a:cubicBezTo>
                  <a:cubicBezTo>
                    <a:pt x="190064" y="785369"/>
                    <a:pt x="190064" y="785369"/>
                    <a:pt x="190064" y="785369"/>
                  </a:cubicBezTo>
                  <a:lnTo>
                    <a:pt x="191101" y="785369"/>
                  </a:lnTo>
                  <a:cubicBezTo>
                    <a:pt x="191101" y="788364"/>
                    <a:pt x="190295" y="792511"/>
                    <a:pt x="189028" y="797349"/>
                  </a:cubicBezTo>
                  <a:cubicBezTo>
                    <a:pt x="187761" y="802187"/>
                    <a:pt x="186148" y="807716"/>
                    <a:pt x="184420" y="813591"/>
                  </a:cubicBezTo>
                  <a:cubicBezTo>
                    <a:pt x="182692" y="819466"/>
                    <a:pt x="180964" y="825686"/>
                    <a:pt x="179697" y="831676"/>
                  </a:cubicBezTo>
                  <a:cubicBezTo>
                    <a:pt x="178315" y="837781"/>
                    <a:pt x="177394" y="843656"/>
                    <a:pt x="177163" y="849185"/>
                  </a:cubicBezTo>
                  <a:cubicBezTo>
                    <a:pt x="177163" y="850567"/>
                    <a:pt x="177163" y="851950"/>
                    <a:pt x="177394" y="853562"/>
                  </a:cubicBezTo>
                  <a:cubicBezTo>
                    <a:pt x="177509" y="855060"/>
                    <a:pt x="177854" y="856557"/>
                    <a:pt x="178200" y="858170"/>
                  </a:cubicBezTo>
                  <a:cubicBezTo>
                    <a:pt x="178661" y="859667"/>
                    <a:pt x="179237" y="861280"/>
                    <a:pt x="180043" y="862893"/>
                  </a:cubicBezTo>
                  <a:cubicBezTo>
                    <a:pt x="180849" y="864390"/>
                    <a:pt x="181886" y="866003"/>
                    <a:pt x="183268" y="867500"/>
                  </a:cubicBezTo>
                  <a:cubicBezTo>
                    <a:pt x="184305" y="868652"/>
                    <a:pt x="185457" y="869689"/>
                    <a:pt x="186609" y="870380"/>
                  </a:cubicBezTo>
                  <a:cubicBezTo>
                    <a:pt x="187761" y="871186"/>
                    <a:pt x="188913" y="871762"/>
                    <a:pt x="190064" y="872108"/>
                  </a:cubicBezTo>
                  <a:cubicBezTo>
                    <a:pt x="191216" y="872569"/>
                    <a:pt x="192368" y="872914"/>
                    <a:pt x="193405" y="873030"/>
                  </a:cubicBezTo>
                  <a:cubicBezTo>
                    <a:pt x="194557" y="873260"/>
                    <a:pt x="195594" y="873375"/>
                    <a:pt x="196515" y="873375"/>
                  </a:cubicBezTo>
                  <a:cubicBezTo>
                    <a:pt x="201468" y="873375"/>
                    <a:pt x="206997" y="872108"/>
                    <a:pt x="212642" y="870495"/>
                  </a:cubicBezTo>
                  <a:cubicBezTo>
                    <a:pt x="218286" y="868767"/>
                    <a:pt x="223930" y="866579"/>
                    <a:pt x="229344" y="864275"/>
                  </a:cubicBezTo>
                  <a:cubicBezTo>
                    <a:pt x="234758" y="862086"/>
                    <a:pt x="239827" y="859783"/>
                    <a:pt x="244204" y="858055"/>
                  </a:cubicBezTo>
                  <a:cubicBezTo>
                    <a:pt x="248581" y="856327"/>
                    <a:pt x="252152" y="855175"/>
                    <a:pt x="254686" y="855060"/>
                  </a:cubicBezTo>
                  <a:lnTo>
                    <a:pt x="254917" y="859091"/>
                  </a:lnTo>
                  <a:cubicBezTo>
                    <a:pt x="255032" y="862317"/>
                    <a:pt x="254917" y="866118"/>
                    <a:pt x="254456" y="870380"/>
                  </a:cubicBezTo>
                  <a:cubicBezTo>
                    <a:pt x="254110" y="874642"/>
                    <a:pt x="253534" y="879250"/>
                    <a:pt x="252958" y="884088"/>
                  </a:cubicBezTo>
                  <a:cubicBezTo>
                    <a:pt x="252383" y="888926"/>
                    <a:pt x="251807" y="893879"/>
                    <a:pt x="251346" y="898717"/>
                  </a:cubicBezTo>
                  <a:cubicBezTo>
                    <a:pt x="250885" y="903670"/>
                    <a:pt x="250655" y="908508"/>
                    <a:pt x="250655" y="912885"/>
                  </a:cubicBezTo>
                  <a:cubicBezTo>
                    <a:pt x="250770" y="914959"/>
                    <a:pt x="250885" y="917147"/>
                    <a:pt x="251115" y="919336"/>
                  </a:cubicBezTo>
                  <a:cubicBezTo>
                    <a:pt x="251346" y="921525"/>
                    <a:pt x="251691" y="923713"/>
                    <a:pt x="252267" y="925902"/>
                  </a:cubicBezTo>
                  <a:cubicBezTo>
                    <a:pt x="252843" y="928091"/>
                    <a:pt x="253650" y="930279"/>
                    <a:pt x="254917" y="932468"/>
                  </a:cubicBezTo>
                  <a:cubicBezTo>
                    <a:pt x="256184" y="934541"/>
                    <a:pt x="257797" y="936615"/>
                    <a:pt x="259985" y="938573"/>
                  </a:cubicBezTo>
                  <a:cubicBezTo>
                    <a:pt x="260907" y="939264"/>
                    <a:pt x="261598" y="939725"/>
                    <a:pt x="262519" y="940186"/>
                  </a:cubicBezTo>
                  <a:cubicBezTo>
                    <a:pt x="263326" y="940646"/>
                    <a:pt x="264132" y="940992"/>
                    <a:pt x="265054" y="941222"/>
                  </a:cubicBezTo>
                  <a:cubicBezTo>
                    <a:pt x="265860" y="941453"/>
                    <a:pt x="266666" y="941683"/>
                    <a:pt x="267473" y="941798"/>
                  </a:cubicBezTo>
                  <a:cubicBezTo>
                    <a:pt x="268279" y="941913"/>
                    <a:pt x="269085" y="941913"/>
                    <a:pt x="269892" y="942029"/>
                  </a:cubicBezTo>
                  <a:cubicBezTo>
                    <a:pt x="273232" y="942029"/>
                    <a:pt x="276342" y="941337"/>
                    <a:pt x="279222" y="940301"/>
                  </a:cubicBezTo>
                  <a:cubicBezTo>
                    <a:pt x="282217" y="939264"/>
                    <a:pt x="285097" y="937882"/>
                    <a:pt x="287861" y="936154"/>
                  </a:cubicBezTo>
                  <a:cubicBezTo>
                    <a:pt x="290626" y="934541"/>
                    <a:pt x="293390" y="932583"/>
                    <a:pt x="296040" y="930740"/>
                  </a:cubicBezTo>
                  <a:cubicBezTo>
                    <a:pt x="298804" y="928782"/>
                    <a:pt x="301454" y="926824"/>
                    <a:pt x="304333" y="924980"/>
                  </a:cubicBezTo>
                  <a:cubicBezTo>
                    <a:pt x="306407" y="923368"/>
                    <a:pt x="308596" y="921870"/>
                    <a:pt x="310669" y="920488"/>
                  </a:cubicBezTo>
                  <a:cubicBezTo>
                    <a:pt x="312742" y="919106"/>
                    <a:pt x="314816" y="917723"/>
                    <a:pt x="316774" y="916572"/>
                  </a:cubicBezTo>
                  <a:cubicBezTo>
                    <a:pt x="318617" y="915420"/>
                    <a:pt x="320460" y="914383"/>
                    <a:pt x="321958" y="913577"/>
                  </a:cubicBezTo>
                  <a:cubicBezTo>
                    <a:pt x="323455" y="912770"/>
                    <a:pt x="324837" y="912194"/>
                    <a:pt x="325874" y="911849"/>
                  </a:cubicBezTo>
                  <a:cubicBezTo>
                    <a:pt x="326105" y="913116"/>
                    <a:pt x="326450" y="915074"/>
                    <a:pt x="326680" y="917378"/>
                  </a:cubicBezTo>
                  <a:cubicBezTo>
                    <a:pt x="327026" y="919682"/>
                    <a:pt x="327372" y="922331"/>
                    <a:pt x="327602" y="925326"/>
                  </a:cubicBezTo>
                  <a:cubicBezTo>
                    <a:pt x="327832" y="928321"/>
                    <a:pt x="328178" y="931546"/>
                    <a:pt x="328408" y="934887"/>
                  </a:cubicBezTo>
                  <a:cubicBezTo>
                    <a:pt x="328639" y="938343"/>
                    <a:pt x="328754" y="941798"/>
                    <a:pt x="328869" y="945254"/>
                  </a:cubicBezTo>
                  <a:cubicBezTo>
                    <a:pt x="328869" y="947443"/>
                    <a:pt x="329099" y="949631"/>
                    <a:pt x="329215" y="951820"/>
                  </a:cubicBezTo>
                  <a:cubicBezTo>
                    <a:pt x="329215" y="954008"/>
                    <a:pt x="329560" y="956197"/>
                    <a:pt x="329675" y="958386"/>
                  </a:cubicBezTo>
                  <a:cubicBezTo>
                    <a:pt x="329906" y="960574"/>
                    <a:pt x="330021" y="962648"/>
                    <a:pt x="330251" y="964721"/>
                  </a:cubicBezTo>
                  <a:cubicBezTo>
                    <a:pt x="330482" y="966795"/>
                    <a:pt x="330827" y="968868"/>
                    <a:pt x="331288" y="970826"/>
                  </a:cubicBezTo>
                  <a:cubicBezTo>
                    <a:pt x="331634" y="972785"/>
                    <a:pt x="332094" y="974743"/>
                    <a:pt x="332555" y="976816"/>
                  </a:cubicBezTo>
                  <a:cubicBezTo>
                    <a:pt x="333131" y="978890"/>
                    <a:pt x="333707" y="980963"/>
                    <a:pt x="334629" y="982921"/>
                  </a:cubicBezTo>
                  <a:cubicBezTo>
                    <a:pt x="335550" y="984879"/>
                    <a:pt x="336587" y="986838"/>
                    <a:pt x="338084" y="988681"/>
                  </a:cubicBezTo>
                  <a:cubicBezTo>
                    <a:pt x="339582" y="990524"/>
                    <a:pt x="341425" y="992137"/>
                    <a:pt x="343844" y="993634"/>
                  </a:cubicBezTo>
                  <a:cubicBezTo>
                    <a:pt x="344420" y="993864"/>
                    <a:pt x="344996" y="994095"/>
                    <a:pt x="345572" y="994325"/>
                  </a:cubicBezTo>
                  <a:cubicBezTo>
                    <a:pt x="346033" y="994556"/>
                    <a:pt x="346608" y="994671"/>
                    <a:pt x="347184" y="994786"/>
                  </a:cubicBezTo>
                  <a:cubicBezTo>
                    <a:pt x="347760" y="994901"/>
                    <a:pt x="348221" y="995016"/>
                    <a:pt x="348797" y="995131"/>
                  </a:cubicBezTo>
                  <a:cubicBezTo>
                    <a:pt x="349373" y="995131"/>
                    <a:pt x="349834" y="995131"/>
                    <a:pt x="350295" y="995131"/>
                  </a:cubicBezTo>
                  <a:cubicBezTo>
                    <a:pt x="353981" y="994671"/>
                    <a:pt x="357206" y="993634"/>
                    <a:pt x="360201" y="992137"/>
                  </a:cubicBezTo>
                  <a:cubicBezTo>
                    <a:pt x="363196" y="990524"/>
                    <a:pt x="365845" y="988566"/>
                    <a:pt x="368379" y="986262"/>
                  </a:cubicBezTo>
                  <a:cubicBezTo>
                    <a:pt x="370914" y="983958"/>
                    <a:pt x="373333" y="981424"/>
                    <a:pt x="375867" y="978659"/>
                  </a:cubicBezTo>
                  <a:cubicBezTo>
                    <a:pt x="378286" y="976010"/>
                    <a:pt x="380705" y="973245"/>
                    <a:pt x="383354" y="970596"/>
                  </a:cubicBezTo>
                  <a:cubicBezTo>
                    <a:pt x="384506" y="969329"/>
                    <a:pt x="385773" y="967946"/>
                    <a:pt x="386925" y="966679"/>
                  </a:cubicBezTo>
                  <a:cubicBezTo>
                    <a:pt x="388077" y="965412"/>
                    <a:pt x="389229" y="964145"/>
                    <a:pt x="390381" y="962993"/>
                  </a:cubicBezTo>
                  <a:cubicBezTo>
                    <a:pt x="391533" y="961841"/>
                    <a:pt x="392570" y="960690"/>
                    <a:pt x="393721" y="959653"/>
                  </a:cubicBezTo>
                  <a:cubicBezTo>
                    <a:pt x="394758" y="958616"/>
                    <a:pt x="395795" y="957694"/>
                    <a:pt x="396716" y="956773"/>
                  </a:cubicBezTo>
                  <a:cubicBezTo>
                    <a:pt x="397177" y="956427"/>
                    <a:pt x="397638" y="955967"/>
                    <a:pt x="398099" y="955621"/>
                  </a:cubicBezTo>
                  <a:cubicBezTo>
                    <a:pt x="398559" y="955276"/>
                    <a:pt x="399020" y="954930"/>
                    <a:pt x="399366" y="954584"/>
                  </a:cubicBezTo>
                  <a:cubicBezTo>
                    <a:pt x="399826" y="954239"/>
                    <a:pt x="400172" y="954008"/>
                    <a:pt x="400518" y="953663"/>
                  </a:cubicBezTo>
                  <a:cubicBezTo>
                    <a:pt x="400863" y="953432"/>
                    <a:pt x="401209" y="953202"/>
                    <a:pt x="401439" y="952972"/>
                  </a:cubicBezTo>
                  <a:cubicBezTo>
                    <a:pt x="401900" y="954239"/>
                    <a:pt x="402476" y="956082"/>
                    <a:pt x="403167" y="958270"/>
                  </a:cubicBezTo>
                  <a:cubicBezTo>
                    <a:pt x="403858" y="960459"/>
                    <a:pt x="404549" y="963108"/>
                    <a:pt x="405240" y="966104"/>
                  </a:cubicBezTo>
                  <a:cubicBezTo>
                    <a:pt x="405932" y="968983"/>
                    <a:pt x="406738" y="972209"/>
                    <a:pt x="407429" y="975434"/>
                  </a:cubicBezTo>
                  <a:cubicBezTo>
                    <a:pt x="408120" y="978659"/>
                    <a:pt x="408696" y="982115"/>
                    <a:pt x="409272" y="985340"/>
                  </a:cubicBezTo>
                  <a:cubicBezTo>
                    <a:pt x="409733" y="987529"/>
                    <a:pt x="410194" y="989717"/>
                    <a:pt x="410654" y="991791"/>
                  </a:cubicBezTo>
                  <a:cubicBezTo>
                    <a:pt x="411115" y="993980"/>
                    <a:pt x="411576" y="996053"/>
                    <a:pt x="412037" y="998127"/>
                  </a:cubicBezTo>
                  <a:cubicBezTo>
                    <a:pt x="412497" y="1000200"/>
                    <a:pt x="412958" y="1002273"/>
                    <a:pt x="413534" y="1004232"/>
                  </a:cubicBezTo>
                  <a:cubicBezTo>
                    <a:pt x="414110" y="1006305"/>
                    <a:pt x="414686" y="1008263"/>
                    <a:pt x="415377" y="1010222"/>
                  </a:cubicBezTo>
                  <a:cubicBezTo>
                    <a:pt x="416068" y="1011949"/>
                    <a:pt x="416760" y="1013792"/>
                    <a:pt x="417566" y="1015751"/>
                  </a:cubicBezTo>
                  <a:cubicBezTo>
                    <a:pt x="418372" y="1017594"/>
                    <a:pt x="419294" y="1019552"/>
                    <a:pt x="420330" y="1021280"/>
                  </a:cubicBezTo>
                  <a:cubicBezTo>
                    <a:pt x="421482" y="1023008"/>
                    <a:pt x="422749" y="1024735"/>
                    <a:pt x="424477" y="1026118"/>
                  </a:cubicBezTo>
                  <a:cubicBezTo>
                    <a:pt x="426090" y="1027615"/>
                    <a:pt x="428048" y="1028882"/>
                    <a:pt x="430467" y="1029804"/>
                  </a:cubicBezTo>
                  <a:lnTo>
                    <a:pt x="434268" y="1030265"/>
                  </a:lnTo>
                  <a:cubicBezTo>
                    <a:pt x="438185" y="1029689"/>
                    <a:pt x="441526" y="1028191"/>
                    <a:pt x="444405" y="1026118"/>
                  </a:cubicBezTo>
                  <a:cubicBezTo>
                    <a:pt x="447285" y="1024044"/>
                    <a:pt x="449704" y="1021510"/>
                    <a:pt x="451893" y="1018515"/>
                  </a:cubicBezTo>
                  <a:cubicBezTo>
                    <a:pt x="454081" y="1015635"/>
                    <a:pt x="455924" y="1012410"/>
                    <a:pt x="457883" y="1009070"/>
                  </a:cubicBezTo>
                  <a:cubicBezTo>
                    <a:pt x="459841" y="1005729"/>
                    <a:pt x="461799" y="1002388"/>
                    <a:pt x="464103" y="999163"/>
                  </a:cubicBezTo>
                  <a:cubicBezTo>
                    <a:pt x="465024" y="997551"/>
                    <a:pt x="466061" y="995823"/>
                    <a:pt x="466983" y="994325"/>
                  </a:cubicBezTo>
                  <a:cubicBezTo>
                    <a:pt x="467904" y="992713"/>
                    <a:pt x="468941" y="991215"/>
                    <a:pt x="469862" y="989717"/>
                  </a:cubicBezTo>
                  <a:cubicBezTo>
                    <a:pt x="470784" y="988335"/>
                    <a:pt x="471705" y="986838"/>
                    <a:pt x="472627" y="985571"/>
                  </a:cubicBezTo>
                  <a:cubicBezTo>
                    <a:pt x="473433" y="984304"/>
                    <a:pt x="474355" y="983152"/>
                    <a:pt x="475161" y="982000"/>
                  </a:cubicBezTo>
                  <a:lnTo>
                    <a:pt x="478502" y="978198"/>
                  </a:lnTo>
                  <a:cubicBezTo>
                    <a:pt x="479078" y="979350"/>
                    <a:pt x="479884" y="980963"/>
                    <a:pt x="480805" y="983037"/>
                  </a:cubicBezTo>
                  <a:cubicBezTo>
                    <a:pt x="481727" y="985110"/>
                    <a:pt x="482764" y="987529"/>
                    <a:pt x="483916" y="990178"/>
                  </a:cubicBezTo>
                  <a:cubicBezTo>
                    <a:pt x="484952" y="992943"/>
                    <a:pt x="486104" y="995823"/>
                    <a:pt x="487256" y="998818"/>
                  </a:cubicBezTo>
                  <a:cubicBezTo>
                    <a:pt x="488408" y="1001813"/>
                    <a:pt x="489445" y="1005038"/>
                    <a:pt x="490481" y="1008148"/>
                  </a:cubicBezTo>
                  <a:cubicBezTo>
                    <a:pt x="491173" y="1010222"/>
                    <a:pt x="491864" y="1012295"/>
                    <a:pt x="492670" y="1014253"/>
                  </a:cubicBezTo>
                  <a:cubicBezTo>
                    <a:pt x="493361" y="1016211"/>
                    <a:pt x="494168" y="1018285"/>
                    <a:pt x="494859" y="1020243"/>
                  </a:cubicBezTo>
                  <a:cubicBezTo>
                    <a:pt x="495550" y="1022201"/>
                    <a:pt x="496356" y="1024160"/>
                    <a:pt x="497278" y="1026003"/>
                  </a:cubicBezTo>
                  <a:cubicBezTo>
                    <a:pt x="498084" y="1027846"/>
                    <a:pt x="498890" y="1029689"/>
                    <a:pt x="499812" y="1031417"/>
                  </a:cubicBezTo>
                  <a:cubicBezTo>
                    <a:pt x="500733" y="1033029"/>
                    <a:pt x="501540" y="1034757"/>
                    <a:pt x="502576" y="1036370"/>
                  </a:cubicBezTo>
                  <a:cubicBezTo>
                    <a:pt x="503613" y="1038098"/>
                    <a:pt x="504650" y="1039710"/>
                    <a:pt x="506032" y="1041208"/>
                  </a:cubicBezTo>
                  <a:cubicBezTo>
                    <a:pt x="507299" y="1042705"/>
                    <a:pt x="508797" y="1044087"/>
                    <a:pt x="510525" y="1045124"/>
                  </a:cubicBezTo>
                  <a:cubicBezTo>
                    <a:pt x="512253" y="1046276"/>
                    <a:pt x="514211" y="1047083"/>
                    <a:pt x="516515" y="1047543"/>
                  </a:cubicBezTo>
                  <a:lnTo>
                    <a:pt x="517666" y="1047543"/>
                  </a:lnTo>
                  <a:cubicBezTo>
                    <a:pt x="520085" y="1047313"/>
                    <a:pt x="522044" y="1046622"/>
                    <a:pt x="523772" y="1045700"/>
                  </a:cubicBezTo>
                  <a:cubicBezTo>
                    <a:pt x="525499" y="1044779"/>
                    <a:pt x="526882" y="1043512"/>
                    <a:pt x="528149" y="1042245"/>
                  </a:cubicBezTo>
                  <a:cubicBezTo>
                    <a:pt x="529301" y="1040862"/>
                    <a:pt x="530337" y="1039249"/>
                    <a:pt x="531374" y="1037637"/>
                  </a:cubicBezTo>
                  <a:cubicBezTo>
                    <a:pt x="532411" y="1036024"/>
                    <a:pt x="533217" y="1034411"/>
                    <a:pt x="534139" y="1032914"/>
                  </a:cubicBezTo>
                  <a:cubicBezTo>
                    <a:pt x="535406" y="1030380"/>
                    <a:pt x="536673" y="1027730"/>
                    <a:pt x="537825" y="1024851"/>
                  </a:cubicBezTo>
                  <a:cubicBezTo>
                    <a:pt x="538977" y="1022086"/>
                    <a:pt x="540129" y="1019206"/>
                    <a:pt x="541281" y="1016327"/>
                  </a:cubicBezTo>
                  <a:cubicBezTo>
                    <a:pt x="542317" y="1013447"/>
                    <a:pt x="543469" y="1010452"/>
                    <a:pt x="544506" y="1007687"/>
                  </a:cubicBezTo>
                  <a:cubicBezTo>
                    <a:pt x="545543" y="1004808"/>
                    <a:pt x="546579" y="1002158"/>
                    <a:pt x="547616" y="999624"/>
                  </a:cubicBezTo>
                  <a:cubicBezTo>
                    <a:pt x="548077" y="998357"/>
                    <a:pt x="548538" y="997205"/>
                    <a:pt x="548998" y="996053"/>
                  </a:cubicBezTo>
                  <a:cubicBezTo>
                    <a:pt x="549459" y="994901"/>
                    <a:pt x="549920" y="993749"/>
                    <a:pt x="550381" y="992828"/>
                  </a:cubicBezTo>
                  <a:cubicBezTo>
                    <a:pt x="550841" y="991791"/>
                    <a:pt x="551302" y="990869"/>
                    <a:pt x="551763" y="990063"/>
                  </a:cubicBezTo>
                  <a:cubicBezTo>
                    <a:pt x="552224" y="989257"/>
                    <a:pt x="552684" y="988566"/>
                    <a:pt x="553030" y="987990"/>
                  </a:cubicBezTo>
                  <a:lnTo>
                    <a:pt x="553606" y="987183"/>
                  </a:lnTo>
                  <a:cubicBezTo>
                    <a:pt x="554297" y="988105"/>
                    <a:pt x="555334" y="989487"/>
                    <a:pt x="556371" y="991330"/>
                  </a:cubicBezTo>
                  <a:cubicBezTo>
                    <a:pt x="557522" y="993058"/>
                    <a:pt x="558790" y="995247"/>
                    <a:pt x="560172" y="997551"/>
                  </a:cubicBezTo>
                  <a:cubicBezTo>
                    <a:pt x="561554" y="999969"/>
                    <a:pt x="562936" y="1002504"/>
                    <a:pt x="564434" y="1005268"/>
                  </a:cubicBezTo>
                  <a:cubicBezTo>
                    <a:pt x="565931" y="1008033"/>
                    <a:pt x="567314" y="1010797"/>
                    <a:pt x="568581" y="1013677"/>
                  </a:cubicBezTo>
                  <a:cubicBezTo>
                    <a:pt x="569502" y="1015520"/>
                    <a:pt x="570539" y="1017248"/>
                    <a:pt x="571460" y="1019091"/>
                  </a:cubicBezTo>
                  <a:cubicBezTo>
                    <a:pt x="572382" y="1020934"/>
                    <a:pt x="573419" y="1022662"/>
                    <a:pt x="574340" y="1024390"/>
                  </a:cubicBezTo>
                  <a:cubicBezTo>
                    <a:pt x="575262" y="1026118"/>
                    <a:pt x="576298" y="1027846"/>
                    <a:pt x="577335" y="1029573"/>
                  </a:cubicBezTo>
                  <a:cubicBezTo>
                    <a:pt x="578372" y="1031186"/>
                    <a:pt x="579293" y="1032799"/>
                    <a:pt x="580445" y="1034296"/>
                  </a:cubicBezTo>
                  <a:cubicBezTo>
                    <a:pt x="581482" y="1035679"/>
                    <a:pt x="582404" y="1037176"/>
                    <a:pt x="583556" y="1038673"/>
                  </a:cubicBezTo>
                  <a:cubicBezTo>
                    <a:pt x="584592" y="1040056"/>
                    <a:pt x="585859" y="1041553"/>
                    <a:pt x="587126" y="1042705"/>
                  </a:cubicBezTo>
                  <a:cubicBezTo>
                    <a:pt x="588509" y="1043972"/>
                    <a:pt x="589891" y="1045009"/>
                    <a:pt x="591619" y="1045815"/>
                  </a:cubicBezTo>
                  <a:cubicBezTo>
                    <a:pt x="593347" y="1046622"/>
                    <a:pt x="595190" y="1047198"/>
                    <a:pt x="597378" y="1047313"/>
                  </a:cubicBezTo>
                  <a:lnTo>
                    <a:pt x="598300" y="1047313"/>
                  </a:lnTo>
                  <a:cubicBezTo>
                    <a:pt x="600604" y="1046852"/>
                    <a:pt x="602447" y="1046046"/>
                    <a:pt x="604059" y="1044779"/>
                  </a:cubicBezTo>
                  <a:cubicBezTo>
                    <a:pt x="605672" y="1043512"/>
                    <a:pt x="606939" y="1042129"/>
                    <a:pt x="607861" y="1040517"/>
                  </a:cubicBezTo>
                  <a:cubicBezTo>
                    <a:pt x="608897" y="1038904"/>
                    <a:pt x="609704" y="1037176"/>
                    <a:pt x="610395" y="1035333"/>
                  </a:cubicBezTo>
                  <a:cubicBezTo>
                    <a:pt x="611086" y="1033605"/>
                    <a:pt x="611777" y="1031762"/>
                    <a:pt x="612353" y="1030034"/>
                  </a:cubicBezTo>
                  <a:cubicBezTo>
                    <a:pt x="613159" y="1027385"/>
                    <a:pt x="613966" y="1024505"/>
                    <a:pt x="614772" y="1021510"/>
                  </a:cubicBezTo>
                  <a:cubicBezTo>
                    <a:pt x="615463" y="1018515"/>
                    <a:pt x="616154" y="1015405"/>
                    <a:pt x="616846" y="1012410"/>
                  </a:cubicBezTo>
                  <a:cubicBezTo>
                    <a:pt x="617537" y="1009300"/>
                    <a:pt x="617997" y="1006190"/>
                    <a:pt x="618573" y="1003195"/>
                  </a:cubicBezTo>
                  <a:cubicBezTo>
                    <a:pt x="619149" y="1000200"/>
                    <a:pt x="619725" y="997320"/>
                    <a:pt x="620301" y="994556"/>
                  </a:cubicBezTo>
                  <a:cubicBezTo>
                    <a:pt x="620647" y="993173"/>
                    <a:pt x="620877" y="991906"/>
                    <a:pt x="621223" y="990639"/>
                  </a:cubicBezTo>
                  <a:cubicBezTo>
                    <a:pt x="621568" y="989372"/>
                    <a:pt x="621799" y="988220"/>
                    <a:pt x="622029" y="987068"/>
                  </a:cubicBezTo>
                  <a:cubicBezTo>
                    <a:pt x="622375" y="985916"/>
                    <a:pt x="622605" y="984995"/>
                    <a:pt x="622951" y="984073"/>
                  </a:cubicBezTo>
                  <a:cubicBezTo>
                    <a:pt x="623296" y="983152"/>
                    <a:pt x="623527" y="982345"/>
                    <a:pt x="623872" y="981769"/>
                  </a:cubicBezTo>
                  <a:lnTo>
                    <a:pt x="624218" y="980733"/>
                  </a:lnTo>
                  <a:cubicBezTo>
                    <a:pt x="625024" y="981539"/>
                    <a:pt x="626176" y="982691"/>
                    <a:pt x="627443" y="984304"/>
                  </a:cubicBezTo>
                  <a:cubicBezTo>
                    <a:pt x="628710" y="985801"/>
                    <a:pt x="630208" y="987644"/>
                    <a:pt x="631820" y="989717"/>
                  </a:cubicBezTo>
                  <a:cubicBezTo>
                    <a:pt x="633433" y="991676"/>
                    <a:pt x="635046" y="993980"/>
                    <a:pt x="636774" y="996283"/>
                  </a:cubicBezTo>
                  <a:cubicBezTo>
                    <a:pt x="638386" y="998702"/>
                    <a:pt x="640114" y="1001121"/>
                    <a:pt x="641727" y="1003656"/>
                  </a:cubicBezTo>
                  <a:cubicBezTo>
                    <a:pt x="644031" y="1006535"/>
                    <a:pt x="646104" y="1009530"/>
                    <a:pt x="648177" y="1012410"/>
                  </a:cubicBezTo>
                  <a:cubicBezTo>
                    <a:pt x="650251" y="1015290"/>
                    <a:pt x="652324" y="1018170"/>
                    <a:pt x="654513" y="1020704"/>
                  </a:cubicBezTo>
                  <a:cubicBezTo>
                    <a:pt x="656702" y="1023238"/>
                    <a:pt x="659005" y="1025542"/>
                    <a:pt x="661655" y="1027270"/>
                  </a:cubicBezTo>
                  <a:cubicBezTo>
                    <a:pt x="664304" y="1028997"/>
                    <a:pt x="667184" y="1030265"/>
                    <a:pt x="670524" y="1030841"/>
                  </a:cubicBezTo>
                  <a:lnTo>
                    <a:pt x="673635" y="1030265"/>
                  </a:lnTo>
                  <a:cubicBezTo>
                    <a:pt x="675708" y="1029343"/>
                    <a:pt x="677321" y="1028076"/>
                    <a:pt x="678588" y="1026694"/>
                  </a:cubicBezTo>
                  <a:cubicBezTo>
                    <a:pt x="679855" y="1025196"/>
                    <a:pt x="680776" y="1023584"/>
                    <a:pt x="681468" y="1021856"/>
                  </a:cubicBezTo>
                  <a:cubicBezTo>
                    <a:pt x="682159" y="1020128"/>
                    <a:pt x="682619" y="1018285"/>
                    <a:pt x="683080" y="1016442"/>
                  </a:cubicBezTo>
                  <a:cubicBezTo>
                    <a:pt x="683426" y="1014599"/>
                    <a:pt x="683771" y="1012640"/>
                    <a:pt x="684117" y="1010913"/>
                  </a:cubicBezTo>
                  <a:cubicBezTo>
                    <a:pt x="684462" y="1008033"/>
                    <a:pt x="684808" y="1005038"/>
                    <a:pt x="685038" y="1001928"/>
                  </a:cubicBezTo>
                  <a:cubicBezTo>
                    <a:pt x="685269" y="998818"/>
                    <a:pt x="685499" y="995707"/>
                    <a:pt x="685614" y="992597"/>
                  </a:cubicBezTo>
                  <a:cubicBezTo>
                    <a:pt x="685729" y="989487"/>
                    <a:pt x="685960" y="986377"/>
                    <a:pt x="685960" y="983267"/>
                  </a:cubicBezTo>
                  <a:cubicBezTo>
                    <a:pt x="686075" y="980157"/>
                    <a:pt x="686190" y="977277"/>
                    <a:pt x="686421" y="974397"/>
                  </a:cubicBezTo>
                  <a:cubicBezTo>
                    <a:pt x="686421" y="973015"/>
                    <a:pt x="686651" y="971633"/>
                    <a:pt x="686766" y="970366"/>
                  </a:cubicBezTo>
                  <a:cubicBezTo>
                    <a:pt x="686766" y="969098"/>
                    <a:pt x="686997" y="967831"/>
                    <a:pt x="687112" y="966795"/>
                  </a:cubicBezTo>
                  <a:cubicBezTo>
                    <a:pt x="687227" y="965643"/>
                    <a:pt x="687342" y="964721"/>
                    <a:pt x="687573" y="963684"/>
                  </a:cubicBezTo>
                  <a:cubicBezTo>
                    <a:pt x="687688" y="962763"/>
                    <a:pt x="687803" y="961841"/>
                    <a:pt x="688033" y="961150"/>
                  </a:cubicBezTo>
                  <a:lnTo>
                    <a:pt x="688264" y="960114"/>
                  </a:lnTo>
                  <a:cubicBezTo>
                    <a:pt x="689300" y="960690"/>
                    <a:pt x="690683" y="961841"/>
                    <a:pt x="692180" y="963108"/>
                  </a:cubicBezTo>
                  <a:cubicBezTo>
                    <a:pt x="693678" y="964491"/>
                    <a:pt x="695406" y="966104"/>
                    <a:pt x="697249" y="967946"/>
                  </a:cubicBezTo>
                  <a:cubicBezTo>
                    <a:pt x="699092" y="969790"/>
                    <a:pt x="701050" y="971863"/>
                    <a:pt x="703008" y="973936"/>
                  </a:cubicBezTo>
                  <a:cubicBezTo>
                    <a:pt x="704966" y="976010"/>
                    <a:pt x="707040" y="978314"/>
                    <a:pt x="708998" y="980387"/>
                  </a:cubicBezTo>
                  <a:cubicBezTo>
                    <a:pt x="711187" y="982461"/>
                    <a:pt x="713260" y="984649"/>
                    <a:pt x="715218" y="986723"/>
                  </a:cubicBezTo>
                  <a:cubicBezTo>
                    <a:pt x="717292" y="988796"/>
                    <a:pt x="719250" y="990754"/>
                    <a:pt x="721323" y="992597"/>
                  </a:cubicBezTo>
                  <a:cubicBezTo>
                    <a:pt x="723397" y="994440"/>
                    <a:pt x="725470" y="995938"/>
                    <a:pt x="727774" y="997205"/>
                  </a:cubicBezTo>
                  <a:cubicBezTo>
                    <a:pt x="730078" y="998357"/>
                    <a:pt x="732497" y="999278"/>
                    <a:pt x="735146" y="999509"/>
                  </a:cubicBezTo>
                  <a:cubicBezTo>
                    <a:pt x="735492" y="999509"/>
                    <a:pt x="735953" y="999509"/>
                    <a:pt x="736298" y="999509"/>
                  </a:cubicBezTo>
                  <a:cubicBezTo>
                    <a:pt x="736759" y="999509"/>
                    <a:pt x="737104" y="999394"/>
                    <a:pt x="737565" y="999278"/>
                  </a:cubicBezTo>
                  <a:cubicBezTo>
                    <a:pt x="738026" y="999278"/>
                    <a:pt x="738487" y="999048"/>
                    <a:pt x="738832" y="998933"/>
                  </a:cubicBezTo>
                  <a:cubicBezTo>
                    <a:pt x="739293" y="998702"/>
                    <a:pt x="739639" y="998587"/>
                    <a:pt x="740099" y="998242"/>
                  </a:cubicBezTo>
                  <a:cubicBezTo>
                    <a:pt x="741827" y="996859"/>
                    <a:pt x="743094" y="995362"/>
                    <a:pt x="744131" y="993634"/>
                  </a:cubicBezTo>
                  <a:cubicBezTo>
                    <a:pt x="745053" y="992021"/>
                    <a:pt x="745744" y="990178"/>
                    <a:pt x="746205" y="988335"/>
                  </a:cubicBezTo>
                  <a:cubicBezTo>
                    <a:pt x="746665" y="986492"/>
                    <a:pt x="746896" y="984534"/>
                    <a:pt x="747011" y="982691"/>
                  </a:cubicBezTo>
                  <a:cubicBezTo>
                    <a:pt x="747126" y="980848"/>
                    <a:pt x="747241" y="978890"/>
                    <a:pt x="747241" y="977162"/>
                  </a:cubicBezTo>
                  <a:cubicBezTo>
                    <a:pt x="747241" y="974397"/>
                    <a:pt x="747241" y="971402"/>
                    <a:pt x="746896" y="968407"/>
                  </a:cubicBezTo>
                  <a:cubicBezTo>
                    <a:pt x="746781" y="965412"/>
                    <a:pt x="746550" y="962302"/>
                    <a:pt x="746205" y="959192"/>
                  </a:cubicBezTo>
                  <a:cubicBezTo>
                    <a:pt x="745859" y="956082"/>
                    <a:pt x="745629" y="952972"/>
                    <a:pt x="745283" y="949862"/>
                  </a:cubicBezTo>
                  <a:cubicBezTo>
                    <a:pt x="744937" y="946867"/>
                    <a:pt x="744707" y="943872"/>
                    <a:pt x="744477" y="940992"/>
                  </a:cubicBezTo>
                  <a:cubicBezTo>
                    <a:pt x="744477" y="939725"/>
                    <a:pt x="744362" y="938343"/>
                    <a:pt x="744246" y="937075"/>
                  </a:cubicBezTo>
                  <a:cubicBezTo>
                    <a:pt x="744246" y="935808"/>
                    <a:pt x="744131" y="934541"/>
                    <a:pt x="744131" y="933505"/>
                  </a:cubicBezTo>
                  <a:cubicBezTo>
                    <a:pt x="744131" y="932353"/>
                    <a:pt x="744131" y="931316"/>
                    <a:pt x="744131" y="930394"/>
                  </a:cubicBezTo>
                  <a:cubicBezTo>
                    <a:pt x="744131" y="929473"/>
                    <a:pt x="744131" y="928667"/>
                    <a:pt x="744131" y="927860"/>
                  </a:cubicBezTo>
                  <a:lnTo>
                    <a:pt x="744131" y="926708"/>
                  </a:lnTo>
                  <a:cubicBezTo>
                    <a:pt x="745053" y="927054"/>
                    <a:pt x="746089" y="927745"/>
                    <a:pt x="747472" y="928551"/>
                  </a:cubicBezTo>
                  <a:cubicBezTo>
                    <a:pt x="748739" y="929358"/>
                    <a:pt x="750236" y="930394"/>
                    <a:pt x="751849" y="931546"/>
                  </a:cubicBezTo>
                  <a:cubicBezTo>
                    <a:pt x="753462" y="932698"/>
                    <a:pt x="755189" y="933965"/>
                    <a:pt x="756917" y="935232"/>
                  </a:cubicBezTo>
                  <a:cubicBezTo>
                    <a:pt x="758645" y="936615"/>
                    <a:pt x="760488" y="937997"/>
                    <a:pt x="762216" y="939494"/>
                  </a:cubicBezTo>
                  <a:cubicBezTo>
                    <a:pt x="764635" y="941222"/>
                    <a:pt x="766939" y="943181"/>
                    <a:pt x="769243" y="945024"/>
                  </a:cubicBezTo>
                  <a:cubicBezTo>
                    <a:pt x="771547" y="946867"/>
                    <a:pt x="773735" y="948595"/>
                    <a:pt x="776039" y="950092"/>
                  </a:cubicBezTo>
                  <a:cubicBezTo>
                    <a:pt x="778228" y="951705"/>
                    <a:pt x="780647" y="953087"/>
                    <a:pt x="782950" y="954124"/>
                  </a:cubicBezTo>
                  <a:cubicBezTo>
                    <a:pt x="785254" y="955160"/>
                    <a:pt x="787673" y="955967"/>
                    <a:pt x="790092" y="956082"/>
                  </a:cubicBezTo>
                  <a:cubicBezTo>
                    <a:pt x="790553" y="956082"/>
                    <a:pt x="791129" y="956082"/>
                    <a:pt x="791705" y="956082"/>
                  </a:cubicBezTo>
                  <a:cubicBezTo>
                    <a:pt x="792281" y="956082"/>
                    <a:pt x="792857" y="955852"/>
                    <a:pt x="793433" y="955621"/>
                  </a:cubicBezTo>
                  <a:cubicBezTo>
                    <a:pt x="794009" y="955391"/>
                    <a:pt x="794585" y="955160"/>
                    <a:pt x="795161" y="954815"/>
                  </a:cubicBezTo>
                  <a:cubicBezTo>
                    <a:pt x="795737" y="954469"/>
                    <a:pt x="796197" y="954008"/>
                    <a:pt x="796773" y="953548"/>
                  </a:cubicBezTo>
                  <a:cubicBezTo>
                    <a:pt x="798156" y="951935"/>
                    <a:pt x="799192" y="950207"/>
                    <a:pt x="799768" y="948479"/>
                  </a:cubicBezTo>
                  <a:cubicBezTo>
                    <a:pt x="800459" y="946751"/>
                    <a:pt x="800690" y="944908"/>
                    <a:pt x="800920" y="943065"/>
                  </a:cubicBezTo>
                  <a:cubicBezTo>
                    <a:pt x="801035" y="941222"/>
                    <a:pt x="801035" y="939379"/>
                    <a:pt x="800920" y="937536"/>
                  </a:cubicBezTo>
                  <a:cubicBezTo>
                    <a:pt x="800920" y="935693"/>
                    <a:pt x="800575" y="933965"/>
                    <a:pt x="800459" y="932237"/>
                  </a:cubicBezTo>
                  <a:cubicBezTo>
                    <a:pt x="799999" y="928436"/>
                    <a:pt x="799307" y="924289"/>
                    <a:pt x="798386" y="920142"/>
                  </a:cubicBezTo>
                  <a:cubicBezTo>
                    <a:pt x="797580" y="915996"/>
                    <a:pt x="796658" y="911733"/>
                    <a:pt x="795621" y="907587"/>
                  </a:cubicBezTo>
                  <a:cubicBezTo>
                    <a:pt x="794700" y="903440"/>
                    <a:pt x="793778" y="899523"/>
                    <a:pt x="793087" y="895837"/>
                  </a:cubicBezTo>
                  <a:cubicBezTo>
                    <a:pt x="792281" y="892266"/>
                    <a:pt x="791705" y="888926"/>
                    <a:pt x="791474" y="886276"/>
                  </a:cubicBezTo>
                  <a:lnTo>
                    <a:pt x="791129" y="882705"/>
                  </a:lnTo>
                  <a:cubicBezTo>
                    <a:pt x="792972" y="883051"/>
                    <a:pt x="795737" y="884318"/>
                    <a:pt x="799077" y="886161"/>
                  </a:cubicBezTo>
                  <a:cubicBezTo>
                    <a:pt x="802418" y="888004"/>
                    <a:pt x="806219" y="890308"/>
                    <a:pt x="810250" y="892497"/>
                  </a:cubicBezTo>
                  <a:cubicBezTo>
                    <a:pt x="814282" y="894801"/>
                    <a:pt x="818544" y="897104"/>
                    <a:pt x="822576" y="898947"/>
                  </a:cubicBezTo>
                  <a:cubicBezTo>
                    <a:pt x="826723" y="900790"/>
                    <a:pt x="830524" y="902058"/>
                    <a:pt x="833865" y="902518"/>
                  </a:cubicBezTo>
                  <a:cubicBezTo>
                    <a:pt x="834556" y="902518"/>
                    <a:pt x="835247" y="902518"/>
                    <a:pt x="836053" y="902518"/>
                  </a:cubicBezTo>
                  <a:cubicBezTo>
                    <a:pt x="836744" y="902518"/>
                    <a:pt x="837551" y="902288"/>
                    <a:pt x="838242" y="901942"/>
                  </a:cubicBezTo>
                  <a:cubicBezTo>
                    <a:pt x="838933" y="901597"/>
                    <a:pt x="839739" y="901251"/>
                    <a:pt x="840430" y="900675"/>
                  </a:cubicBezTo>
                  <a:cubicBezTo>
                    <a:pt x="841122" y="900099"/>
                    <a:pt x="841813" y="899408"/>
                    <a:pt x="842389" y="898602"/>
                  </a:cubicBezTo>
                  <a:cubicBezTo>
                    <a:pt x="843195" y="897450"/>
                    <a:pt x="843656" y="896298"/>
                    <a:pt x="844117" y="895031"/>
                  </a:cubicBezTo>
                  <a:cubicBezTo>
                    <a:pt x="844462" y="893764"/>
                    <a:pt x="844693" y="892612"/>
                    <a:pt x="844808" y="891345"/>
                  </a:cubicBezTo>
                  <a:cubicBezTo>
                    <a:pt x="844923" y="890078"/>
                    <a:pt x="844923" y="888811"/>
                    <a:pt x="844808" y="887659"/>
                  </a:cubicBezTo>
                  <a:cubicBezTo>
                    <a:pt x="844808" y="886392"/>
                    <a:pt x="844577" y="885240"/>
                    <a:pt x="844462" y="884088"/>
                  </a:cubicBezTo>
                  <a:cubicBezTo>
                    <a:pt x="843771" y="879595"/>
                    <a:pt x="842504" y="874642"/>
                    <a:pt x="841006" y="869574"/>
                  </a:cubicBezTo>
                  <a:cubicBezTo>
                    <a:pt x="839509" y="864505"/>
                    <a:pt x="837666" y="859207"/>
                    <a:pt x="835823" y="854253"/>
                  </a:cubicBezTo>
                  <a:cubicBezTo>
                    <a:pt x="834095" y="849300"/>
                    <a:pt x="832367" y="844462"/>
                    <a:pt x="830985" y="840431"/>
                  </a:cubicBezTo>
                  <a:cubicBezTo>
                    <a:pt x="829602" y="836284"/>
                    <a:pt x="828566" y="832828"/>
                    <a:pt x="828220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lnTo>
                    <a:pt x="828681" y="830294"/>
                  </a:lnTo>
                  <a:cubicBezTo>
                    <a:pt x="828681" y="830294"/>
                    <a:pt x="828681" y="830294"/>
                    <a:pt x="828681" y="830294"/>
                  </a:cubicBezTo>
                  <a:cubicBezTo>
                    <a:pt x="830524" y="830294"/>
                    <a:pt x="833058" y="831100"/>
                    <a:pt x="836053" y="832137"/>
                  </a:cubicBezTo>
                  <a:cubicBezTo>
                    <a:pt x="838933" y="833058"/>
                    <a:pt x="842274" y="834325"/>
                    <a:pt x="845614" y="835593"/>
                  </a:cubicBezTo>
                  <a:cubicBezTo>
                    <a:pt x="849070" y="836860"/>
                    <a:pt x="852641" y="838127"/>
                    <a:pt x="855981" y="839163"/>
                  </a:cubicBezTo>
                  <a:cubicBezTo>
                    <a:pt x="859437" y="840200"/>
                    <a:pt x="862777" y="841006"/>
                    <a:pt x="865657" y="841237"/>
                  </a:cubicBezTo>
                  <a:cubicBezTo>
                    <a:pt x="866579" y="841237"/>
                    <a:pt x="867500" y="841237"/>
                    <a:pt x="868537" y="841237"/>
                  </a:cubicBezTo>
                  <a:cubicBezTo>
                    <a:pt x="869574" y="841237"/>
                    <a:pt x="870495" y="841006"/>
                    <a:pt x="871532" y="840661"/>
                  </a:cubicBezTo>
                  <a:cubicBezTo>
                    <a:pt x="872453" y="840200"/>
                    <a:pt x="873490" y="839739"/>
                    <a:pt x="874296" y="838933"/>
                  </a:cubicBezTo>
                  <a:cubicBezTo>
                    <a:pt x="875218" y="838127"/>
                    <a:pt x="876024" y="836975"/>
                    <a:pt x="876715" y="835477"/>
                  </a:cubicBezTo>
                  <a:cubicBezTo>
                    <a:pt x="877061" y="834671"/>
                    <a:pt x="877407" y="833749"/>
                    <a:pt x="877522" y="832828"/>
                  </a:cubicBezTo>
                  <a:cubicBezTo>
                    <a:pt x="877637" y="831906"/>
                    <a:pt x="877867" y="831100"/>
                    <a:pt x="877867" y="830179"/>
                  </a:cubicBezTo>
                  <a:cubicBezTo>
                    <a:pt x="877867" y="829257"/>
                    <a:pt x="877867" y="828451"/>
                    <a:pt x="877867" y="827529"/>
                  </a:cubicBezTo>
                  <a:cubicBezTo>
                    <a:pt x="877867" y="826608"/>
                    <a:pt x="877752" y="825917"/>
                    <a:pt x="877637" y="825110"/>
                  </a:cubicBezTo>
                  <a:cubicBezTo>
                    <a:pt x="877176" y="822346"/>
                    <a:pt x="876485" y="819581"/>
                    <a:pt x="875564" y="816932"/>
                  </a:cubicBezTo>
                  <a:cubicBezTo>
                    <a:pt x="874757" y="814282"/>
                    <a:pt x="873605" y="811518"/>
                    <a:pt x="872453" y="808868"/>
                  </a:cubicBezTo>
                  <a:cubicBezTo>
                    <a:pt x="871302" y="806219"/>
                    <a:pt x="870034" y="803570"/>
                    <a:pt x="868652" y="800920"/>
                  </a:cubicBezTo>
                  <a:cubicBezTo>
                    <a:pt x="867385" y="798271"/>
                    <a:pt x="866003" y="795506"/>
                    <a:pt x="864736" y="792857"/>
                  </a:cubicBezTo>
                  <a:cubicBezTo>
                    <a:pt x="863584" y="790783"/>
                    <a:pt x="862547" y="788595"/>
                    <a:pt x="861510" y="786406"/>
                  </a:cubicBezTo>
                  <a:cubicBezTo>
                    <a:pt x="860474" y="784333"/>
                    <a:pt x="859552" y="782259"/>
                    <a:pt x="858631" y="780301"/>
                  </a:cubicBezTo>
                  <a:cubicBezTo>
                    <a:pt x="857824" y="778343"/>
                    <a:pt x="857018" y="776615"/>
                    <a:pt x="856442" y="775118"/>
                  </a:cubicBezTo>
                  <a:cubicBezTo>
                    <a:pt x="855866" y="773620"/>
                    <a:pt x="855405" y="772238"/>
                    <a:pt x="855060" y="771316"/>
                  </a:cubicBezTo>
                  <a:cubicBezTo>
                    <a:pt x="855405" y="771316"/>
                    <a:pt x="855751" y="771316"/>
                    <a:pt x="856212" y="771201"/>
                  </a:cubicBezTo>
                  <a:cubicBezTo>
                    <a:pt x="856672" y="771201"/>
                    <a:pt x="857133" y="771201"/>
                    <a:pt x="857594" y="771201"/>
                  </a:cubicBezTo>
                  <a:cubicBezTo>
                    <a:pt x="858055" y="771201"/>
                    <a:pt x="858631" y="771201"/>
                    <a:pt x="859206" y="771201"/>
                  </a:cubicBezTo>
                  <a:cubicBezTo>
                    <a:pt x="859782" y="771201"/>
                    <a:pt x="860358" y="771201"/>
                    <a:pt x="860934" y="771201"/>
                  </a:cubicBezTo>
                  <a:cubicBezTo>
                    <a:pt x="862547" y="771316"/>
                    <a:pt x="864275" y="771547"/>
                    <a:pt x="866118" y="771892"/>
                  </a:cubicBezTo>
                  <a:cubicBezTo>
                    <a:pt x="867961" y="772123"/>
                    <a:pt x="869919" y="772583"/>
                    <a:pt x="871762" y="772814"/>
                  </a:cubicBezTo>
                  <a:cubicBezTo>
                    <a:pt x="873721" y="773274"/>
                    <a:pt x="875679" y="773505"/>
                    <a:pt x="877637" y="773850"/>
                  </a:cubicBezTo>
                  <a:cubicBezTo>
                    <a:pt x="879595" y="774081"/>
                    <a:pt x="881553" y="774426"/>
                    <a:pt x="883397" y="774542"/>
                  </a:cubicBezTo>
                  <a:cubicBezTo>
                    <a:pt x="884894" y="774542"/>
                    <a:pt x="886507" y="774657"/>
                    <a:pt x="888119" y="774657"/>
                  </a:cubicBezTo>
                  <a:cubicBezTo>
                    <a:pt x="889732" y="774657"/>
                    <a:pt x="891230" y="774657"/>
                    <a:pt x="892727" y="774311"/>
                  </a:cubicBezTo>
                  <a:cubicBezTo>
                    <a:pt x="894224" y="773966"/>
                    <a:pt x="895607" y="773274"/>
                    <a:pt x="896874" y="772007"/>
                  </a:cubicBezTo>
                  <a:cubicBezTo>
                    <a:pt x="898141" y="770855"/>
                    <a:pt x="899293" y="769128"/>
                    <a:pt x="900214" y="766593"/>
                  </a:cubicBezTo>
                  <a:cubicBezTo>
                    <a:pt x="900330" y="766017"/>
                    <a:pt x="900445" y="765326"/>
                    <a:pt x="900560" y="764750"/>
                  </a:cubicBezTo>
                  <a:cubicBezTo>
                    <a:pt x="900560" y="764174"/>
                    <a:pt x="900675" y="763483"/>
                    <a:pt x="900675" y="762907"/>
                  </a:cubicBezTo>
                  <a:cubicBezTo>
                    <a:pt x="900675" y="762331"/>
                    <a:pt x="900675" y="761755"/>
                    <a:pt x="900675" y="761064"/>
                  </a:cubicBezTo>
                  <a:cubicBezTo>
                    <a:pt x="900675" y="760488"/>
                    <a:pt x="900560" y="759912"/>
                    <a:pt x="900445" y="759221"/>
                  </a:cubicBezTo>
                  <a:cubicBezTo>
                    <a:pt x="899754" y="756111"/>
                    <a:pt x="898832" y="753231"/>
                    <a:pt x="897680" y="750352"/>
                  </a:cubicBezTo>
                  <a:cubicBezTo>
                    <a:pt x="896528" y="747587"/>
                    <a:pt x="895146" y="744938"/>
                    <a:pt x="893649" y="742288"/>
                  </a:cubicBezTo>
                  <a:cubicBezTo>
                    <a:pt x="892151" y="739639"/>
                    <a:pt x="890538" y="737105"/>
                    <a:pt x="888926" y="734570"/>
                  </a:cubicBezTo>
                  <a:cubicBezTo>
                    <a:pt x="887198" y="731921"/>
                    <a:pt x="885585" y="729387"/>
                    <a:pt x="883857" y="726622"/>
                  </a:cubicBezTo>
                  <a:cubicBezTo>
                    <a:pt x="882590" y="724779"/>
                    <a:pt x="881208" y="722821"/>
                    <a:pt x="880056" y="720863"/>
                  </a:cubicBezTo>
                  <a:cubicBezTo>
                    <a:pt x="878904" y="718904"/>
                    <a:pt x="877752" y="717061"/>
                    <a:pt x="876715" y="715334"/>
                  </a:cubicBezTo>
                  <a:cubicBezTo>
                    <a:pt x="875679" y="713606"/>
                    <a:pt x="874757" y="711993"/>
                    <a:pt x="873951" y="710611"/>
                  </a:cubicBezTo>
                  <a:cubicBezTo>
                    <a:pt x="873145" y="709228"/>
                    <a:pt x="872569" y="708077"/>
                    <a:pt x="872223" y="707155"/>
                  </a:cubicBezTo>
                  <a:cubicBezTo>
                    <a:pt x="872914" y="706925"/>
                    <a:pt x="873951" y="706694"/>
                    <a:pt x="875103" y="706464"/>
                  </a:cubicBezTo>
                  <a:cubicBezTo>
                    <a:pt x="876370" y="706234"/>
                    <a:pt x="877752" y="706003"/>
                    <a:pt x="879365" y="705773"/>
                  </a:cubicBezTo>
                  <a:cubicBezTo>
                    <a:pt x="880978" y="705542"/>
                    <a:pt x="882705" y="705427"/>
                    <a:pt x="884433" y="705312"/>
                  </a:cubicBezTo>
                  <a:cubicBezTo>
                    <a:pt x="886276" y="705312"/>
                    <a:pt x="888119" y="705197"/>
                    <a:pt x="889962" y="705312"/>
                  </a:cubicBezTo>
                  <a:cubicBezTo>
                    <a:pt x="891114" y="705312"/>
                    <a:pt x="892381" y="705312"/>
                    <a:pt x="893533" y="705197"/>
                  </a:cubicBezTo>
                  <a:cubicBezTo>
                    <a:pt x="894685" y="705197"/>
                    <a:pt x="895837" y="705082"/>
                    <a:pt x="896989" y="704966"/>
                  </a:cubicBezTo>
                  <a:cubicBezTo>
                    <a:pt x="898141" y="704966"/>
                    <a:pt x="899293" y="704736"/>
                    <a:pt x="900330" y="704621"/>
                  </a:cubicBezTo>
                  <a:cubicBezTo>
                    <a:pt x="901481" y="704506"/>
                    <a:pt x="902518" y="704275"/>
                    <a:pt x="903555" y="704045"/>
                  </a:cubicBezTo>
                  <a:cubicBezTo>
                    <a:pt x="904476" y="703699"/>
                    <a:pt x="905513" y="703354"/>
                    <a:pt x="906550" y="703008"/>
                  </a:cubicBezTo>
                  <a:cubicBezTo>
                    <a:pt x="907471" y="702663"/>
                    <a:pt x="908508" y="702087"/>
                    <a:pt x="909314" y="701396"/>
                  </a:cubicBezTo>
                  <a:cubicBezTo>
                    <a:pt x="910236" y="700704"/>
                    <a:pt x="911042" y="699783"/>
                    <a:pt x="911618" y="698516"/>
                  </a:cubicBezTo>
                  <a:cubicBezTo>
                    <a:pt x="912309" y="697364"/>
                    <a:pt x="912770" y="695751"/>
                    <a:pt x="913116" y="693793"/>
                  </a:cubicBezTo>
                  <a:cubicBezTo>
                    <a:pt x="913116" y="693447"/>
                    <a:pt x="913116" y="692987"/>
                    <a:pt x="913116" y="692526"/>
                  </a:cubicBezTo>
                  <a:lnTo>
                    <a:pt x="913116" y="691374"/>
                  </a:lnTo>
                  <a:cubicBezTo>
                    <a:pt x="913116" y="691374"/>
                    <a:pt x="913116" y="690568"/>
                    <a:pt x="913116" y="690222"/>
                  </a:cubicBezTo>
                  <a:cubicBezTo>
                    <a:pt x="913116" y="689876"/>
                    <a:pt x="913116" y="689531"/>
                    <a:pt x="913001" y="689185"/>
                  </a:cubicBezTo>
                  <a:cubicBezTo>
                    <a:pt x="912194" y="685614"/>
                    <a:pt x="911042" y="682619"/>
                    <a:pt x="909545" y="679740"/>
                  </a:cubicBezTo>
                  <a:cubicBezTo>
                    <a:pt x="908162" y="676860"/>
                    <a:pt x="906550" y="674326"/>
                    <a:pt x="904707" y="671907"/>
                  </a:cubicBezTo>
                  <a:cubicBezTo>
                    <a:pt x="902979" y="669488"/>
                    <a:pt x="901021" y="667299"/>
                    <a:pt x="899062" y="664880"/>
                  </a:cubicBezTo>
                  <a:cubicBezTo>
                    <a:pt x="897104" y="662576"/>
                    <a:pt x="895031" y="660157"/>
                    <a:pt x="893073" y="657623"/>
                  </a:cubicBezTo>
                  <a:cubicBezTo>
                    <a:pt x="892151" y="656471"/>
                    <a:pt x="891114" y="655204"/>
                    <a:pt x="890193" y="654052"/>
                  </a:cubicBezTo>
                  <a:cubicBezTo>
                    <a:pt x="889271" y="652900"/>
                    <a:pt x="888350" y="651748"/>
                    <a:pt x="887428" y="650596"/>
                  </a:cubicBezTo>
                  <a:cubicBezTo>
                    <a:pt x="886507" y="649560"/>
                    <a:pt x="885700" y="648408"/>
                    <a:pt x="884894" y="647371"/>
                  </a:cubicBezTo>
                  <a:cubicBezTo>
                    <a:pt x="884088" y="646334"/>
                    <a:pt x="883281" y="645413"/>
                    <a:pt x="882590" y="644376"/>
                  </a:cubicBezTo>
                  <a:lnTo>
                    <a:pt x="879941" y="640344"/>
                  </a:lnTo>
                  <a:cubicBezTo>
                    <a:pt x="879941" y="640344"/>
                    <a:pt x="881438" y="639538"/>
                    <a:pt x="882475" y="639077"/>
                  </a:cubicBezTo>
                  <a:cubicBezTo>
                    <a:pt x="883512" y="638617"/>
                    <a:pt x="884894" y="638156"/>
                    <a:pt x="886276" y="637580"/>
                  </a:cubicBezTo>
                  <a:cubicBezTo>
                    <a:pt x="887659" y="637119"/>
                    <a:pt x="889271" y="636658"/>
                    <a:pt x="890884" y="636198"/>
                  </a:cubicBezTo>
                  <a:cubicBezTo>
                    <a:pt x="892497" y="635737"/>
                    <a:pt x="894224" y="635391"/>
                    <a:pt x="895952" y="635046"/>
                  </a:cubicBezTo>
                  <a:cubicBezTo>
                    <a:pt x="897104" y="634815"/>
                    <a:pt x="898141" y="634470"/>
                    <a:pt x="899178" y="634239"/>
                  </a:cubicBezTo>
                  <a:cubicBezTo>
                    <a:pt x="900214" y="634009"/>
                    <a:pt x="901251" y="633663"/>
                    <a:pt x="902288" y="633433"/>
                  </a:cubicBezTo>
                  <a:cubicBezTo>
                    <a:pt x="903324" y="633088"/>
                    <a:pt x="904361" y="632742"/>
                    <a:pt x="905283" y="632396"/>
                  </a:cubicBezTo>
                  <a:cubicBezTo>
                    <a:pt x="906204" y="632051"/>
                    <a:pt x="907241" y="631590"/>
                    <a:pt x="908162" y="631129"/>
                  </a:cubicBezTo>
                  <a:cubicBezTo>
                    <a:pt x="908969" y="630669"/>
                    <a:pt x="909775" y="630093"/>
                    <a:pt x="910697" y="629517"/>
                  </a:cubicBezTo>
                  <a:cubicBezTo>
                    <a:pt x="911503" y="628941"/>
                    <a:pt x="912309" y="628250"/>
                    <a:pt x="913001" y="627328"/>
                  </a:cubicBezTo>
                  <a:cubicBezTo>
                    <a:pt x="913692" y="626406"/>
                    <a:pt x="914383" y="625370"/>
                    <a:pt x="914844" y="623987"/>
                  </a:cubicBezTo>
                  <a:cubicBezTo>
                    <a:pt x="915304" y="622605"/>
                    <a:pt x="915535" y="620877"/>
                    <a:pt x="915650" y="618919"/>
                  </a:cubicBezTo>
                  <a:lnTo>
                    <a:pt x="915420" y="616730"/>
                  </a:lnTo>
                  <a:cubicBezTo>
                    <a:pt x="914959" y="614657"/>
                    <a:pt x="914498" y="612814"/>
                    <a:pt x="913692" y="611201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B436205-8E4D-1F07-3E06-ED24508B6CC6}"/>
                </a:ext>
              </a:extLst>
            </p:cNvPr>
            <p:cNvSpPr/>
            <p:nvPr/>
          </p:nvSpPr>
          <p:spPr>
            <a:xfrm>
              <a:off x="442593" y="368967"/>
              <a:ext cx="957464" cy="803310"/>
            </a:xfrm>
            <a:custGeom>
              <a:avLst/>
              <a:gdLst>
                <a:gd name="connsiteX0" fmla="*/ 300302 w 957464"/>
                <a:gd name="connsiteY0" fmla="*/ 18430 h 803310"/>
                <a:gd name="connsiteX1" fmla="*/ 304679 w 957464"/>
                <a:gd name="connsiteY1" fmla="*/ 22117 h 803310"/>
                <a:gd name="connsiteX2" fmla="*/ 309747 w 957464"/>
                <a:gd name="connsiteY2" fmla="*/ 26494 h 803310"/>
                <a:gd name="connsiteX3" fmla="*/ 314931 w 957464"/>
                <a:gd name="connsiteY3" fmla="*/ 31217 h 803310"/>
                <a:gd name="connsiteX4" fmla="*/ 322188 w 957464"/>
                <a:gd name="connsiteY4" fmla="*/ 37667 h 803310"/>
                <a:gd name="connsiteX5" fmla="*/ 329215 w 957464"/>
                <a:gd name="connsiteY5" fmla="*/ 43772 h 803310"/>
                <a:gd name="connsiteX6" fmla="*/ 336472 w 957464"/>
                <a:gd name="connsiteY6" fmla="*/ 49186 h 803310"/>
                <a:gd name="connsiteX7" fmla="*/ 344420 w 957464"/>
                <a:gd name="connsiteY7" fmla="*/ 53564 h 803310"/>
                <a:gd name="connsiteX8" fmla="*/ 346032 w 957464"/>
                <a:gd name="connsiteY8" fmla="*/ 54140 h 803310"/>
                <a:gd name="connsiteX9" fmla="*/ 347876 w 957464"/>
                <a:gd name="connsiteY9" fmla="*/ 54716 h 803310"/>
                <a:gd name="connsiteX10" fmla="*/ 349719 w 957464"/>
                <a:gd name="connsiteY10" fmla="*/ 55061 h 803310"/>
                <a:gd name="connsiteX11" fmla="*/ 351677 w 957464"/>
                <a:gd name="connsiteY11" fmla="*/ 55176 h 803310"/>
                <a:gd name="connsiteX12" fmla="*/ 356284 w 957464"/>
                <a:gd name="connsiteY12" fmla="*/ 53909 h 803310"/>
                <a:gd name="connsiteX13" fmla="*/ 359049 w 957464"/>
                <a:gd name="connsiteY13" fmla="*/ 51490 h 803310"/>
                <a:gd name="connsiteX14" fmla="*/ 360547 w 957464"/>
                <a:gd name="connsiteY14" fmla="*/ 48495 h 803310"/>
                <a:gd name="connsiteX15" fmla="*/ 361468 w 957464"/>
                <a:gd name="connsiteY15" fmla="*/ 45270 h 803310"/>
                <a:gd name="connsiteX16" fmla="*/ 362390 w 957464"/>
                <a:gd name="connsiteY16" fmla="*/ 39856 h 803310"/>
                <a:gd name="connsiteX17" fmla="*/ 362966 w 957464"/>
                <a:gd name="connsiteY17" fmla="*/ 34096 h 803310"/>
                <a:gd name="connsiteX18" fmla="*/ 363426 w 957464"/>
                <a:gd name="connsiteY18" fmla="*/ 28337 h 803310"/>
                <a:gd name="connsiteX19" fmla="*/ 363887 w 957464"/>
                <a:gd name="connsiteY19" fmla="*/ 23038 h 803310"/>
                <a:gd name="connsiteX20" fmla="*/ 364233 w 957464"/>
                <a:gd name="connsiteY20" fmla="*/ 20619 h 803310"/>
                <a:gd name="connsiteX21" fmla="*/ 364578 w 957464"/>
                <a:gd name="connsiteY21" fmla="*/ 18546 h 803310"/>
                <a:gd name="connsiteX22" fmla="*/ 365039 w 957464"/>
                <a:gd name="connsiteY22" fmla="*/ 16818 h 803310"/>
                <a:gd name="connsiteX23" fmla="*/ 365500 w 957464"/>
                <a:gd name="connsiteY23" fmla="*/ 15436 h 803310"/>
                <a:gd name="connsiteX24" fmla="*/ 369186 w 957464"/>
                <a:gd name="connsiteY24" fmla="*/ 19006 h 803310"/>
                <a:gd name="connsiteX25" fmla="*/ 373793 w 957464"/>
                <a:gd name="connsiteY25" fmla="*/ 23960 h 803310"/>
                <a:gd name="connsiteX26" fmla="*/ 378977 w 957464"/>
                <a:gd name="connsiteY26" fmla="*/ 29604 h 803310"/>
                <a:gd name="connsiteX27" fmla="*/ 384276 w 957464"/>
                <a:gd name="connsiteY27" fmla="*/ 35594 h 803310"/>
                <a:gd name="connsiteX28" fmla="*/ 390035 w 957464"/>
                <a:gd name="connsiteY28" fmla="*/ 41929 h 803310"/>
                <a:gd name="connsiteX29" fmla="*/ 395680 w 957464"/>
                <a:gd name="connsiteY29" fmla="*/ 47919 h 803310"/>
                <a:gd name="connsiteX30" fmla="*/ 401900 w 957464"/>
                <a:gd name="connsiteY30" fmla="*/ 53333 h 803310"/>
                <a:gd name="connsiteX31" fmla="*/ 409387 w 957464"/>
                <a:gd name="connsiteY31" fmla="*/ 57826 h 803310"/>
                <a:gd name="connsiteX32" fmla="*/ 410424 w 957464"/>
                <a:gd name="connsiteY32" fmla="*/ 58171 h 803310"/>
                <a:gd name="connsiteX33" fmla="*/ 411576 w 957464"/>
                <a:gd name="connsiteY33" fmla="*/ 58517 h 803310"/>
                <a:gd name="connsiteX34" fmla="*/ 412728 w 957464"/>
                <a:gd name="connsiteY34" fmla="*/ 58747 h 803310"/>
                <a:gd name="connsiteX35" fmla="*/ 413880 w 957464"/>
                <a:gd name="connsiteY35" fmla="*/ 58978 h 803310"/>
                <a:gd name="connsiteX36" fmla="*/ 418948 w 957464"/>
                <a:gd name="connsiteY36" fmla="*/ 58632 h 803310"/>
                <a:gd name="connsiteX37" fmla="*/ 422173 w 957464"/>
                <a:gd name="connsiteY37" fmla="*/ 56904 h 803310"/>
                <a:gd name="connsiteX38" fmla="*/ 424362 w 957464"/>
                <a:gd name="connsiteY38" fmla="*/ 54485 h 803310"/>
                <a:gd name="connsiteX39" fmla="*/ 425975 w 957464"/>
                <a:gd name="connsiteY39" fmla="*/ 51836 h 803310"/>
                <a:gd name="connsiteX40" fmla="*/ 427933 w 957464"/>
                <a:gd name="connsiteY40" fmla="*/ 47228 h 803310"/>
                <a:gd name="connsiteX41" fmla="*/ 429546 w 957464"/>
                <a:gd name="connsiteY41" fmla="*/ 42275 h 803310"/>
                <a:gd name="connsiteX42" fmla="*/ 431043 w 957464"/>
                <a:gd name="connsiteY42" fmla="*/ 37207 h 803310"/>
                <a:gd name="connsiteX43" fmla="*/ 432541 w 957464"/>
                <a:gd name="connsiteY43" fmla="*/ 32484 h 803310"/>
                <a:gd name="connsiteX44" fmla="*/ 433232 w 957464"/>
                <a:gd name="connsiteY44" fmla="*/ 30410 h 803310"/>
                <a:gd name="connsiteX45" fmla="*/ 434038 w 957464"/>
                <a:gd name="connsiteY45" fmla="*/ 28567 h 803310"/>
                <a:gd name="connsiteX46" fmla="*/ 434844 w 957464"/>
                <a:gd name="connsiteY46" fmla="*/ 27070 h 803310"/>
                <a:gd name="connsiteX47" fmla="*/ 435536 w 957464"/>
                <a:gd name="connsiteY47" fmla="*/ 25918 h 803310"/>
                <a:gd name="connsiteX48" fmla="*/ 438300 w 957464"/>
                <a:gd name="connsiteY48" fmla="*/ 29258 h 803310"/>
                <a:gd name="connsiteX49" fmla="*/ 441871 w 957464"/>
                <a:gd name="connsiteY49" fmla="*/ 33866 h 803310"/>
                <a:gd name="connsiteX50" fmla="*/ 445788 w 957464"/>
                <a:gd name="connsiteY50" fmla="*/ 39165 h 803310"/>
                <a:gd name="connsiteX51" fmla="*/ 449589 w 957464"/>
                <a:gd name="connsiteY51" fmla="*/ 44809 h 803310"/>
                <a:gd name="connsiteX52" fmla="*/ 455003 w 957464"/>
                <a:gd name="connsiteY52" fmla="*/ 52297 h 803310"/>
                <a:gd name="connsiteX53" fmla="*/ 460417 w 957464"/>
                <a:gd name="connsiteY53" fmla="*/ 59438 h 803310"/>
                <a:gd name="connsiteX54" fmla="*/ 466637 w 957464"/>
                <a:gd name="connsiteY54" fmla="*/ 65889 h 803310"/>
                <a:gd name="connsiteX55" fmla="*/ 474931 w 957464"/>
                <a:gd name="connsiteY55" fmla="*/ 71418 h 803310"/>
                <a:gd name="connsiteX56" fmla="*/ 477004 w 957464"/>
                <a:gd name="connsiteY56" fmla="*/ 72109 h 803310"/>
                <a:gd name="connsiteX57" fmla="*/ 482188 w 957464"/>
                <a:gd name="connsiteY57" fmla="*/ 72570 h 803310"/>
                <a:gd name="connsiteX58" fmla="*/ 485759 w 957464"/>
                <a:gd name="connsiteY58" fmla="*/ 71649 h 803310"/>
                <a:gd name="connsiteX59" fmla="*/ 488293 w 957464"/>
                <a:gd name="connsiteY59" fmla="*/ 69805 h 803310"/>
                <a:gd name="connsiteX60" fmla="*/ 490366 w 957464"/>
                <a:gd name="connsiteY60" fmla="*/ 67617 h 803310"/>
                <a:gd name="connsiteX61" fmla="*/ 493246 w 957464"/>
                <a:gd name="connsiteY61" fmla="*/ 63816 h 803310"/>
                <a:gd name="connsiteX62" fmla="*/ 495780 w 957464"/>
                <a:gd name="connsiteY62" fmla="*/ 59554 h 803310"/>
                <a:gd name="connsiteX63" fmla="*/ 498199 w 957464"/>
                <a:gd name="connsiteY63" fmla="*/ 55291 h 803310"/>
                <a:gd name="connsiteX64" fmla="*/ 500503 w 957464"/>
                <a:gd name="connsiteY64" fmla="*/ 51375 h 803310"/>
                <a:gd name="connsiteX65" fmla="*/ 501655 w 957464"/>
                <a:gd name="connsiteY65" fmla="*/ 49647 h 803310"/>
                <a:gd name="connsiteX66" fmla="*/ 502807 w 957464"/>
                <a:gd name="connsiteY66" fmla="*/ 48150 h 803310"/>
                <a:gd name="connsiteX67" fmla="*/ 503844 w 957464"/>
                <a:gd name="connsiteY67" fmla="*/ 46998 h 803310"/>
                <a:gd name="connsiteX68" fmla="*/ 504880 w 957464"/>
                <a:gd name="connsiteY68" fmla="*/ 46191 h 803310"/>
                <a:gd name="connsiteX69" fmla="*/ 505571 w 957464"/>
                <a:gd name="connsiteY69" fmla="*/ 47113 h 803310"/>
                <a:gd name="connsiteX70" fmla="*/ 506378 w 957464"/>
                <a:gd name="connsiteY70" fmla="*/ 48150 h 803310"/>
                <a:gd name="connsiteX71" fmla="*/ 507184 w 957464"/>
                <a:gd name="connsiteY71" fmla="*/ 49417 h 803310"/>
                <a:gd name="connsiteX72" fmla="*/ 508106 w 957464"/>
                <a:gd name="connsiteY72" fmla="*/ 50914 h 803310"/>
                <a:gd name="connsiteX73" fmla="*/ 510985 w 957464"/>
                <a:gd name="connsiteY73" fmla="*/ 55867 h 803310"/>
                <a:gd name="connsiteX74" fmla="*/ 513980 w 957464"/>
                <a:gd name="connsiteY74" fmla="*/ 61512 h 803310"/>
                <a:gd name="connsiteX75" fmla="*/ 517206 w 957464"/>
                <a:gd name="connsiteY75" fmla="*/ 67386 h 803310"/>
                <a:gd name="connsiteX76" fmla="*/ 520431 w 957464"/>
                <a:gd name="connsiteY76" fmla="*/ 73261 h 803310"/>
                <a:gd name="connsiteX77" fmla="*/ 523887 w 957464"/>
                <a:gd name="connsiteY77" fmla="*/ 78906 h 803310"/>
                <a:gd name="connsiteX78" fmla="*/ 527573 w 957464"/>
                <a:gd name="connsiteY78" fmla="*/ 84320 h 803310"/>
                <a:gd name="connsiteX79" fmla="*/ 532411 w 957464"/>
                <a:gd name="connsiteY79" fmla="*/ 89388 h 803310"/>
                <a:gd name="connsiteX80" fmla="*/ 539322 w 957464"/>
                <a:gd name="connsiteY80" fmla="*/ 93996 h 803310"/>
                <a:gd name="connsiteX81" fmla="*/ 544506 w 957464"/>
                <a:gd name="connsiteY81" fmla="*/ 95147 h 803310"/>
                <a:gd name="connsiteX82" fmla="*/ 548422 w 957464"/>
                <a:gd name="connsiteY82" fmla="*/ 94802 h 803310"/>
                <a:gd name="connsiteX83" fmla="*/ 551417 w 957464"/>
                <a:gd name="connsiteY83" fmla="*/ 93650 h 803310"/>
                <a:gd name="connsiteX84" fmla="*/ 553951 w 957464"/>
                <a:gd name="connsiteY84" fmla="*/ 92037 h 803310"/>
                <a:gd name="connsiteX85" fmla="*/ 557522 w 957464"/>
                <a:gd name="connsiteY85" fmla="*/ 89158 h 803310"/>
                <a:gd name="connsiteX86" fmla="*/ 560863 w 957464"/>
                <a:gd name="connsiteY86" fmla="*/ 85817 h 803310"/>
                <a:gd name="connsiteX87" fmla="*/ 563973 w 957464"/>
                <a:gd name="connsiteY87" fmla="*/ 82361 h 803310"/>
                <a:gd name="connsiteX88" fmla="*/ 566968 w 957464"/>
                <a:gd name="connsiteY88" fmla="*/ 79136 h 803310"/>
                <a:gd name="connsiteX89" fmla="*/ 568466 w 957464"/>
                <a:gd name="connsiteY89" fmla="*/ 77754 h 803310"/>
                <a:gd name="connsiteX90" fmla="*/ 569848 w 957464"/>
                <a:gd name="connsiteY90" fmla="*/ 76487 h 803310"/>
                <a:gd name="connsiteX91" fmla="*/ 571115 w 957464"/>
                <a:gd name="connsiteY91" fmla="*/ 75565 h 803310"/>
                <a:gd name="connsiteX92" fmla="*/ 572267 w 957464"/>
                <a:gd name="connsiteY92" fmla="*/ 74874 h 803310"/>
                <a:gd name="connsiteX93" fmla="*/ 574455 w 957464"/>
                <a:gd name="connsiteY93" fmla="*/ 79021 h 803310"/>
                <a:gd name="connsiteX94" fmla="*/ 576874 w 957464"/>
                <a:gd name="connsiteY94" fmla="*/ 84550 h 803310"/>
                <a:gd name="connsiteX95" fmla="*/ 579409 w 957464"/>
                <a:gd name="connsiteY95" fmla="*/ 90885 h 803310"/>
                <a:gd name="connsiteX96" fmla="*/ 581943 w 957464"/>
                <a:gd name="connsiteY96" fmla="*/ 97451 h 803310"/>
                <a:gd name="connsiteX97" fmla="*/ 584823 w 957464"/>
                <a:gd name="connsiteY97" fmla="*/ 104132 h 803310"/>
                <a:gd name="connsiteX98" fmla="*/ 587818 w 957464"/>
                <a:gd name="connsiteY98" fmla="*/ 110583 h 803310"/>
                <a:gd name="connsiteX99" fmla="*/ 592195 w 957464"/>
                <a:gd name="connsiteY99" fmla="*/ 116803 h 803310"/>
                <a:gd name="connsiteX100" fmla="*/ 599337 w 957464"/>
                <a:gd name="connsiteY100" fmla="*/ 122908 h 803310"/>
                <a:gd name="connsiteX101" fmla="*/ 601295 w 957464"/>
                <a:gd name="connsiteY101" fmla="*/ 123830 h 803310"/>
                <a:gd name="connsiteX102" fmla="*/ 609358 w 957464"/>
                <a:gd name="connsiteY102" fmla="*/ 124982 h 803310"/>
                <a:gd name="connsiteX103" fmla="*/ 615348 w 957464"/>
                <a:gd name="connsiteY103" fmla="*/ 123484 h 803310"/>
                <a:gd name="connsiteX104" fmla="*/ 620301 w 957464"/>
                <a:gd name="connsiteY104" fmla="*/ 120489 h 803310"/>
                <a:gd name="connsiteX105" fmla="*/ 625485 w 957464"/>
                <a:gd name="connsiteY105" fmla="*/ 117264 h 803310"/>
                <a:gd name="connsiteX106" fmla="*/ 627904 w 957464"/>
                <a:gd name="connsiteY106" fmla="*/ 115651 h 803310"/>
                <a:gd name="connsiteX107" fmla="*/ 630323 w 957464"/>
                <a:gd name="connsiteY107" fmla="*/ 114154 h 803310"/>
                <a:gd name="connsiteX108" fmla="*/ 632511 w 957464"/>
                <a:gd name="connsiteY108" fmla="*/ 112887 h 803310"/>
                <a:gd name="connsiteX109" fmla="*/ 634585 w 957464"/>
                <a:gd name="connsiteY109" fmla="*/ 111850 h 803310"/>
                <a:gd name="connsiteX110" fmla="*/ 636774 w 957464"/>
                <a:gd name="connsiteY110" fmla="*/ 110929 h 803310"/>
                <a:gd name="connsiteX111" fmla="*/ 638386 w 957464"/>
                <a:gd name="connsiteY111" fmla="*/ 115075 h 803310"/>
                <a:gd name="connsiteX112" fmla="*/ 639884 w 957464"/>
                <a:gd name="connsiteY112" fmla="*/ 120374 h 803310"/>
                <a:gd name="connsiteX113" fmla="*/ 641381 w 957464"/>
                <a:gd name="connsiteY113" fmla="*/ 126479 h 803310"/>
                <a:gd name="connsiteX114" fmla="*/ 642879 w 957464"/>
                <a:gd name="connsiteY114" fmla="*/ 132815 h 803310"/>
                <a:gd name="connsiteX115" fmla="*/ 644722 w 957464"/>
                <a:gd name="connsiteY115" fmla="*/ 139381 h 803310"/>
                <a:gd name="connsiteX116" fmla="*/ 646680 w 957464"/>
                <a:gd name="connsiteY116" fmla="*/ 145716 h 803310"/>
                <a:gd name="connsiteX117" fmla="*/ 650136 w 957464"/>
                <a:gd name="connsiteY117" fmla="*/ 152167 h 803310"/>
                <a:gd name="connsiteX118" fmla="*/ 656471 w 957464"/>
                <a:gd name="connsiteY118" fmla="*/ 158848 h 803310"/>
                <a:gd name="connsiteX119" fmla="*/ 657393 w 957464"/>
                <a:gd name="connsiteY119" fmla="*/ 159424 h 803310"/>
                <a:gd name="connsiteX120" fmla="*/ 658314 w 957464"/>
                <a:gd name="connsiteY120" fmla="*/ 160000 h 803310"/>
                <a:gd name="connsiteX121" fmla="*/ 659236 w 957464"/>
                <a:gd name="connsiteY121" fmla="*/ 160460 h 803310"/>
                <a:gd name="connsiteX122" fmla="*/ 660157 w 957464"/>
                <a:gd name="connsiteY122" fmla="*/ 160921 h 803310"/>
                <a:gd name="connsiteX123" fmla="*/ 667414 w 957464"/>
                <a:gd name="connsiteY123" fmla="*/ 162304 h 803310"/>
                <a:gd name="connsiteX124" fmla="*/ 673404 w 957464"/>
                <a:gd name="connsiteY124" fmla="*/ 161612 h 803310"/>
                <a:gd name="connsiteX125" fmla="*/ 678818 w 957464"/>
                <a:gd name="connsiteY125" fmla="*/ 159885 h 803310"/>
                <a:gd name="connsiteX126" fmla="*/ 684347 w 957464"/>
                <a:gd name="connsiteY126" fmla="*/ 157926 h 803310"/>
                <a:gd name="connsiteX127" fmla="*/ 686997 w 957464"/>
                <a:gd name="connsiteY127" fmla="*/ 156890 h 803310"/>
                <a:gd name="connsiteX128" fmla="*/ 689531 w 957464"/>
                <a:gd name="connsiteY128" fmla="*/ 155968 h 803310"/>
                <a:gd name="connsiteX129" fmla="*/ 691950 w 957464"/>
                <a:gd name="connsiteY129" fmla="*/ 155162 h 803310"/>
                <a:gd name="connsiteX130" fmla="*/ 694138 w 957464"/>
                <a:gd name="connsiteY130" fmla="*/ 154586 h 803310"/>
                <a:gd name="connsiteX131" fmla="*/ 697133 w 957464"/>
                <a:gd name="connsiteY131" fmla="*/ 154010 h 803310"/>
                <a:gd name="connsiteX132" fmla="*/ 697940 w 957464"/>
                <a:gd name="connsiteY132" fmla="*/ 157926 h 803310"/>
                <a:gd name="connsiteX133" fmla="*/ 698631 w 957464"/>
                <a:gd name="connsiteY133" fmla="*/ 162995 h 803310"/>
                <a:gd name="connsiteX134" fmla="*/ 699092 w 957464"/>
                <a:gd name="connsiteY134" fmla="*/ 168639 h 803310"/>
                <a:gd name="connsiteX135" fmla="*/ 699552 w 957464"/>
                <a:gd name="connsiteY135" fmla="*/ 174514 h 803310"/>
                <a:gd name="connsiteX136" fmla="*/ 700244 w 957464"/>
                <a:gd name="connsiteY136" fmla="*/ 180734 h 803310"/>
                <a:gd name="connsiteX137" fmla="*/ 701165 w 957464"/>
                <a:gd name="connsiteY137" fmla="*/ 186839 h 803310"/>
                <a:gd name="connsiteX138" fmla="*/ 703699 w 957464"/>
                <a:gd name="connsiteY138" fmla="*/ 193175 h 803310"/>
                <a:gd name="connsiteX139" fmla="*/ 709113 w 957464"/>
                <a:gd name="connsiteY139" fmla="*/ 200201 h 803310"/>
                <a:gd name="connsiteX140" fmla="*/ 710611 w 957464"/>
                <a:gd name="connsiteY140" fmla="*/ 201468 h 803310"/>
                <a:gd name="connsiteX141" fmla="*/ 712108 w 957464"/>
                <a:gd name="connsiteY141" fmla="*/ 202390 h 803310"/>
                <a:gd name="connsiteX142" fmla="*/ 713606 w 957464"/>
                <a:gd name="connsiteY142" fmla="*/ 203196 h 803310"/>
                <a:gd name="connsiteX143" fmla="*/ 714988 w 957464"/>
                <a:gd name="connsiteY143" fmla="*/ 203772 h 803310"/>
                <a:gd name="connsiteX144" fmla="*/ 721439 w 957464"/>
                <a:gd name="connsiteY144" fmla="*/ 205270 h 803310"/>
                <a:gd name="connsiteX145" fmla="*/ 727313 w 957464"/>
                <a:gd name="connsiteY145" fmla="*/ 205385 h 803310"/>
                <a:gd name="connsiteX146" fmla="*/ 732842 w 957464"/>
                <a:gd name="connsiteY146" fmla="*/ 204694 h 803310"/>
                <a:gd name="connsiteX147" fmla="*/ 738487 w 957464"/>
                <a:gd name="connsiteY147" fmla="*/ 203887 h 803310"/>
                <a:gd name="connsiteX148" fmla="*/ 742518 w 957464"/>
                <a:gd name="connsiteY148" fmla="*/ 203196 h 803310"/>
                <a:gd name="connsiteX149" fmla="*/ 746320 w 957464"/>
                <a:gd name="connsiteY149" fmla="*/ 202735 h 803310"/>
                <a:gd name="connsiteX150" fmla="*/ 749775 w 957464"/>
                <a:gd name="connsiteY150" fmla="*/ 202505 h 803310"/>
                <a:gd name="connsiteX151" fmla="*/ 752540 w 957464"/>
                <a:gd name="connsiteY151" fmla="*/ 202505 h 803310"/>
                <a:gd name="connsiteX152" fmla="*/ 752540 w 957464"/>
                <a:gd name="connsiteY152" fmla="*/ 204118 h 803310"/>
                <a:gd name="connsiteX153" fmla="*/ 752540 w 957464"/>
                <a:gd name="connsiteY153" fmla="*/ 209992 h 803310"/>
                <a:gd name="connsiteX154" fmla="*/ 751849 w 957464"/>
                <a:gd name="connsiteY154" fmla="*/ 216904 h 803310"/>
                <a:gd name="connsiteX155" fmla="*/ 751273 w 957464"/>
                <a:gd name="connsiteY155" fmla="*/ 224276 h 803310"/>
                <a:gd name="connsiteX156" fmla="*/ 751273 w 957464"/>
                <a:gd name="connsiteY156" fmla="*/ 231763 h 803310"/>
                <a:gd name="connsiteX157" fmla="*/ 751619 w 957464"/>
                <a:gd name="connsiteY157" fmla="*/ 234989 h 803310"/>
                <a:gd name="connsiteX158" fmla="*/ 752425 w 957464"/>
                <a:gd name="connsiteY158" fmla="*/ 238445 h 803310"/>
                <a:gd name="connsiteX159" fmla="*/ 754153 w 957464"/>
                <a:gd name="connsiteY159" fmla="*/ 242246 h 803310"/>
                <a:gd name="connsiteX160" fmla="*/ 757263 w 957464"/>
                <a:gd name="connsiteY160" fmla="*/ 246508 h 803310"/>
                <a:gd name="connsiteX161" fmla="*/ 759452 w 957464"/>
                <a:gd name="connsiteY161" fmla="*/ 248581 h 803310"/>
                <a:gd name="connsiteX162" fmla="*/ 761640 w 957464"/>
                <a:gd name="connsiteY162" fmla="*/ 250079 h 803310"/>
                <a:gd name="connsiteX163" fmla="*/ 763713 w 957464"/>
                <a:gd name="connsiteY163" fmla="*/ 251231 h 803310"/>
                <a:gd name="connsiteX164" fmla="*/ 765672 w 957464"/>
                <a:gd name="connsiteY164" fmla="*/ 252037 h 803310"/>
                <a:gd name="connsiteX165" fmla="*/ 775693 w 957464"/>
                <a:gd name="connsiteY165" fmla="*/ 254110 h 803310"/>
                <a:gd name="connsiteX166" fmla="*/ 786060 w 957464"/>
                <a:gd name="connsiteY166" fmla="*/ 254686 h 803310"/>
                <a:gd name="connsiteX167" fmla="*/ 795391 w 957464"/>
                <a:gd name="connsiteY167" fmla="*/ 254802 h 803310"/>
                <a:gd name="connsiteX168" fmla="*/ 802302 w 957464"/>
                <a:gd name="connsiteY168" fmla="*/ 255608 h 803310"/>
                <a:gd name="connsiteX169" fmla="*/ 801381 w 957464"/>
                <a:gd name="connsiteY169" fmla="*/ 261713 h 803310"/>
                <a:gd name="connsiteX170" fmla="*/ 799077 w 957464"/>
                <a:gd name="connsiteY170" fmla="*/ 269431 h 803310"/>
                <a:gd name="connsiteX171" fmla="*/ 796888 w 957464"/>
                <a:gd name="connsiteY171" fmla="*/ 278070 h 803310"/>
                <a:gd name="connsiteX172" fmla="*/ 796082 w 957464"/>
                <a:gd name="connsiteY172" fmla="*/ 286825 h 803310"/>
                <a:gd name="connsiteX173" fmla="*/ 796312 w 957464"/>
                <a:gd name="connsiteY173" fmla="*/ 288898 h 803310"/>
                <a:gd name="connsiteX174" fmla="*/ 796888 w 957464"/>
                <a:gd name="connsiteY174" fmla="*/ 291317 h 803310"/>
                <a:gd name="connsiteX175" fmla="*/ 798040 w 957464"/>
                <a:gd name="connsiteY175" fmla="*/ 293966 h 803310"/>
                <a:gd name="connsiteX176" fmla="*/ 799768 w 957464"/>
                <a:gd name="connsiteY176" fmla="*/ 296961 h 803310"/>
                <a:gd name="connsiteX177" fmla="*/ 802763 w 957464"/>
                <a:gd name="connsiteY177" fmla="*/ 300187 h 803310"/>
                <a:gd name="connsiteX178" fmla="*/ 805758 w 957464"/>
                <a:gd name="connsiteY178" fmla="*/ 302490 h 803310"/>
                <a:gd name="connsiteX179" fmla="*/ 808638 w 957464"/>
                <a:gd name="connsiteY179" fmla="*/ 304103 h 803310"/>
                <a:gd name="connsiteX180" fmla="*/ 811287 w 957464"/>
                <a:gd name="connsiteY180" fmla="*/ 305255 h 803310"/>
                <a:gd name="connsiteX181" fmla="*/ 820272 w 957464"/>
                <a:gd name="connsiteY181" fmla="*/ 307789 h 803310"/>
                <a:gd name="connsiteX182" fmla="*/ 829603 w 957464"/>
                <a:gd name="connsiteY182" fmla="*/ 309517 h 803310"/>
                <a:gd name="connsiteX183" fmla="*/ 838127 w 957464"/>
                <a:gd name="connsiteY183" fmla="*/ 311015 h 803310"/>
                <a:gd name="connsiteX184" fmla="*/ 844923 w 957464"/>
                <a:gd name="connsiteY184" fmla="*/ 312742 h 803310"/>
                <a:gd name="connsiteX185" fmla="*/ 844923 w 957464"/>
                <a:gd name="connsiteY185" fmla="*/ 312742 h 803310"/>
                <a:gd name="connsiteX186" fmla="*/ 845038 w 957464"/>
                <a:gd name="connsiteY186" fmla="*/ 312742 h 803310"/>
                <a:gd name="connsiteX187" fmla="*/ 845153 w 957464"/>
                <a:gd name="connsiteY187" fmla="*/ 312742 h 803310"/>
                <a:gd name="connsiteX188" fmla="*/ 845268 w 957464"/>
                <a:gd name="connsiteY188" fmla="*/ 312742 h 803310"/>
                <a:gd name="connsiteX189" fmla="*/ 844577 w 957464"/>
                <a:gd name="connsiteY189" fmla="*/ 315046 h 803310"/>
                <a:gd name="connsiteX190" fmla="*/ 843425 w 957464"/>
                <a:gd name="connsiteY190" fmla="*/ 317926 h 803310"/>
                <a:gd name="connsiteX191" fmla="*/ 841813 w 957464"/>
                <a:gd name="connsiteY191" fmla="*/ 321151 h 803310"/>
                <a:gd name="connsiteX192" fmla="*/ 839970 w 957464"/>
                <a:gd name="connsiteY192" fmla="*/ 324377 h 803310"/>
                <a:gd name="connsiteX193" fmla="*/ 837551 w 957464"/>
                <a:gd name="connsiteY193" fmla="*/ 328754 h 803310"/>
                <a:gd name="connsiteX194" fmla="*/ 835362 w 957464"/>
                <a:gd name="connsiteY194" fmla="*/ 333131 h 803310"/>
                <a:gd name="connsiteX195" fmla="*/ 833865 w 957464"/>
                <a:gd name="connsiteY195" fmla="*/ 337854 h 803310"/>
                <a:gd name="connsiteX196" fmla="*/ 833519 w 957464"/>
                <a:gd name="connsiteY196" fmla="*/ 343268 h 803310"/>
                <a:gd name="connsiteX197" fmla="*/ 833749 w 957464"/>
                <a:gd name="connsiteY197" fmla="*/ 344881 h 803310"/>
                <a:gd name="connsiteX198" fmla="*/ 834210 w 957464"/>
                <a:gd name="connsiteY198" fmla="*/ 346608 h 803310"/>
                <a:gd name="connsiteX199" fmla="*/ 834901 w 957464"/>
                <a:gd name="connsiteY199" fmla="*/ 348452 h 803310"/>
                <a:gd name="connsiteX200" fmla="*/ 835938 w 957464"/>
                <a:gd name="connsiteY200" fmla="*/ 350525 h 803310"/>
                <a:gd name="connsiteX201" fmla="*/ 840546 w 957464"/>
                <a:gd name="connsiteY201" fmla="*/ 355824 h 803310"/>
                <a:gd name="connsiteX202" fmla="*/ 845153 w 957464"/>
                <a:gd name="connsiteY202" fmla="*/ 359164 h 803310"/>
                <a:gd name="connsiteX203" fmla="*/ 849761 w 957464"/>
                <a:gd name="connsiteY203" fmla="*/ 361353 h 803310"/>
                <a:gd name="connsiteX204" fmla="*/ 854484 w 957464"/>
                <a:gd name="connsiteY204" fmla="*/ 363311 h 803310"/>
                <a:gd name="connsiteX205" fmla="*/ 860128 w 957464"/>
                <a:gd name="connsiteY205" fmla="*/ 365269 h 803310"/>
                <a:gd name="connsiteX206" fmla="*/ 865888 w 957464"/>
                <a:gd name="connsiteY206" fmla="*/ 367112 h 803310"/>
                <a:gd name="connsiteX207" fmla="*/ 871302 w 957464"/>
                <a:gd name="connsiteY207" fmla="*/ 368840 h 803310"/>
                <a:gd name="connsiteX208" fmla="*/ 876255 w 957464"/>
                <a:gd name="connsiteY208" fmla="*/ 370568 h 803310"/>
                <a:gd name="connsiteX209" fmla="*/ 877752 w 957464"/>
                <a:gd name="connsiteY209" fmla="*/ 371144 h 803310"/>
                <a:gd name="connsiteX210" fmla="*/ 879250 w 957464"/>
                <a:gd name="connsiteY210" fmla="*/ 371720 h 803310"/>
                <a:gd name="connsiteX211" fmla="*/ 880517 w 957464"/>
                <a:gd name="connsiteY211" fmla="*/ 372296 h 803310"/>
                <a:gd name="connsiteX212" fmla="*/ 881669 w 957464"/>
                <a:gd name="connsiteY212" fmla="*/ 372872 h 803310"/>
                <a:gd name="connsiteX213" fmla="*/ 880517 w 957464"/>
                <a:gd name="connsiteY213" fmla="*/ 374830 h 803310"/>
                <a:gd name="connsiteX214" fmla="*/ 878789 w 957464"/>
                <a:gd name="connsiteY214" fmla="*/ 377249 h 803310"/>
                <a:gd name="connsiteX215" fmla="*/ 876716 w 957464"/>
                <a:gd name="connsiteY215" fmla="*/ 380014 h 803310"/>
                <a:gd name="connsiteX216" fmla="*/ 874181 w 957464"/>
                <a:gd name="connsiteY216" fmla="*/ 382663 h 803310"/>
                <a:gd name="connsiteX217" fmla="*/ 870726 w 957464"/>
                <a:gd name="connsiteY217" fmla="*/ 386695 h 803310"/>
                <a:gd name="connsiteX218" fmla="*/ 867500 w 957464"/>
                <a:gd name="connsiteY218" fmla="*/ 390726 h 803310"/>
                <a:gd name="connsiteX219" fmla="*/ 865081 w 957464"/>
                <a:gd name="connsiteY219" fmla="*/ 395334 h 803310"/>
                <a:gd name="connsiteX220" fmla="*/ 864160 w 957464"/>
                <a:gd name="connsiteY220" fmla="*/ 401209 h 803310"/>
                <a:gd name="connsiteX221" fmla="*/ 864275 w 957464"/>
                <a:gd name="connsiteY221" fmla="*/ 402361 h 803310"/>
                <a:gd name="connsiteX222" fmla="*/ 864505 w 957464"/>
                <a:gd name="connsiteY222" fmla="*/ 403628 h 803310"/>
                <a:gd name="connsiteX223" fmla="*/ 864966 w 957464"/>
                <a:gd name="connsiteY223" fmla="*/ 404895 h 803310"/>
                <a:gd name="connsiteX224" fmla="*/ 865542 w 957464"/>
                <a:gd name="connsiteY224" fmla="*/ 406277 h 803310"/>
                <a:gd name="connsiteX225" fmla="*/ 868537 w 957464"/>
                <a:gd name="connsiteY225" fmla="*/ 411000 h 803310"/>
                <a:gd name="connsiteX226" fmla="*/ 871993 w 957464"/>
                <a:gd name="connsiteY226" fmla="*/ 414456 h 803310"/>
                <a:gd name="connsiteX227" fmla="*/ 875564 w 957464"/>
                <a:gd name="connsiteY227" fmla="*/ 417105 h 803310"/>
                <a:gd name="connsiteX228" fmla="*/ 879135 w 957464"/>
                <a:gd name="connsiteY228" fmla="*/ 419294 h 803310"/>
                <a:gd name="connsiteX229" fmla="*/ 884779 w 957464"/>
                <a:gd name="connsiteY229" fmla="*/ 422289 h 803310"/>
                <a:gd name="connsiteX230" fmla="*/ 890654 w 957464"/>
                <a:gd name="connsiteY230" fmla="*/ 425168 h 803310"/>
                <a:gd name="connsiteX231" fmla="*/ 896413 w 957464"/>
                <a:gd name="connsiteY231" fmla="*/ 427818 h 803310"/>
                <a:gd name="connsiteX232" fmla="*/ 901827 w 957464"/>
                <a:gd name="connsiteY232" fmla="*/ 430352 h 803310"/>
                <a:gd name="connsiteX233" fmla="*/ 904246 w 957464"/>
                <a:gd name="connsiteY233" fmla="*/ 431619 h 803310"/>
                <a:gd name="connsiteX234" fmla="*/ 906435 w 957464"/>
                <a:gd name="connsiteY234" fmla="*/ 432771 h 803310"/>
                <a:gd name="connsiteX235" fmla="*/ 908278 w 957464"/>
                <a:gd name="connsiteY235" fmla="*/ 433923 h 803310"/>
                <a:gd name="connsiteX236" fmla="*/ 909775 w 957464"/>
                <a:gd name="connsiteY236" fmla="*/ 434844 h 803310"/>
                <a:gd name="connsiteX237" fmla="*/ 908162 w 957464"/>
                <a:gd name="connsiteY237" fmla="*/ 436572 h 803310"/>
                <a:gd name="connsiteX238" fmla="*/ 905628 w 957464"/>
                <a:gd name="connsiteY238" fmla="*/ 438761 h 803310"/>
                <a:gd name="connsiteX239" fmla="*/ 902518 w 957464"/>
                <a:gd name="connsiteY239" fmla="*/ 441180 h 803310"/>
                <a:gd name="connsiteX240" fmla="*/ 899178 w 957464"/>
                <a:gd name="connsiteY240" fmla="*/ 443484 h 803310"/>
                <a:gd name="connsiteX241" fmla="*/ 894916 w 957464"/>
                <a:gd name="connsiteY241" fmla="*/ 446709 h 803310"/>
                <a:gd name="connsiteX242" fmla="*/ 890884 w 957464"/>
                <a:gd name="connsiteY242" fmla="*/ 449934 h 803310"/>
                <a:gd name="connsiteX243" fmla="*/ 887889 w 957464"/>
                <a:gd name="connsiteY243" fmla="*/ 454196 h 803310"/>
                <a:gd name="connsiteX244" fmla="*/ 886622 w 957464"/>
                <a:gd name="connsiteY244" fmla="*/ 460302 h 803310"/>
                <a:gd name="connsiteX245" fmla="*/ 887313 w 957464"/>
                <a:gd name="connsiteY245" fmla="*/ 463181 h 803310"/>
                <a:gd name="connsiteX246" fmla="*/ 889847 w 957464"/>
                <a:gd name="connsiteY246" fmla="*/ 468135 h 803310"/>
                <a:gd name="connsiteX247" fmla="*/ 892842 w 957464"/>
                <a:gd name="connsiteY247" fmla="*/ 471936 h 803310"/>
                <a:gd name="connsiteX248" fmla="*/ 896183 w 957464"/>
                <a:gd name="connsiteY248" fmla="*/ 475046 h 803310"/>
                <a:gd name="connsiteX249" fmla="*/ 899638 w 957464"/>
                <a:gd name="connsiteY249" fmla="*/ 477695 h 803310"/>
                <a:gd name="connsiteX250" fmla="*/ 905168 w 957464"/>
                <a:gd name="connsiteY250" fmla="*/ 481497 h 803310"/>
                <a:gd name="connsiteX251" fmla="*/ 910927 w 957464"/>
                <a:gd name="connsiteY251" fmla="*/ 485068 h 803310"/>
                <a:gd name="connsiteX252" fmla="*/ 916687 w 957464"/>
                <a:gd name="connsiteY252" fmla="*/ 488523 h 803310"/>
                <a:gd name="connsiteX253" fmla="*/ 921985 w 957464"/>
                <a:gd name="connsiteY253" fmla="*/ 491864 h 803310"/>
                <a:gd name="connsiteX254" fmla="*/ 924404 w 957464"/>
                <a:gd name="connsiteY254" fmla="*/ 493361 h 803310"/>
                <a:gd name="connsiteX255" fmla="*/ 926593 w 957464"/>
                <a:gd name="connsiteY255" fmla="*/ 494859 h 803310"/>
                <a:gd name="connsiteX256" fmla="*/ 928436 w 957464"/>
                <a:gd name="connsiteY256" fmla="*/ 496241 h 803310"/>
                <a:gd name="connsiteX257" fmla="*/ 929933 w 957464"/>
                <a:gd name="connsiteY257" fmla="*/ 497393 h 803310"/>
                <a:gd name="connsiteX258" fmla="*/ 927745 w 957464"/>
                <a:gd name="connsiteY258" fmla="*/ 498775 h 803310"/>
                <a:gd name="connsiteX259" fmla="*/ 924635 w 957464"/>
                <a:gd name="connsiteY259" fmla="*/ 500388 h 803310"/>
                <a:gd name="connsiteX260" fmla="*/ 920949 w 957464"/>
                <a:gd name="connsiteY260" fmla="*/ 502116 h 803310"/>
                <a:gd name="connsiteX261" fmla="*/ 916917 w 957464"/>
                <a:gd name="connsiteY261" fmla="*/ 503728 h 803310"/>
                <a:gd name="connsiteX262" fmla="*/ 911503 w 957464"/>
                <a:gd name="connsiteY262" fmla="*/ 506147 h 803310"/>
                <a:gd name="connsiteX263" fmla="*/ 906435 w 957464"/>
                <a:gd name="connsiteY263" fmla="*/ 508566 h 803310"/>
                <a:gd name="connsiteX264" fmla="*/ 902633 w 957464"/>
                <a:gd name="connsiteY264" fmla="*/ 512483 h 803310"/>
                <a:gd name="connsiteX265" fmla="*/ 900906 w 957464"/>
                <a:gd name="connsiteY265" fmla="*/ 519164 h 803310"/>
                <a:gd name="connsiteX266" fmla="*/ 901136 w 957464"/>
                <a:gd name="connsiteY266" fmla="*/ 520546 h 803310"/>
                <a:gd name="connsiteX267" fmla="*/ 902864 w 957464"/>
                <a:gd name="connsiteY267" fmla="*/ 525499 h 803310"/>
                <a:gd name="connsiteX268" fmla="*/ 905513 w 957464"/>
                <a:gd name="connsiteY268" fmla="*/ 529531 h 803310"/>
                <a:gd name="connsiteX269" fmla="*/ 908623 w 957464"/>
                <a:gd name="connsiteY269" fmla="*/ 532987 h 803310"/>
                <a:gd name="connsiteX270" fmla="*/ 911849 w 957464"/>
                <a:gd name="connsiteY270" fmla="*/ 536097 h 803310"/>
                <a:gd name="connsiteX271" fmla="*/ 917032 w 957464"/>
                <a:gd name="connsiteY271" fmla="*/ 540589 h 803310"/>
                <a:gd name="connsiteX272" fmla="*/ 922677 w 957464"/>
                <a:gd name="connsiteY272" fmla="*/ 544967 h 803310"/>
                <a:gd name="connsiteX273" fmla="*/ 928321 w 957464"/>
                <a:gd name="connsiteY273" fmla="*/ 549344 h 803310"/>
                <a:gd name="connsiteX274" fmla="*/ 933620 w 957464"/>
                <a:gd name="connsiteY274" fmla="*/ 553491 h 803310"/>
                <a:gd name="connsiteX275" fmla="*/ 935923 w 957464"/>
                <a:gd name="connsiteY275" fmla="*/ 555334 h 803310"/>
                <a:gd name="connsiteX276" fmla="*/ 937997 w 957464"/>
                <a:gd name="connsiteY276" fmla="*/ 557177 h 803310"/>
                <a:gd name="connsiteX277" fmla="*/ 939725 w 957464"/>
                <a:gd name="connsiteY277" fmla="*/ 558790 h 803310"/>
                <a:gd name="connsiteX278" fmla="*/ 941222 w 957464"/>
                <a:gd name="connsiteY278" fmla="*/ 560172 h 803310"/>
                <a:gd name="connsiteX279" fmla="*/ 938227 w 957464"/>
                <a:gd name="connsiteY279" fmla="*/ 561439 h 803310"/>
                <a:gd name="connsiteX280" fmla="*/ 933850 w 957464"/>
                <a:gd name="connsiteY280" fmla="*/ 562591 h 803310"/>
                <a:gd name="connsiteX281" fmla="*/ 928666 w 957464"/>
                <a:gd name="connsiteY281" fmla="*/ 563628 h 803310"/>
                <a:gd name="connsiteX282" fmla="*/ 923253 w 957464"/>
                <a:gd name="connsiteY282" fmla="*/ 564664 h 803310"/>
                <a:gd name="connsiteX283" fmla="*/ 918184 w 957464"/>
                <a:gd name="connsiteY283" fmla="*/ 566047 h 803310"/>
                <a:gd name="connsiteX284" fmla="*/ 913346 w 957464"/>
                <a:gd name="connsiteY284" fmla="*/ 567429 h 803310"/>
                <a:gd name="connsiteX285" fmla="*/ 909314 w 957464"/>
                <a:gd name="connsiteY285" fmla="*/ 570193 h 803310"/>
                <a:gd name="connsiteX286" fmla="*/ 906895 w 957464"/>
                <a:gd name="connsiteY286" fmla="*/ 575492 h 803310"/>
                <a:gd name="connsiteX287" fmla="*/ 906780 w 957464"/>
                <a:gd name="connsiteY287" fmla="*/ 575492 h 803310"/>
                <a:gd name="connsiteX288" fmla="*/ 906665 w 957464"/>
                <a:gd name="connsiteY288" fmla="*/ 576299 h 803310"/>
                <a:gd name="connsiteX289" fmla="*/ 906665 w 957464"/>
                <a:gd name="connsiteY289" fmla="*/ 576990 h 803310"/>
                <a:gd name="connsiteX290" fmla="*/ 906665 w 957464"/>
                <a:gd name="connsiteY290" fmla="*/ 577450 h 803310"/>
                <a:gd name="connsiteX291" fmla="*/ 906665 w 957464"/>
                <a:gd name="connsiteY291" fmla="*/ 577911 h 803310"/>
                <a:gd name="connsiteX292" fmla="*/ 908047 w 957464"/>
                <a:gd name="connsiteY292" fmla="*/ 582864 h 803310"/>
                <a:gd name="connsiteX293" fmla="*/ 910236 w 957464"/>
                <a:gd name="connsiteY293" fmla="*/ 587011 h 803310"/>
                <a:gd name="connsiteX294" fmla="*/ 913000 w 957464"/>
                <a:gd name="connsiteY294" fmla="*/ 590697 h 803310"/>
                <a:gd name="connsiteX295" fmla="*/ 915880 w 957464"/>
                <a:gd name="connsiteY295" fmla="*/ 594153 h 803310"/>
                <a:gd name="connsiteX296" fmla="*/ 920603 w 957464"/>
                <a:gd name="connsiteY296" fmla="*/ 599221 h 803310"/>
                <a:gd name="connsiteX297" fmla="*/ 925672 w 957464"/>
                <a:gd name="connsiteY297" fmla="*/ 604290 h 803310"/>
                <a:gd name="connsiteX298" fmla="*/ 930740 w 957464"/>
                <a:gd name="connsiteY298" fmla="*/ 609243 h 803310"/>
                <a:gd name="connsiteX299" fmla="*/ 935578 w 957464"/>
                <a:gd name="connsiteY299" fmla="*/ 613966 h 803310"/>
                <a:gd name="connsiteX300" fmla="*/ 937766 w 957464"/>
                <a:gd name="connsiteY300" fmla="*/ 616154 h 803310"/>
                <a:gd name="connsiteX301" fmla="*/ 939725 w 957464"/>
                <a:gd name="connsiteY301" fmla="*/ 618228 h 803310"/>
                <a:gd name="connsiteX302" fmla="*/ 941453 w 957464"/>
                <a:gd name="connsiteY302" fmla="*/ 620186 h 803310"/>
                <a:gd name="connsiteX303" fmla="*/ 942835 w 957464"/>
                <a:gd name="connsiteY303" fmla="*/ 621799 h 803310"/>
                <a:gd name="connsiteX304" fmla="*/ 943065 w 957464"/>
                <a:gd name="connsiteY304" fmla="*/ 622029 h 803310"/>
                <a:gd name="connsiteX305" fmla="*/ 939610 w 957464"/>
                <a:gd name="connsiteY305" fmla="*/ 622720 h 803310"/>
                <a:gd name="connsiteX306" fmla="*/ 934772 w 957464"/>
                <a:gd name="connsiteY306" fmla="*/ 623066 h 803310"/>
                <a:gd name="connsiteX307" fmla="*/ 929012 w 957464"/>
                <a:gd name="connsiteY307" fmla="*/ 623066 h 803310"/>
                <a:gd name="connsiteX308" fmla="*/ 923022 w 957464"/>
                <a:gd name="connsiteY308" fmla="*/ 623066 h 803310"/>
                <a:gd name="connsiteX309" fmla="*/ 917032 w 957464"/>
                <a:gd name="connsiteY309" fmla="*/ 623411 h 803310"/>
                <a:gd name="connsiteX310" fmla="*/ 911388 w 957464"/>
                <a:gd name="connsiteY310" fmla="*/ 623987 h 803310"/>
                <a:gd name="connsiteX311" fmla="*/ 906550 w 957464"/>
                <a:gd name="connsiteY311" fmla="*/ 626176 h 803310"/>
                <a:gd name="connsiteX312" fmla="*/ 903209 w 957464"/>
                <a:gd name="connsiteY312" fmla="*/ 631705 h 803310"/>
                <a:gd name="connsiteX313" fmla="*/ 903209 w 957464"/>
                <a:gd name="connsiteY313" fmla="*/ 634585 h 803310"/>
                <a:gd name="connsiteX314" fmla="*/ 905974 w 957464"/>
                <a:gd name="connsiteY314" fmla="*/ 642994 h 803310"/>
                <a:gd name="connsiteX315" fmla="*/ 910581 w 957464"/>
                <a:gd name="connsiteY315" fmla="*/ 650481 h 803310"/>
                <a:gd name="connsiteX316" fmla="*/ 916111 w 957464"/>
                <a:gd name="connsiteY316" fmla="*/ 657508 h 803310"/>
                <a:gd name="connsiteX317" fmla="*/ 921985 w 957464"/>
                <a:gd name="connsiteY317" fmla="*/ 664765 h 803310"/>
                <a:gd name="connsiteX318" fmla="*/ 924865 w 957464"/>
                <a:gd name="connsiteY318" fmla="*/ 668336 h 803310"/>
                <a:gd name="connsiteX319" fmla="*/ 927630 w 957464"/>
                <a:gd name="connsiteY319" fmla="*/ 671792 h 803310"/>
                <a:gd name="connsiteX320" fmla="*/ 930164 w 957464"/>
                <a:gd name="connsiteY320" fmla="*/ 674902 h 803310"/>
                <a:gd name="connsiteX321" fmla="*/ 932352 w 957464"/>
                <a:gd name="connsiteY321" fmla="*/ 677897 h 803310"/>
                <a:gd name="connsiteX322" fmla="*/ 934541 w 957464"/>
                <a:gd name="connsiteY322" fmla="*/ 681237 h 803310"/>
                <a:gd name="connsiteX323" fmla="*/ 930740 w 957464"/>
                <a:gd name="connsiteY323" fmla="*/ 681237 h 803310"/>
                <a:gd name="connsiteX324" fmla="*/ 925556 w 957464"/>
                <a:gd name="connsiteY324" fmla="*/ 680546 h 803310"/>
                <a:gd name="connsiteX325" fmla="*/ 919451 w 957464"/>
                <a:gd name="connsiteY325" fmla="*/ 679624 h 803310"/>
                <a:gd name="connsiteX326" fmla="*/ 913116 w 957464"/>
                <a:gd name="connsiteY326" fmla="*/ 678588 h 803310"/>
                <a:gd name="connsiteX327" fmla="*/ 906550 w 957464"/>
                <a:gd name="connsiteY327" fmla="*/ 677781 h 803310"/>
                <a:gd name="connsiteX328" fmla="*/ 900330 w 957464"/>
                <a:gd name="connsiteY328" fmla="*/ 677321 h 803310"/>
                <a:gd name="connsiteX329" fmla="*/ 894800 w 957464"/>
                <a:gd name="connsiteY329" fmla="*/ 678588 h 803310"/>
                <a:gd name="connsiteX330" fmla="*/ 890308 w 957464"/>
                <a:gd name="connsiteY330" fmla="*/ 683195 h 803310"/>
                <a:gd name="connsiteX331" fmla="*/ 889962 w 957464"/>
                <a:gd name="connsiteY331" fmla="*/ 684347 h 803310"/>
                <a:gd name="connsiteX332" fmla="*/ 889732 w 957464"/>
                <a:gd name="connsiteY332" fmla="*/ 685614 h 803310"/>
                <a:gd name="connsiteX333" fmla="*/ 889732 w 957464"/>
                <a:gd name="connsiteY333" fmla="*/ 686881 h 803310"/>
                <a:gd name="connsiteX334" fmla="*/ 889732 w 957464"/>
                <a:gd name="connsiteY334" fmla="*/ 688149 h 803310"/>
                <a:gd name="connsiteX335" fmla="*/ 891921 w 957464"/>
                <a:gd name="connsiteY335" fmla="*/ 696097 h 803310"/>
                <a:gd name="connsiteX336" fmla="*/ 895607 w 957464"/>
                <a:gd name="connsiteY336" fmla="*/ 703584 h 803310"/>
                <a:gd name="connsiteX337" fmla="*/ 900099 w 957464"/>
                <a:gd name="connsiteY337" fmla="*/ 710956 h 803310"/>
                <a:gd name="connsiteX338" fmla="*/ 904937 w 957464"/>
                <a:gd name="connsiteY338" fmla="*/ 718444 h 803310"/>
                <a:gd name="connsiteX339" fmla="*/ 908393 w 957464"/>
                <a:gd name="connsiteY339" fmla="*/ 723742 h 803310"/>
                <a:gd name="connsiteX340" fmla="*/ 911503 w 957464"/>
                <a:gd name="connsiteY340" fmla="*/ 728811 h 803310"/>
                <a:gd name="connsiteX341" fmla="*/ 914037 w 957464"/>
                <a:gd name="connsiteY341" fmla="*/ 733188 h 803310"/>
                <a:gd name="connsiteX342" fmla="*/ 915765 w 957464"/>
                <a:gd name="connsiteY342" fmla="*/ 736529 h 803310"/>
                <a:gd name="connsiteX343" fmla="*/ 914613 w 957464"/>
                <a:gd name="connsiteY343" fmla="*/ 736298 h 803310"/>
                <a:gd name="connsiteX344" fmla="*/ 913231 w 957464"/>
                <a:gd name="connsiteY344" fmla="*/ 736068 h 803310"/>
                <a:gd name="connsiteX345" fmla="*/ 911733 w 957464"/>
                <a:gd name="connsiteY345" fmla="*/ 735837 h 803310"/>
                <a:gd name="connsiteX346" fmla="*/ 910006 w 957464"/>
                <a:gd name="connsiteY346" fmla="*/ 735377 h 803310"/>
                <a:gd name="connsiteX347" fmla="*/ 904592 w 957464"/>
                <a:gd name="connsiteY347" fmla="*/ 733764 h 803310"/>
                <a:gd name="connsiteX348" fmla="*/ 898602 w 957464"/>
                <a:gd name="connsiteY348" fmla="*/ 731806 h 803310"/>
                <a:gd name="connsiteX349" fmla="*/ 892381 w 957464"/>
                <a:gd name="connsiteY349" fmla="*/ 729732 h 803310"/>
                <a:gd name="connsiteX350" fmla="*/ 886276 w 957464"/>
                <a:gd name="connsiteY350" fmla="*/ 728005 h 803310"/>
                <a:gd name="connsiteX351" fmla="*/ 881208 w 957464"/>
                <a:gd name="connsiteY351" fmla="*/ 726853 h 803310"/>
                <a:gd name="connsiteX352" fmla="*/ 876370 w 957464"/>
                <a:gd name="connsiteY352" fmla="*/ 726161 h 803310"/>
                <a:gd name="connsiteX353" fmla="*/ 871762 w 957464"/>
                <a:gd name="connsiteY353" fmla="*/ 726968 h 803310"/>
                <a:gd name="connsiteX354" fmla="*/ 867615 w 957464"/>
                <a:gd name="connsiteY354" fmla="*/ 730193 h 803310"/>
                <a:gd name="connsiteX355" fmla="*/ 866809 w 957464"/>
                <a:gd name="connsiteY355" fmla="*/ 731806 h 803310"/>
                <a:gd name="connsiteX356" fmla="*/ 866348 w 957464"/>
                <a:gd name="connsiteY356" fmla="*/ 733649 h 803310"/>
                <a:gd name="connsiteX357" fmla="*/ 866233 w 957464"/>
                <a:gd name="connsiteY357" fmla="*/ 735607 h 803310"/>
                <a:gd name="connsiteX358" fmla="*/ 866233 w 957464"/>
                <a:gd name="connsiteY358" fmla="*/ 737565 h 803310"/>
                <a:gd name="connsiteX359" fmla="*/ 867731 w 957464"/>
                <a:gd name="connsiteY359" fmla="*/ 744707 h 803310"/>
                <a:gd name="connsiteX360" fmla="*/ 870495 w 957464"/>
                <a:gd name="connsiteY360" fmla="*/ 751964 h 803310"/>
                <a:gd name="connsiteX361" fmla="*/ 873951 w 957464"/>
                <a:gd name="connsiteY361" fmla="*/ 759336 h 803310"/>
                <a:gd name="connsiteX362" fmla="*/ 877637 w 957464"/>
                <a:gd name="connsiteY362" fmla="*/ 766824 h 803310"/>
                <a:gd name="connsiteX363" fmla="*/ 880517 w 957464"/>
                <a:gd name="connsiteY363" fmla="*/ 772583 h 803310"/>
                <a:gd name="connsiteX364" fmla="*/ 883051 w 957464"/>
                <a:gd name="connsiteY364" fmla="*/ 777997 h 803310"/>
                <a:gd name="connsiteX365" fmla="*/ 885009 w 957464"/>
                <a:gd name="connsiteY365" fmla="*/ 782605 h 803310"/>
                <a:gd name="connsiteX366" fmla="*/ 886391 w 957464"/>
                <a:gd name="connsiteY366" fmla="*/ 786291 h 803310"/>
                <a:gd name="connsiteX367" fmla="*/ 886391 w 957464"/>
                <a:gd name="connsiteY367" fmla="*/ 786291 h 803310"/>
                <a:gd name="connsiteX368" fmla="*/ 886391 w 957464"/>
                <a:gd name="connsiteY368" fmla="*/ 786291 h 803310"/>
                <a:gd name="connsiteX369" fmla="*/ 886391 w 957464"/>
                <a:gd name="connsiteY369" fmla="*/ 786291 h 803310"/>
                <a:gd name="connsiteX370" fmla="*/ 886391 w 957464"/>
                <a:gd name="connsiteY370" fmla="*/ 786291 h 803310"/>
                <a:gd name="connsiteX371" fmla="*/ 878789 w 957464"/>
                <a:gd name="connsiteY371" fmla="*/ 783411 h 803310"/>
                <a:gd name="connsiteX372" fmla="*/ 868767 w 957464"/>
                <a:gd name="connsiteY372" fmla="*/ 778573 h 803310"/>
                <a:gd name="connsiteX373" fmla="*/ 857939 w 957464"/>
                <a:gd name="connsiteY373" fmla="*/ 773505 h 803310"/>
                <a:gd name="connsiteX374" fmla="*/ 847687 w 957464"/>
                <a:gd name="connsiteY374" fmla="*/ 769704 h 803310"/>
                <a:gd name="connsiteX375" fmla="*/ 844692 w 957464"/>
                <a:gd name="connsiteY375" fmla="*/ 769128 h 803310"/>
                <a:gd name="connsiteX376" fmla="*/ 841582 w 957464"/>
                <a:gd name="connsiteY376" fmla="*/ 769012 h 803310"/>
                <a:gd name="connsiteX377" fmla="*/ 838472 w 957464"/>
                <a:gd name="connsiteY377" fmla="*/ 769704 h 803310"/>
                <a:gd name="connsiteX378" fmla="*/ 835592 w 957464"/>
                <a:gd name="connsiteY378" fmla="*/ 771547 h 803310"/>
                <a:gd name="connsiteX379" fmla="*/ 847803 w 957464"/>
                <a:gd name="connsiteY379" fmla="*/ 785600 h 803310"/>
                <a:gd name="connsiteX380" fmla="*/ 846305 w 957464"/>
                <a:gd name="connsiteY380" fmla="*/ 783872 h 803310"/>
                <a:gd name="connsiteX381" fmla="*/ 847112 w 957464"/>
                <a:gd name="connsiteY381" fmla="*/ 786061 h 803310"/>
                <a:gd name="connsiteX382" fmla="*/ 849070 w 957464"/>
                <a:gd name="connsiteY382" fmla="*/ 786061 h 803310"/>
                <a:gd name="connsiteX383" fmla="*/ 849070 w 957464"/>
                <a:gd name="connsiteY383" fmla="*/ 786176 h 803310"/>
                <a:gd name="connsiteX384" fmla="*/ 849070 w 957464"/>
                <a:gd name="connsiteY384" fmla="*/ 786176 h 803310"/>
                <a:gd name="connsiteX385" fmla="*/ 849070 w 957464"/>
                <a:gd name="connsiteY385" fmla="*/ 786176 h 803310"/>
                <a:gd name="connsiteX386" fmla="*/ 849070 w 957464"/>
                <a:gd name="connsiteY386" fmla="*/ 786176 h 803310"/>
                <a:gd name="connsiteX387" fmla="*/ 856788 w 957464"/>
                <a:gd name="connsiteY387" fmla="*/ 789171 h 803310"/>
                <a:gd name="connsiteX388" fmla="*/ 866809 w 957464"/>
                <a:gd name="connsiteY388" fmla="*/ 794009 h 803310"/>
                <a:gd name="connsiteX389" fmla="*/ 877752 w 957464"/>
                <a:gd name="connsiteY389" fmla="*/ 799077 h 803310"/>
                <a:gd name="connsiteX390" fmla="*/ 888004 w 957464"/>
                <a:gd name="connsiteY390" fmla="*/ 802763 h 803310"/>
                <a:gd name="connsiteX391" fmla="*/ 890999 w 957464"/>
                <a:gd name="connsiteY391" fmla="*/ 803224 h 803310"/>
                <a:gd name="connsiteX392" fmla="*/ 894224 w 957464"/>
                <a:gd name="connsiteY392" fmla="*/ 803224 h 803310"/>
                <a:gd name="connsiteX393" fmla="*/ 897335 w 957464"/>
                <a:gd name="connsiteY393" fmla="*/ 802418 h 803310"/>
                <a:gd name="connsiteX394" fmla="*/ 900214 w 957464"/>
                <a:gd name="connsiteY394" fmla="*/ 800229 h 803310"/>
                <a:gd name="connsiteX395" fmla="*/ 901251 w 957464"/>
                <a:gd name="connsiteY395" fmla="*/ 798156 h 803310"/>
                <a:gd name="connsiteX396" fmla="*/ 901827 w 957464"/>
                <a:gd name="connsiteY396" fmla="*/ 795967 h 803310"/>
                <a:gd name="connsiteX397" fmla="*/ 902057 w 957464"/>
                <a:gd name="connsiteY397" fmla="*/ 793778 h 803310"/>
                <a:gd name="connsiteX398" fmla="*/ 902057 w 957464"/>
                <a:gd name="connsiteY398" fmla="*/ 791705 h 803310"/>
                <a:gd name="connsiteX399" fmla="*/ 900445 w 957464"/>
                <a:gd name="connsiteY399" fmla="*/ 784563 h 803310"/>
                <a:gd name="connsiteX400" fmla="*/ 897680 w 957464"/>
                <a:gd name="connsiteY400" fmla="*/ 777306 h 803310"/>
                <a:gd name="connsiteX401" fmla="*/ 894340 w 957464"/>
                <a:gd name="connsiteY401" fmla="*/ 770049 h 803310"/>
                <a:gd name="connsiteX402" fmla="*/ 890654 w 957464"/>
                <a:gd name="connsiteY402" fmla="*/ 762562 h 803310"/>
                <a:gd name="connsiteX403" fmla="*/ 887659 w 957464"/>
                <a:gd name="connsiteY403" fmla="*/ 756687 h 803310"/>
                <a:gd name="connsiteX404" fmla="*/ 885009 w 957464"/>
                <a:gd name="connsiteY404" fmla="*/ 751043 h 803310"/>
                <a:gd name="connsiteX405" fmla="*/ 882936 w 957464"/>
                <a:gd name="connsiteY405" fmla="*/ 746320 h 803310"/>
                <a:gd name="connsiteX406" fmla="*/ 881784 w 957464"/>
                <a:gd name="connsiteY406" fmla="*/ 742979 h 803310"/>
                <a:gd name="connsiteX407" fmla="*/ 882936 w 957464"/>
                <a:gd name="connsiteY407" fmla="*/ 742979 h 803310"/>
                <a:gd name="connsiteX408" fmla="*/ 884433 w 957464"/>
                <a:gd name="connsiteY408" fmla="*/ 743210 h 803310"/>
                <a:gd name="connsiteX409" fmla="*/ 886161 w 957464"/>
                <a:gd name="connsiteY409" fmla="*/ 743555 h 803310"/>
                <a:gd name="connsiteX410" fmla="*/ 888119 w 957464"/>
                <a:gd name="connsiteY410" fmla="*/ 744016 h 803310"/>
                <a:gd name="connsiteX411" fmla="*/ 893533 w 957464"/>
                <a:gd name="connsiteY411" fmla="*/ 745629 h 803310"/>
                <a:gd name="connsiteX412" fmla="*/ 899523 w 957464"/>
                <a:gd name="connsiteY412" fmla="*/ 747472 h 803310"/>
                <a:gd name="connsiteX413" fmla="*/ 905743 w 957464"/>
                <a:gd name="connsiteY413" fmla="*/ 749430 h 803310"/>
                <a:gd name="connsiteX414" fmla="*/ 911849 w 957464"/>
                <a:gd name="connsiteY414" fmla="*/ 751273 h 803310"/>
                <a:gd name="connsiteX415" fmla="*/ 916917 w 957464"/>
                <a:gd name="connsiteY415" fmla="*/ 752310 h 803310"/>
                <a:gd name="connsiteX416" fmla="*/ 921870 w 957464"/>
                <a:gd name="connsiteY416" fmla="*/ 752886 h 803310"/>
                <a:gd name="connsiteX417" fmla="*/ 926478 w 957464"/>
                <a:gd name="connsiteY417" fmla="*/ 751849 h 803310"/>
                <a:gd name="connsiteX418" fmla="*/ 930509 w 957464"/>
                <a:gd name="connsiteY418" fmla="*/ 748048 h 803310"/>
                <a:gd name="connsiteX419" fmla="*/ 930970 w 957464"/>
                <a:gd name="connsiteY419" fmla="*/ 746550 h 803310"/>
                <a:gd name="connsiteX420" fmla="*/ 931201 w 957464"/>
                <a:gd name="connsiteY420" fmla="*/ 745053 h 803310"/>
                <a:gd name="connsiteX421" fmla="*/ 931201 w 957464"/>
                <a:gd name="connsiteY421" fmla="*/ 743555 h 803310"/>
                <a:gd name="connsiteX422" fmla="*/ 931201 w 957464"/>
                <a:gd name="connsiteY422" fmla="*/ 742173 h 803310"/>
                <a:gd name="connsiteX423" fmla="*/ 928897 w 957464"/>
                <a:gd name="connsiteY423" fmla="*/ 734340 h 803310"/>
                <a:gd name="connsiteX424" fmla="*/ 925211 w 957464"/>
                <a:gd name="connsiteY424" fmla="*/ 726853 h 803310"/>
                <a:gd name="connsiteX425" fmla="*/ 920603 w 957464"/>
                <a:gd name="connsiteY425" fmla="*/ 719480 h 803310"/>
                <a:gd name="connsiteX426" fmla="*/ 915765 w 957464"/>
                <a:gd name="connsiteY426" fmla="*/ 711993 h 803310"/>
                <a:gd name="connsiteX427" fmla="*/ 912079 w 957464"/>
                <a:gd name="connsiteY427" fmla="*/ 706464 h 803310"/>
                <a:gd name="connsiteX428" fmla="*/ 908969 w 957464"/>
                <a:gd name="connsiteY428" fmla="*/ 701165 h 803310"/>
                <a:gd name="connsiteX429" fmla="*/ 906435 w 957464"/>
                <a:gd name="connsiteY429" fmla="*/ 696673 h 803310"/>
                <a:gd name="connsiteX430" fmla="*/ 904822 w 957464"/>
                <a:gd name="connsiteY430" fmla="*/ 693447 h 803310"/>
                <a:gd name="connsiteX431" fmla="*/ 908047 w 957464"/>
                <a:gd name="connsiteY431" fmla="*/ 693447 h 803310"/>
                <a:gd name="connsiteX432" fmla="*/ 912655 w 957464"/>
                <a:gd name="connsiteY432" fmla="*/ 693793 h 803310"/>
                <a:gd name="connsiteX433" fmla="*/ 918069 w 957464"/>
                <a:gd name="connsiteY433" fmla="*/ 694369 h 803310"/>
                <a:gd name="connsiteX434" fmla="*/ 923944 w 957464"/>
                <a:gd name="connsiteY434" fmla="*/ 695406 h 803310"/>
                <a:gd name="connsiteX435" fmla="*/ 927745 w 957464"/>
                <a:gd name="connsiteY435" fmla="*/ 695982 h 803310"/>
                <a:gd name="connsiteX436" fmla="*/ 931431 w 957464"/>
                <a:gd name="connsiteY436" fmla="*/ 696442 h 803310"/>
                <a:gd name="connsiteX437" fmla="*/ 935002 w 957464"/>
                <a:gd name="connsiteY437" fmla="*/ 696788 h 803310"/>
                <a:gd name="connsiteX438" fmla="*/ 938458 w 957464"/>
                <a:gd name="connsiteY438" fmla="*/ 696903 h 803310"/>
                <a:gd name="connsiteX439" fmla="*/ 941568 w 957464"/>
                <a:gd name="connsiteY439" fmla="*/ 696557 h 803310"/>
                <a:gd name="connsiteX440" fmla="*/ 944678 w 957464"/>
                <a:gd name="connsiteY440" fmla="*/ 695751 h 803310"/>
                <a:gd name="connsiteX441" fmla="*/ 947443 w 957464"/>
                <a:gd name="connsiteY441" fmla="*/ 693793 h 803310"/>
                <a:gd name="connsiteX442" fmla="*/ 949401 w 957464"/>
                <a:gd name="connsiteY442" fmla="*/ 690107 h 803310"/>
                <a:gd name="connsiteX443" fmla="*/ 949631 w 957464"/>
                <a:gd name="connsiteY443" fmla="*/ 689185 h 803310"/>
                <a:gd name="connsiteX444" fmla="*/ 949631 w 957464"/>
                <a:gd name="connsiteY444" fmla="*/ 688264 h 803310"/>
                <a:gd name="connsiteX445" fmla="*/ 949631 w 957464"/>
                <a:gd name="connsiteY445" fmla="*/ 687342 h 803310"/>
                <a:gd name="connsiteX446" fmla="*/ 949631 w 957464"/>
                <a:gd name="connsiteY446" fmla="*/ 686421 h 803310"/>
                <a:gd name="connsiteX447" fmla="*/ 946751 w 957464"/>
                <a:gd name="connsiteY447" fmla="*/ 677897 h 803310"/>
                <a:gd name="connsiteX448" fmla="*/ 942144 w 957464"/>
                <a:gd name="connsiteY448" fmla="*/ 670524 h 803310"/>
                <a:gd name="connsiteX449" fmla="*/ 936499 w 957464"/>
                <a:gd name="connsiteY449" fmla="*/ 663498 h 803310"/>
                <a:gd name="connsiteX450" fmla="*/ 930625 w 957464"/>
                <a:gd name="connsiteY450" fmla="*/ 656241 h 803310"/>
                <a:gd name="connsiteX451" fmla="*/ 927745 w 957464"/>
                <a:gd name="connsiteY451" fmla="*/ 652785 h 803310"/>
                <a:gd name="connsiteX452" fmla="*/ 924980 w 957464"/>
                <a:gd name="connsiteY452" fmla="*/ 649329 h 803310"/>
                <a:gd name="connsiteX453" fmla="*/ 922446 w 957464"/>
                <a:gd name="connsiteY453" fmla="*/ 646219 h 803310"/>
                <a:gd name="connsiteX454" fmla="*/ 920258 w 957464"/>
                <a:gd name="connsiteY454" fmla="*/ 643339 h 803310"/>
                <a:gd name="connsiteX455" fmla="*/ 917608 w 957464"/>
                <a:gd name="connsiteY455" fmla="*/ 639423 h 803310"/>
                <a:gd name="connsiteX456" fmla="*/ 920488 w 957464"/>
                <a:gd name="connsiteY456" fmla="*/ 638962 h 803310"/>
                <a:gd name="connsiteX457" fmla="*/ 924635 w 957464"/>
                <a:gd name="connsiteY457" fmla="*/ 638501 h 803310"/>
                <a:gd name="connsiteX458" fmla="*/ 929703 w 957464"/>
                <a:gd name="connsiteY458" fmla="*/ 638271 h 803310"/>
                <a:gd name="connsiteX459" fmla="*/ 935117 w 957464"/>
                <a:gd name="connsiteY459" fmla="*/ 638271 h 803310"/>
                <a:gd name="connsiteX460" fmla="*/ 938688 w 957464"/>
                <a:gd name="connsiteY460" fmla="*/ 638271 h 803310"/>
                <a:gd name="connsiteX461" fmla="*/ 942144 w 957464"/>
                <a:gd name="connsiteY461" fmla="*/ 638271 h 803310"/>
                <a:gd name="connsiteX462" fmla="*/ 945484 w 957464"/>
                <a:gd name="connsiteY462" fmla="*/ 638041 h 803310"/>
                <a:gd name="connsiteX463" fmla="*/ 948479 w 957464"/>
                <a:gd name="connsiteY463" fmla="*/ 637580 h 803310"/>
                <a:gd name="connsiteX464" fmla="*/ 951359 w 957464"/>
                <a:gd name="connsiteY464" fmla="*/ 636774 h 803310"/>
                <a:gd name="connsiteX465" fmla="*/ 954124 w 957464"/>
                <a:gd name="connsiteY465" fmla="*/ 635391 h 803310"/>
                <a:gd name="connsiteX466" fmla="*/ 956312 w 957464"/>
                <a:gd name="connsiteY466" fmla="*/ 632972 h 803310"/>
                <a:gd name="connsiteX467" fmla="*/ 957464 w 957464"/>
                <a:gd name="connsiteY467" fmla="*/ 628941 h 803310"/>
                <a:gd name="connsiteX468" fmla="*/ 957464 w 957464"/>
                <a:gd name="connsiteY468" fmla="*/ 627098 h 803310"/>
                <a:gd name="connsiteX469" fmla="*/ 955967 w 957464"/>
                <a:gd name="connsiteY469" fmla="*/ 622144 h 803310"/>
                <a:gd name="connsiteX470" fmla="*/ 953778 w 957464"/>
                <a:gd name="connsiteY470" fmla="*/ 617998 h 803310"/>
                <a:gd name="connsiteX471" fmla="*/ 951129 w 957464"/>
                <a:gd name="connsiteY471" fmla="*/ 614427 h 803310"/>
                <a:gd name="connsiteX472" fmla="*/ 948249 w 957464"/>
                <a:gd name="connsiteY472" fmla="*/ 611086 h 803310"/>
                <a:gd name="connsiteX473" fmla="*/ 943526 w 957464"/>
                <a:gd name="connsiteY473" fmla="*/ 606133 h 803310"/>
                <a:gd name="connsiteX474" fmla="*/ 938573 w 957464"/>
                <a:gd name="connsiteY474" fmla="*/ 601180 h 803310"/>
                <a:gd name="connsiteX475" fmla="*/ 933504 w 957464"/>
                <a:gd name="connsiteY475" fmla="*/ 596226 h 803310"/>
                <a:gd name="connsiteX476" fmla="*/ 928666 w 957464"/>
                <a:gd name="connsiteY476" fmla="*/ 591504 h 803310"/>
                <a:gd name="connsiteX477" fmla="*/ 926478 w 957464"/>
                <a:gd name="connsiteY477" fmla="*/ 589315 h 803310"/>
                <a:gd name="connsiteX478" fmla="*/ 924520 w 957464"/>
                <a:gd name="connsiteY478" fmla="*/ 587242 h 803310"/>
                <a:gd name="connsiteX479" fmla="*/ 922907 w 957464"/>
                <a:gd name="connsiteY479" fmla="*/ 585399 h 803310"/>
                <a:gd name="connsiteX480" fmla="*/ 921525 w 957464"/>
                <a:gd name="connsiteY480" fmla="*/ 583786 h 803310"/>
                <a:gd name="connsiteX481" fmla="*/ 920833 w 957464"/>
                <a:gd name="connsiteY481" fmla="*/ 582864 h 803310"/>
                <a:gd name="connsiteX482" fmla="*/ 921525 w 957464"/>
                <a:gd name="connsiteY482" fmla="*/ 582519 h 803310"/>
                <a:gd name="connsiteX483" fmla="*/ 922446 w 957464"/>
                <a:gd name="connsiteY483" fmla="*/ 582173 h 803310"/>
                <a:gd name="connsiteX484" fmla="*/ 923483 w 957464"/>
                <a:gd name="connsiteY484" fmla="*/ 581828 h 803310"/>
                <a:gd name="connsiteX485" fmla="*/ 924865 w 957464"/>
                <a:gd name="connsiteY485" fmla="*/ 581482 h 803310"/>
                <a:gd name="connsiteX486" fmla="*/ 928897 w 957464"/>
                <a:gd name="connsiteY486" fmla="*/ 580445 h 803310"/>
                <a:gd name="connsiteX487" fmla="*/ 933504 w 957464"/>
                <a:gd name="connsiteY487" fmla="*/ 579524 h 803310"/>
                <a:gd name="connsiteX488" fmla="*/ 938227 w 957464"/>
                <a:gd name="connsiteY488" fmla="*/ 578602 h 803310"/>
                <a:gd name="connsiteX489" fmla="*/ 942835 w 957464"/>
                <a:gd name="connsiteY489" fmla="*/ 577566 h 803310"/>
                <a:gd name="connsiteX490" fmla="*/ 947097 w 957464"/>
                <a:gd name="connsiteY490" fmla="*/ 576183 h 803310"/>
                <a:gd name="connsiteX491" fmla="*/ 951013 w 957464"/>
                <a:gd name="connsiteY491" fmla="*/ 574455 h 803310"/>
                <a:gd name="connsiteX492" fmla="*/ 954008 w 957464"/>
                <a:gd name="connsiteY492" fmla="*/ 571230 h 803310"/>
                <a:gd name="connsiteX493" fmla="*/ 955275 w 957464"/>
                <a:gd name="connsiteY493" fmla="*/ 565355 h 803310"/>
                <a:gd name="connsiteX494" fmla="*/ 953663 w 957464"/>
                <a:gd name="connsiteY494" fmla="*/ 560172 h 803310"/>
                <a:gd name="connsiteX495" fmla="*/ 951129 w 957464"/>
                <a:gd name="connsiteY495" fmla="*/ 555910 h 803310"/>
                <a:gd name="connsiteX496" fmla="*/ 948134 w 957464"/>
                <a:gd name="connsiteY496" fmla="*/ 552339 h 803310"/>
                <a:gd name="connsiteX497" fmla="*/ 945024 w 957464"/>
                <a:gd name="connsiteY497" fmla="*/ 549229 h 803310"/>
                <a:gd name="connsiteX498" fmla="*/ 939840 w 957464"/>
                <a:gd name="connsiteY498" fmla="*/ 544736 h 803310"/>
                <a:gd name="connsiteX499" fmla="*/ 934311 w 957464"/>
                <a:gd name="connsiteY499" fmla="*/ 540244 h 803310"/>
                <a:gd name="connsiteX500" fmla="*/ 928782 w 957464"/>
                <a:gd name="connsiteY500" fmla="*/ 535867 h 803310"/>
                <a:gd name="connsiteX501" fmla="*/ 923483 w 957464"/>
                <a:gd name="connsiteY501" fmla="*/ 531720 h 803310"/>
                <a:gd name="connsiteX502" fmla="*/ 921064 w 957464"/>
                <a:gd name="connsiteY502" fmla="*/ 529762 h 803310"/>
                <a:gd name="connsiteX503" fmla="*/ 918875 w 957464"/>
                <a:gd name="connsiteY503" fmla="*/ 527918 h 803310"/>
                <a:gd name="connsiteX504" fmla="*/ 917032 w 957464"/>
                <a:gd name="connsiteY504" fmla="*/ 526191 h 803310"/>
                <a:gd name="connsiteX505" fmla="*/ 915650 w 957464"/>
                <a:gd name="connsiteY505" fmla="*/ 524808 h 803310"/>
                <a:gd name="connsiteX506" fmla="*/ 914959 w 957464"/>
                <a:gd name="connsiteY506" fmla="*/ 524232 h 803310"/>
                <a:gd name="connsiteX507" fmla="*/ 917032 w 957464"/>
                <a:gd name="connsiteY507" fmla="*/ 522850 h 803310"/>
                <a:gd name="connsiteX508" fmla="*/ 920258 w 957464"/>
                <a:gd name="connsiteY508" fmla="*/ 521007 h 803310"/>
                <a:gd name="connsiteX509" fmla="*/ 924174 w 957464"/>
                <a:gd name="connsiteY509" fmla="*/ 519164 h 803310"/>
                <a:gd name="connsiteX510" fmla="*/ 928436 w 957464"/>
                <a:gd name="connsiteY510" fmla="*/ 517436 h 803310"/>
                <a:gd name="connsiteX511" fmla="*/ 933735 w 957464"/>
                <a:gd name="connsiteY511" fmla="*/ 515017 h 803310"/>
                <a:gd name="connsiteX512" fmla="*/ 938688 w 957464"/>
                <a:gd name="connsiteY512" fmla="*/ 512598 h 803310"/>
                <a:gd name="connsiteX513" fmla="*/ 942374 w 957464"/>
                <a:gd name="connsiteY513" fmla="*/ 508797 h 803310"/>
                <a:gd name="connsiteX514" fmla="*/ 943987 w 957464"/>
                <a:gd name="connsiteY514" fmla="*/ 502231 h 803310"/>
                <a:gd name="connsiteX515" fmla="*/ 943641 w 957464"/>
                <a:gd name="connsiteY515" fmla="*/ 500849 h 803310"/>
                <a:gd name="connsiteX516" fmla="*/ 941337 w 957464"/>
                <a:gd name="connsiteY516" fmla="*/ 495550 h 803310"/>
                <a:gd name="connsiteX517" fmla="*/ 938342 w 957464"/>
                <a:gd name="connsiteY517" fmla="*/ 491518 h 803310"/>
                <a:gd name="connsiteX518" fmla="*/ 935002 w 957464"/>
                <a:gd name="connsiteY518" fmla="*/ 488293 h 803310"/>
                <a:gd name="connsiteX519" fmla="*/ 931661 w 957464"/>
                <a:gd name="connsiteY519" fmla="*/ 485528 h 803310"/>
                <a:gd name="connsiteX520" fmla="*/ 926247 w 957464"/>
                <a:gd name="connsiteY520" fmla="*/ 481727 h 803310"/>
                <a:gd name="connsiteX521" fmla="*/ 920488 w 957464"/>
                <a:gd name="connsiteY521" fmla="*/ 478041 h 803310"/>
                <a:gd name="connsiteX522" fmla="*/ 914728 w 957464"/>
                <a:gd name="connsiteY522" fmla="*/ 474585 h 803310"/>
                <a:gd name="connsiteX523" fmla="*/ 909314 w 957464"/>
                <a:gd name="connsiteY523" fmla="*/ 471245 h 803310"/>
                <a:gd name="connsiteX524" fmla="*/ 906895 w 957464"/>
                <a:gd name="connsiteY524" fmla="*/ 469517 h 803310"/>
                <a:gd name="connsiteX525" fmla="*/ 904592 w 957464"/>
                <a:gd name="connsiteY525" fmla="*/ 468019 h 803310"/>
                <a:gd name="connsiteX526" fmla="*/ 902633 w 957464"/>
                <a:gd name="connsiteY526" fmla="*/ 466637 h 803310"/>
                <a:gd name="connsiteX527" fmla="*/ 901021 w 957464"/>
                <a:gd name="connsiteY527" fmla="*/ 465370 h 803310"/>
                <a:gd name="connsiteX528" fmla="*/ 900330 w 957464"/>
                <a:gd name="connsiteY528" fmla="*/ 464794 h 803310"/>
                <a:gd name="connsiteX529" fmla="*/ 901942 w 957464"/>
                <a:gd name="connsiteY529" fmla="*/ 462951 h 803310"/>
                <a:gd name="connsiteX530" fmla="*/ 904592 w 957464"/>
                <a:gd name="connsiteY530" fmla="*/ 460647 h 803310"/>
                <a:gd name="connsiteX531" fmla="*/ 907817 w 957464"/>
                <a:gd name="connsiteY531" fmla="*/ 458113 h 803310"/>
                <a:gd name="connsiteX532" fmla="*/ 911388 w 957464"/>
                <a:gd name="connsiteY532" fmla="*/ 455579 h 803310"/>
                <a:gd name="connsiteX533" fmla="*/ 915535 w 957464"/>
                <a:gd name="connsiteY533" fmla="*/ 452353 h 803310"/>
                <a:gd name="connsiteX534" fmla="*/ 919451 w 957464"/>
                <a:gd name="connsiteY534" fmla="*/ 449128 h 803310"/>
                <a:gd name="connsiteX535" fmla="*/ 922331 w 957464"/>
                <a:gd name="connsiteY535" fmla="*/ 444981 h 803310"/>
                <a:gd name="connsiteX536" fmla="*/ 923483 w 957464"/>
                <a:gd name="connsiteY536" fmla="*/ 438991 h 803310"/>
                <a:gd name="connsiteX537" fmla="*/ 922677 w 957464"/>
                <a:gd name="connsiteY537" fmla="*/ 435651 h 803310"/>
                <a:gd name="connsiteX538" fmla="*/ 919682 w 957464"/>
                <a:gd name="connsiteY538" fmla="*/ 430582 h 803310"/>
                <a:gd name="connsiteX539" fmla="*/ 916341 w 957464"/>
                <a:gd name="connsiteY539" fmla="*/ 426896 h 803310"/>
                <a:gd name="connsiteX540" fmla="*/ 912770 w 957464"/>
                <a:gd name="connsiteY540" fmla="*/ 424132 h 803310"/>
                <a:gd name="connsiteX541" fmla="*/ 909314 w 957464"/>
                <a:gd name="connsiteY541" fmla="*/ 421943 h 803310"/>
                <a:gd name="connsiteX542" fmla="*/ 903670 w 957464"/>
                <a:gd name="connsiteY542" fmla="*/ 418948 h 803310"/>
                <a:gd name="connsiteX543" fmla="*/ 897911 w 957464"/>
                <a:gd name="connsiteY543" fmla="*/ 416184 h 803310"/>
                <a:gd name="connsiteX544" fmla="*/ 892036 w 957464"/>
                <a:gd name="connsiteY544" fmla="*/ 413534 h 803310"/>
                <a:gd name="connsiteX545" fmla="*/ 886507 w 957464"/>
                <a:gd name="connsiteY545" fmla="*/ 410885 h 803310"/>
                <a:gd name="connsiteX546" fmla="*/ 883972 w 957464"/>
                <a:gd name="connsiteY546" fmla="*/ 409618 h 803310"/>
                <a:gd name="connsiteX547" fmla="*/ 881669 w 957464"/>
                <a:gd name="connsiteY547" fmla="*/ 408466 h 803310"/>
                <a:gd name="connsiteX548" fmla="*/ 879595 w 957464"/>
                <a:gd name="connsiteY548" fmla="*/ 407314 h 803310"/>
                <a:gd name="connsiteX549" fmla="*/ 877867 w 957464"/>
                <a:gd name="connsiteY549" fmla="*/ 406162 h 803310"/>
                <a:gd name="connsiteX550" fmla="*/ 877176 w 957464"/>
                <a:gd name="connsiteY550" fmla="*/ 405816 h 803310"/>
                <a:gd name="connsiteX551" fmla="*/ 878213 w 957464"/>
                <a:gd name="connsiteY551" fmla="*/ 403743 h 803310"/>
                <a:gd name="connsiteX552" fmla="*/ 879941 w 957464"/>
                <a:gd name="connsiteY552" fmla="*/ 401094 h 803310"/>
                <a:gd name="connsiteX553" fmla="*/ 882129 w 957464"/>
                <a:gd name="connsiteY553" fmla="*/ 398099 h 803310"/>
                <a:gd name="connsiteX554" fmla="*/ 884779 w 957464"/>
                <a:gd name="connsiteY554" fmla="*/ 395219 h 803310"/>
                <a:gd name="connsiteX555" fmla="*/ 888235 w 957464"/>
                <a:gd name="connsiteY555" fmla="*/ 391302 h 803310"/>
                <a:gd name="connsiteX556" fmla="*/ 891460 w 957464"/>
                <a:gd name="connsiteY556" fmla="*/ 387271 h 803310"/>
                <a:gd name="connsiteX557" fmla="*/ 893764 w 957464"/>
                <a:gd name="connsiteY557" fmla="*/ 382663 h 803310"/>
                <a:gd name="connsiteX558" fmla="*/ 894455 w 957464"/>
                <a:gd name="connsiteY558" fmla="*/ 376904 h 803310"/>
                <a:gd name="connsiteX559" fmla="*/ 894224 w 957464"/>
                <a:gd name="connsiteY559" fmla="*/ 375752 h 803310"/>
                <a:gd name="connsiteX560" fmla="*/ 893994 w 957464"/>
                <a:gd name="connsiteY560" fmla="*/ 374369 h 803310"/>
                <a:gd name="connsiteX561" fmla="*/ 893533 w 957464"/>
                <a:gd name="connsiteY561" fmla="*/ 372987 h 803310"/>
                <a:gd name="connsiteX562" fmla="*/ 892842 w 957464"/>
                <a:gd name="connsiteY562" fmla="*/ 371490 h 803310"/>
                <a:gd name="connsiteX563" fmla="*/ 888350 w 957464"/>
                <a:gd name="connsiteY563" fmla="*/ 365730 h 803310"/>
                <a:gd name="connsiteX564" fmla="*/ 883742 w 957464"/>
                <a:gd name="connsiteY564" fmla="*/ 362159 h 803310"/>
                <a:gd name="connsiteX565" fmla="*/ 879019 w 957464"/>
                <a:gd name="connsiteY565" fmla="*/ 359740 h 803310"/>
                <a:gd name="connsiteX566" fmla="*/ 874297 w 957464"/>
                <a:gd name="connsiteY566" fmla="*/ 357782 h 803310"/>
                <a:gd name="connsiteX567" fmla="*/ 869113 w 957464"/>
                <a:gd name="connsiteY567" fmla="*/ 355939 h 803310"/>
                <a:gd name="connsiteX568" fmla="*/ 863814 w 957464"/>
                <a:gd name="connsiteY568" fmla="*/ 354211 h 803310"/>
                <a:gd name="connsiteX569" fmla="*/ 858631 w 957464"/>
                <a:gd name="connsiteY569" fmla="*/ 352483 h 803310"/>
                <a:gd name="connsiteX570" fmla="*/ 853793 w 957464"/>
                <a:gd name="connsiteY570" fmla="*/ 350871 h 803310"/>
                <a:gd name="connsiteX571" fmla="*/ 853562 w 957464"/>
                <a:gd name="connsiteY571" fmla="*/ 350755 h 803310"/>
                <a:gd name="connsiteX572" fmla="*/ 853217 w 957464"/>
                <a:gd name="connsiteY572" fmla="*/ 350755 h 803310"/>
                <a:gd name="connsiteX573" fmla="*/ 852871 w 957464"/>
                <a:gd name="connsiteY573" fmla="*/ 350640 h 803310"/>
                <a:gd name="connsiteX574" fmla="*/ 852641 w 957464"/>
                <a:gd name="connsiteY574" fmla="*/ 350640 h 803310"/>
                <a:gd name="connsiteX575" fmla="*/ 850913 w 957464"/>
                <a:gd name="connsiteY575" fmla="*/ 349949 h 803310"/>
                <a:gd name="connsiteX576" fmla="*/ 849300 w 957464"/>
                <a:gd name="connsiteY576" fmla="*/ 349258 h 803310"/>
                <a:gd name="connsiteX577" fmla="*/ 847918 w 957464"/>
                <a:gd name="connsiteY577" fmla="*/ 348567 h 803310"/>
                <a:gd name="connsiteX578" fmla="*/ 846766 w 957464"/>
                <a:gd name="connsiteY578" fmla="*/ 347991 h 803310"/>
                <a:gd name="connsiteX579" fmla="*/ 847457 w 957464"/>
                <a:gd name="connsiteY579" fmla="*/ 345687 h 803310"/>
                <a:gd name="connsiteX580" fmla="*/ 848609 w 957464"/>
                <a:gd name="connsiteY580" fmla="*/ 342692 h 803310"/>
                <a:gd name="connsiteX581" fmla="*/ 850222 w 957464"/>
                <a:gd name="connsiteY581" fmla="*/ 339351 h 803310"/>
                <a:gd name="connsiteX582" fmla="*/ 852180 w 957464"/>
                <a:gd name="connsiteY582" fmla="*/ 335781 h 803310"/>
                <a:gd name="connsiteX583" fmla="*/ 854484 w 957464"/>
                <a:gd name="connsiteY583" fmla="*/ 331403 h 803310"/>
                <a:gd name="connsiteX584" fmla="*/ 856557 w 957464"/>
                <a:gd name="connsiteY584" fmla="*/ 327141 h 803310"/>
                <a:gd name="connsiteX585" fmla="*/ 857939 w 957464"/>
                <a:gd name="connsiteY585" fmla="*/ 322534 h 803310"/>
                <a:gd name="connsiteX586" fmla="*/ 858285 w 957464"/>
                <a:gd name="connsiteY586" fmla="*/ 317350 h 803310"/>
                <a:gd name="connsiteX587" fmla="*/ 858055 w 957464"/>
                <a:gd name="connsiteY587" fmla="*/ 315622 h 803310"/>
                <a:gd name="connsiteX588" fmla="*/ 857479 w 957464"/>
                <a:gd name="connsiteY588" fmla="*/ 313779 h 803310"/>
                <a:gd name="connsiteX589" fmla="*/ 856672 w 957464"/>
                <a:gd name="connsiteY589" fmla="*/ 311706 h 803310"/>
                <a:gd name="connsiteX590" fmla="*/ 855520 w 957464"/>
                <a:gd name="connsiteY590" fmla="*/ 309517 h 803310"/>
                <a:gd name="connsiteX591" fmla="*/ 852410 w 957464"/>
                <a:gd name="connsiteY591" fmla="*/ 306061 h 803310"/>
                <a:gd name="connsiteX592" fmla="*/ 849300 w 957464"/>
                <a:gd name="connsiteY592" fmla="*/ 303642 h 803310"/>
                <a:gd name="connsiteX593" fmla="*/ 846305 w 957464"/>
                <a:gd name="connsiteY593" fmla="*/ 301915 h 803310"/>
                <a:gd name="connsiteX594" fmla="*/ 843541 w 957464"/>
                <a:gd name="connsiteY594" fmla="*/ 300647 h 803310"/>
                <a:gd name="connsiteX595" fmla="*/ 834671 w 957464"/>
                <a:gd name="connsiteY595" fmla="*/ 298113 h 803310"/>
                <a:gd name="connsiteX596" fmla="*/ 825341 w 957464"/>
                <a:gd name="connsiteY596" fmla="*/ 296270 h 803310"/>
                <a:gd name="connsiteX597" fmla="*/ 816701 w 957464"/>
                <a:gd name="connsiteY597" fmla="*/ 294658 h 803310"/>
                <a:gd name="connsiteX598" fmla="*/ 809905 w 957464"/>
                <a:gd name="connsiteY598" fmla="*/ 292814 h 803310"/>
                <a:gd name="connsiteX599" fmla="*/ 809905 w 957464"/>
                <a:gd name="connsiteY599" fmla="*/ 292814 h 803310"/>
                <a:gd name="connsiteX600" fmla="*/ 809905 w 957464"/>
                <a:gd name="connsiteY600" fmla="*/ 292814 h 803310"/>
                <a:gd name="connsiteX601" fmla="*/ 809790 w 957464"/>
                <a:gd name="connsiteY601" fmla="*/ 292814 h 803310"/>
                <a:gd name="connsiteX602" fmla="*/ 809790 w 957464"/>
                <a:gd name="connsiteY602" fmla="*/ 292814 h 803310"/>
                <a:gd name="connsiteX603" fmla="*/ 809329 w 957464"/>
                <a:gd name="connsiteY603" fmla="*/ 292584 h 803310"/>
                <a:gd name="connsiteX604" fmla="*/ 810135 w 957464"/>
                <a:gd name="connsiteY604" fmla="*/ 286479 h 803310"/>
                <a:gd name="connsiteX605" fmla="*/ 812324 w 957464"/>
                <a:gd name="connsiteY605" fmla="*/ 278646 h 803310"/>
                <a:gd name="connsiteX606" fmla="*/ 814513 w 957464"/>
                <a:gd name="connsiteY606" fmla="*/ 269892 h 803310"/>
                <a:gd name="connsiteX607" fmla="*/ 815319 w 957464"/>
                <a:gd name="connsiteY607" fmla="*/ 261252 h 803310"/>
                <a:gd name="connsiteX608" fmla="*/ 814973 w 957464"/>
                <a:gd name="connsiteY608" fmla="*/ 258948 h 803310"/>
                <a:gd name="connsiteX609" fmla="*/ 814282 w 957464"/>
                <a:gd name="connsiteY609" fmla="*/ 256414 h 803310"/>
                <a:gd name="connsiteX610" fmla="*/ 812900 w 957464"/>
                <a:gd name="connsiteY610" fmla="*/ 253650 h 803310"/>
                <a:gd name="connsiteX611" fmla="*/ 810711 w 957464"/>
                <a:gd name="connsiteY611" fmla="*/ 250540 h 803310"/>
                <a:gd name="connsiteX612" fmla="*/ 808523 w 957464"/>
                <a:gd name="connsiteY612" fmla="*/ 248236 h 803310"/>
                <a:gd name="connsiteX613" fmla="*/ 806334 w 957464"/>
                <a:gd name="connsiteY613" fmla="*/ 246393 h 803310"/>
                <a:gd name="connsiteX614" fmla="*/ 804145 w 957464"/>
                <a:gd name="connsiteY614" fmla="*/ 245126 h 803310"/>
                <a:gd name="connsiteX615" fmla="*/ 802072 w 957464"/>
                <a:gd name="connsiteY615" fmla="*/ 244204 h 803310"/>
                <a:gd name="connsiteX616" fmla="*/ 792050 w 957464"/>
                <a:gd name="connsiteY616" fmla="*/ 242015 h 803310"/>
                <a:gd name="connsiteX617" fmla="*/ 781453 w 957464"/>
                <a:gd name="connsiteY617" fmla="*/ 241439 h 803310"/>
                <a:gd name="connsiteX618" fmla="*/ 772007 w 957464"/>
                <a:gd name="connsiteY618" fmla="*/ 241209 h 803310"/>
                <a:gd name="connsiteX619" fmla="*/ 765096 w 957464"/>
                <a:gd name="connsiteY619" fmla="*/ 240288 h 803310"/>
                <a:gd name="connsiteX620" fmla="*/ 764750 w 957464"/>
                <a:gd name="connsiteY620" fmla="*/ 238099 h 803310"/>
                <a:gd name="connsiteX621" fmla="*/ 764750 w 957464"/>
                <a:gd name="connsiteY621" fmla="*/ 232224 h 803310"/>
                <a:gd name="connsiteX622" fmla="*/ 765326 w 957464"/>
                <a:gd name="connsiteY622" fmla="*/ 225313 h 803310"/>
                <a:gd name="connsiteX623" fmla="*/ 765902 w 957464"/>
                <a:gd name="connsiteY623" fmla="*/ 218056 h 803310"/>
                <a:gd name="connsiteX624" fmla="*/ 765902 w 957464"/>
                <a:gd name="connsiteY624" fmla="*/ 210799 h 803310"/>
                <a:gd name="connsiteX625" fmla="*/ 765557 w 957464"/>
                <a:gd name="connsiteY625" fmla="*/ 207458 h 803310"/>
                <a:gd name="connsiteX626" fmla="*/ 764750 w 957464"/>
                <a:gd name="connsiteY626" fmla="*/ 203887 h 803310"/>
                <a:gd name="connsiteX627" fmla="*/ 762792 w 957464"/>
                <a:gd name="connsiteY627" fmla="*/ 199856 h 803310"/>
                <a:gd name="connsiteX628" fmla="*/ 759336 w 957464"/>
                <a:gd name="connsiteY628" fmla="*/ 195363 h 803310"/>
                <a:gd name="connsiteX629" fmla="*/ 757724 w 957464"/>
                <a:gd name="connsiteY629" fmla="*/ 193866 h 803310"/>
                <a:gd name="connsiteX630" fmla="*/ 755996 w 957464"/>
                <a:gd name="connsiteY630" fmla="*/ 192599 h 803310"/>
                <a:gd name="connsiteX631" fmla="*/ 754383 w 957464"/>
                <a:gd name="connsiteY631" fmla="*/ 191677 h 803310"/>
                <a:gd name="connsiteX632" fmla="*/ 752770 w 957464"/>
                <a:gd name="connsiteY632" fmla="*/ 190986 h 803310"/>
                <a:gd name="connsiteX633" fmla="*/ 746550 w 957464"/>
                <a:gd name="connsiteY633" fmla="*/ 189489 h 803310"/>
                <a:gd name="connsiteX634" fmla="*/ 740906 w 957464"/>
                <a:gd name="connsiteY634" fmla="*/ 189373 h 803310"/>
                <a:gd name="connsiteX635" fmla="*/ 735377 w 957464"/>
                <a:gd name="connsiteY635" fmla="*/ 189949 h 803310"/>
                <a:gd name="connsiteX636" fmla="*/ 729732 w 957464"/>
                <a:gd name="connsiteY636" fmla="*/ 190756 h 803310"/>
                <a:gd name="connsiteX637" fmla="*/ 725470 w 957464"/>
                <a:gd name="connsiteY637" fmla="*/ 191447 h 803310"/>
                <a:gd name="connsiteX638" fmla="*/ 721323 w 957464"/>
                <a:gd name="connsiteY638" fmla="*/ 191792 h 803310"/>
                <a:gd name="connsiteX639" fmla="*/ 717752 w 957464"/>
                <a:gd name="connsiteY639" fmla="*/ 192023 h 803310"/>
                <a:gd name="connsiteX640" fmla="*/ 715103 w 957464"/>
                <a:gd name="connsiteY640" fmla="*/ 192023 h 803310"/>
                <a:gd name="connsiteX641" fmla="*/ 714412 w 957464"/>
                <a:gd name="connsiteY641" fmla="*/ 188797 h 803310"/>
                <a:gd name="connsiteX642" fmla="*/ 713721 w 957464"/>
                <a:gd name="connsiteY642" fmla="*/ 184305 h 803310"/>
                <a:gd name="connsiteX643" fmla="*/ 713030 w 957464"/>
                <a:gd name="connsiteY643" fmla="*/ 179121 h 803310"/>
                <a:gd name="connsiteX644" fmla="*/ 712684 w 957464"/>
                <a:gd name="connsiteY644" fmla="*/ 173707 h 803310"/>
                <a:gd name="connsiteX645" fmla="*/ 712339 w 957464"/>
                <a:gd name="connsiteY645" fmla="*/ 170252 h 803310"/>
                <a:gd name="connsiteX646" fmla="*/ 711993 w 957464"/>
                <a:gd name="connsiteY646" fmla="*/ 166796 h 803310"/>
                <a:gd name="connsiteX647" fmla="*/ 711417 w 957464"/>
                <a:gd name="connsiteY647" fmla="*/ 163340 h 803310"/>
                <a:gd name="connsiteX648" fmla="*/ 710726 w 957464"/>
                <a:gd name="connsiteY648" fmla="*/ 159885 h 803310"/>
                <a:gd name="connsiteX649" fmla="*/ 709804 w 957464"/>
                <a:gd name="connsiteY649" fmla="*/ 156544 h 803310"/>
                <a:gd name="connsiteX650" fmla="*/ 708422 w 957464"/>
                <a:gd name="connsiteY650" fmla="*/ 152973 h 803310"/>
                <a:gd name="connsiteX651" fmla="*/ 706003 w 957464"/>
                <a:gd name="connsiteY651" fmla="*/ 149057 h 803310"/>
                <a:gd name="connsiteX652" fmla="*/ 702087 w 957464"/>
                <a:gd name="connsiteY652" fmla="*/ 145025 h 803310"/>
                <a:gd name="connsiteX653" fmla="*/ 700935 w 957464"/>
                <a:gd name="connsiteY653" fmla="*/ 144219 h 803310"/>
                <a:gd name="connsiteX654" fmla="*/ 699783 w 957464"/>
                <a:gd name="connsiteY654" fmla="*/ 143412 h 803310"/>
                <a:gd name="connsiteX655" fmla="*/ 698631 w 957464"/>
                <a:gd name="connsiteY655" fmla="*/ 142721 h 803310"/>
                <a:gd name="connsiteX656" fmla="*/ 697479 w 957464"/>
                <a:gd name="connsiteY656" fmla="*/ 142260 h 803310"/>
                <a:gd name="connsiteX657" fmla="*/ 690452 w 957464"/>
                <a:gd name="connsiteY657" fmla="*/ 140878 h 803310"/>
                <a:gd name="connsiteX658" fmla="*/ 684578 w 957464"/>
                <a:gd name="connsiteY658" fmla="*/ 141454 h 803310"/>
                <a:gd name="connsiteX659" fmla="*/ 679164 w 957464"/>
                <a:gd name="connsiteY659" fmla="*/ 143182 h 803310"/>
                <a:gd name="connsiteX660" fmla="*/ 673635 w 957464"/>
                <a:gd name="connsiteY660" fmla="*/ 145140 h 803310"/>
                <a:gd name="connsiteX661" fmla="*/ 670985 w 957464"/>
                <a:gd name="connsiteY661" fmla="*/ 146062 h 803310"/>
                <a:gd name="connsiteX662" fmla="*/ 668451 w 957464"/>
                <a:gd name="connsiteY662" fmla="*/ 146983 h 803310"/>
                <a:gd name="connsiteX663" fmla="*/ 666032 w 957464"/>
                <a:gd name="connsiteY663" fmla="*/ 147790 h 803310"/>
                <a:gd name="connsiteX664" fmla="*/ 663843 w 957464"/>
                <a:gd name="connsiteY664" fmla="*/ 148365 h 803310"/>
                <a:gd name="connsiteX665" fmla="*/ 662807 w 957464"/>
                <a:gd name="connsiteY665" fmla="*/ 148596 h 803310"/>
                <a:gd name="connsiteX666" fmla="*/ 661885 w 957464"/>
                <a:gd name="connsiteY666" fmla="*/ 148596 h 803310"/>
                <a:gd name="connsiteX667" fmla="*/ 660964 w 957464"/>
                <a:gd name="connsiteY667" fmla="*/ 148596 h 803310"/>
                <a:gd name="connsiteX668" fmla="*/ 660272 w 957464"/>
                <a:gd name="connsiteY668" fmla="*/ 148596 h 803310"/>
                <a:gd name="connsiteX669" fmla="*/ 659120 w 957464"/>
                <a:gd name="connsiteY669" fmla="*/ 145371 h 803310"/>
                <a:gd name="connsiteX670" fmla="*/ 657623 w 957464"/>
                <a:gd name="connsiteY670" fmla="*/ 140763 h 803310"/>
                <a:gd name="connsiteX671" fmla="*/ 656126 w 957464"/>
                <a:gd name="connsiteY671" fmla="*/ 135234 h 803310"/>
                <a:gd name="connsiteX672" fmla="*/ 654743 w 957464"/>
                <a:gd name="connsiteY672" fmla="*/ 129474 h 803310"/>
                <a:gd name="connsiteX673" fmla="*/ 653937 w 957464"/>
                <a:gd name="connsiteY673" fmla="*/ 125788 h 803310"/>
                <a:gd name="connsiteX674" fmla="*/ 653015 w 957464"/>
                <a:gd name="connsiteY674" fmla="*/ 122102 h 803310"/>
                <a:gd name="connsiteX675" fmla="*/ 651863 w 957464"/>
                <a:gd name="connsiteY675" fmla="*/ 118416 h 803310"/>
                <a:gd name="connsiteX676" fmla="*/ 650596 w 957464"/>
                <a:gd name="connsiteY676" fmla="*/ 114845 h 803310"/>
                <a:gd name="connsiteX677" fmla="*/ 649099 w 957464"/>
                <a:gd name="connsiteY677" fmla="*/ 111389 h 803310"/>
                <a:gd name="connsiteX678" fmla="*/ 647141 w 957464"/>
                <a:gd name="connsiteY678" fmla="*/ 107703 h 803310"/>
                <a:gd name="connsiteX679" fmla="*/ 644146 w 957464"/>
                <a:gd name="connsiteY679" fmla="*/ 104017 h 803310"/>
                <a:gd name="connsiteX680" fmla="*/ 639768 w 957464"/>
                <a:gd name="connsiteY680" fmla="*/ 100331 h 803310"/>
                <a:gd name="connsiteX681" fmla="*/ 636889 w 957464"/>
                <a:gd name="connsiteY681" fmla="*/ 98834 h 803310"/>
                <a:gd name="connsiteX682" fmla="*/ 629056 w 957464"/>
                <a:gd name="connsiteY682" fmla="*/ 97682 h 803310"/>
                <a:gd name="connsiteX683" fmla="*/ 623181 w 957464"/>
                <a:gd name="connsiteY683" fmla="*/ 99179 h 803310"/>
                <a:gd name="connsiteX684" fmla="*/ 618228 w 957464"/>
                <a:gd name="connsiteY684" fmla="*/ 102059 h 803310"/>
                <a:gd name="connsiteX685" fmla="*/ 613044 w 957464"/>
                <a:gd name="connsiteY685" fmla="*/ 105169 h 803310"/>
                <a:gd name="connsiteX686" fmla="*/ 610625 w 957464"/>
                <a:gd name="connsiteY686" fmla="*/ 106666 h 803310"/>
                <a:gd name="connsiteX687" fmla="*/ 608206 w 957464"/>
                <a:gd name="connsiteY687" fmla="*/ 108049 h 803310"/>
                <a:gd name="connsiteX688" fmla="*/ 605902 w 957464"/>
                <a:gd name="connsiteY688" fmla="*/ 109316 h 803310"/>
                <a:gd name="connsiteX689" fmla="*/ 603829 w 957464"/>
                <a:gd name="connsiteY689" fmla="*/ 110353 h 803310"/>
                <a:gd name="connsiteX690" fmla="*/ 601064 w 957464"/>
                <a:gd name="connsiteY690" fmla="*/ 111274 h 803310"/>
                <a:gd name="connsiteX691" fmla="*/ 599337 w 957464"/>
                <a:gd name="connsiteY691" fmla="*/ 107934 h 803310"/>
                <a:gd name="connsiteX692" fmla="*/ 597148 w 957464"/>
                <a:gd name="connsiteY692" fmla="*/ 103096 h 803310"/>
                <a:gd name="connsiteX693" fmla="*/ 594729 w 957464"/>
                <a:gd name="connsiteY693" fmla="*/ 97451 h 803310"/>
                <a:gd name="connsiteX694" fmla="*/ 592540 w 957464"/>
                <a:gd name="connsiteY694" fmla="*/ 91461 h 803310"/>
                <a:gd name="connsiteX695" fmla="*/ 591043 w 957464"/>
                <a:gd name="connsiteY695" fmla="*/ 87660 h 803310"/>
                <a:gd name="connsiteX696" fmla="*/ 589430 w 957464"/>
                <a:gd name="connsiteY696" fmla="*/ 83859 h 803310"/>
                <a:gd name="connsiteX697" fmla="*/ 587702 w 957464"/>
                <a:gd name="connsiteY697" fmla="*/ 80173 h 803310"/>
                <a:gd name="connsiteX698" fmla="*/ 585744 w 957464"/>
                <a:gd name="connsiteY698" fmla="*/ 76487 h 803310"/>
                <a:gd name="connsiteX699" fmla="*/ 583671 w 957464"/>
                <a:gd name="connsiteY699" fmla="*/ 72916 h 803310"/>
                <a:gd name="connsiteX700" fmla="*/ 581136 w 957464"/>
                <a:gd name="connsiteY700" fmla="*/ 69230 h 803310"/>
                <a:gd name="connsiteX701" fmla="*/ 577681 w 957464"/>
                <a:gd name="connsiteY701" fmla="*/ 65659 h 803310"/>
                <a:gd name="connsiteX702" fmla="*/ 572843 w 957464"/>
                <a:gd name="connsiteY702" fmla="*/ 62318 h 803310"/>
                <a:gd name="connsiteX703" fmla="*/ 572728 w 957464"/>
                <a:gd name="connsiteY703" fmla="*/ 62318 h 803310"/>
                <a:gd name="connsiteX704" fmla="*/ 571921 w 957464"/>
                <a:gd name="connsiteY704" fmla="*/ 61857 h 803310"/>
                <a:gd name="connsiteX705" fmla="*/ 566853 w 957464"/>
                <a:gd name="connsiteY705" fmla="*/ 60590 h 803310"/>
                <a:gd name="connsiteX706" fmla="*/ 563052 w 957464"/>
                <a:gd name="connsiteY706" fmla="*/ 60821 h 803310"/>
                <a:gd name="connsiteX707" fmla="*/ 560172 w 957464"/>
                <a:gd name="connsiteY707" fmla="*/ 61973 h 803310"/>
                <a:gd name="connsiteX708" fmla="*/ 557638 w 957464"/>
                <a:gd name="connsiteY708" fmla="*/ 63470 h 803310"/>
                <a:gd name="connsiteX709" fmla="*/ 554182 w 957464"/>
                <a:gd name="connsiteY709" fmla="*/ 66350 h 803310"/>
                <a:gd name="connsiteX710" fmla="*/ 550841 w 957464"/>
                <a:gd name="connsiteY710" fmla="*/ 69690 h 803310"/>
                <a:gd name="connsiteX711" fmla="*/ 547616 w 957464"/>
                <a:gd name="connsiteY711" fmla="*/ 73146 h 803310"/>
                <a:gd name="connsiteX712" fmla="*/ 544506 w 957464"/>
                <a:gd name="connsiteY712" fmla="*/ 76371 h 803310"/>
                <a:gd name="connsiteX713" fmla="*/ 543008 w 957464"/>
                <a:gd name="connsiteY713" fmla="*/ 77754 h 803310"/>
                <a:gd name="connsiteX714" fmla="*/ 541511 w 957464"/>
                <a:gd name="connsiteY714" fmla="*/ 79021 h 803310"/>
                <a:gd name="connsiteX715" fmla="*/ 540129 w 957464"/>
                <a:gd name="connsiteY715" fmla="*/ 79942 h 803310"/>
                <a:gd name="connsiteX716" fmla="*/ 538977 w 957464"/>
                <a:gd name="connsiteY716" fmla="*/ 80633 h 803310"/>
                <a:gd name="connsiteX717" fmla="*/ 538401 w 957464"/>
                <a:gd name="connsiteY717" fmla="*/ 80864 h 803310"/>
                <a:gd name="connsiteX718" fmla="*/ 536212 w 957464"/>
                <a:gd name="connsiteY718" fmla="*/ 77638 h 803310"/>
                <a:gd name="connsiteX719" fmla="*/ 533217 w 957464"/>
                <a:gd name="connsiteY719" fmla="*/ 72916 h 803310"/>
                <a:gd name="connsiteX720" fmla="*/ 529877 w 957464"/>
                <a:gd name="connsiteY720" fmla="*/ 67271 h 803310"/>
                <a:gd name="connsiteX721" fmla="*/ 526651 w 957464"/>
                <a:gd name="connsiteY721" fmla="*/ 61281 h 803310"/>
                <a:gd name="connsiteX722" fmla="*/ 524578 w 957464"/>
                <a:gd name="connsiteY722" fmla="*/ 57365 h 803310"/>
                <a:gd name="connsiteX723" fmla="*/ 522504 w 957464"/>
                <a:gd name="connsiteY723" fmla="*/ 53564 h 803310"/>
                <a:gd name="connsiteX724" fmla="*/ 520316 w 957464"/>
                <a:gd name="connsiteY724" fmla="*/ 49762 h 803310"/>
                <a:gd name="connsiteX725" fmla="*/ 518012 w 957464"/>
                <a:gd name="connsiteY725" fmla="*/ 46191 h 803310"/>
                <a:gd name="connsiteX726" fmla="*/ 515363 w 957464"/>
                <a:gd name="connsiteY726" fmla="*/ 42621 h 803310"/>
                <a:gd name="connsiteX727" fmla="*/ 512368 w 957464"/>
                <a:gd name="connsiteY727" fmla="*/ 39165 h 803310"/>
                <a:gd name="connsiteX728" fmla="*/ 508682 w 957464"/>
                <a:gd name="connsiteY728" fmla="*/ 35824 h 803310"/>
                <a:gd name="connsiteX729" fmla="*/ 503728 w 957464"/>
                <a:gd name="connsiteY729" fmla="*/ 32829 h 803310"/>
                <a:gd name="connsiteX730" fmla="*/ 503498 w 957464"/>
                <a:gd name="connsiteY730" fmla="*/ 32829 h 803310"/>
                <a:gd name="connsiteX731" fmla="*/ 503268 w 957464"/>
                <a:gd name="connsiteY731" fmla="*/ 32599 h 803310"/>
                <a:gd name="connsiteX732" fmla="*/ 502807 w 957464"/>
                <a:gd name="connsiteY732" fmla="*/ 32369 h 803310"/>
                <a:gd name="connsiteX733" fmla="*/ 502116 w 957464"/>
                <a:gd name="connsiteY733" fmla="*/ 32138 h 803310"/>
                <a:gd name="connsiteX734" fmla="*/ 501079 w 957464"/>
                <a:gd name="connsiteY734" fmla="*/ 31908 h 803310"/>
                <a:gd name="connsiteX735" fmla="*/ 496587 w 957464"/>
                <a:gd name="connsiteY735" fmla="*/ 31447 h 803310"/>
                <a:gd name="connsiteX736" fmla="*/ 493361 w 957464"/>
                <a:gd name="connsiteY736" fmla="*/ 32369 h 803310"/>
                <a:gd name="connsiteX737" fmla="*/ 490942 w 957464"/>
                <a:gd name="connsiteY737" fmla="*/ 33981 h 803310"/>
                <a:gd name="connsiteX738" fmla="*/ 488869 w 957464"/>
                <a:gd name="connsiteY738" fmla="*/ 35824 h 803310"/>
                <a:gd name="connsiteX739" fmla="*/ 485989 w 957464"/>
                <a:gd name="connsiteY739" fmla="*/ 39510 h 803310"/>
                <a:gd name="connsiteX740" fmla="*/ 483340 w 957464"/>
                <a:gd name="connsiteY740" fmla="*/ 43657 h 803310"/>
                <a:gd name="connsiteX741" fmla="*/ 480921 w 957464"/>
                <a:gd name="connsiteY741" fmla="*/ 47919 h 803310"/>
                <a:gd name="connsiteX742" fmla="*/ 478617 w 957464"/>
                <a:gd name="connsiteY742" fmla="*/ 51951 h 803310"/>
                <a:gd name="connsiteX743" fmla="*/ 477465 w 957464"/>
                <a:gd name="connsiteY743" fmla="*/ 53794 h 803310"/>
                <a:gd name="connsiteX744" fmla="*/ 476313 w 957464"/>
                <a:gd name="connsiteY744" fmla="*/ 55407 h 803310"/>
                <a:gd name="connsiteX745" fmla="*/ 475161 w 957464"/>
                <a:gd name="connsiteY745" fmla="*/ 56789 h 803310"/>
                <a:gd name="connsiteX746" fmla="*/ 474240 w 957464"/>
                <a:gd name="connsiteY746" fmla="*/ 57710 h 803310"/>
                <a:gd name="connsiteX747" fmla="*/ 473779 w 957464"/>
                <a:gd name="connsiteY747" fmla="*/ 58171 h 803310"/>
                <a:gd name="connsiteX748" fmla="*/ 471014 w 957464"/>
                <a:gd name="connsiteY748" fmla="*/ 55061 h 803310"/>
                <a:gd name="connsiteX749" fmla="*/ 467443 w 957464"/>
                <a:gd name="connsiteY749" fmla="*/ 50338 h 803310"/>
                <a:gd name="connsiteX750" fmla="*/ 463296 w 957464"/>
                <a:gd name="connsiteY750" fmla="*/ 44809 h 803310"/>
                <a:gd name="connsiteX751" fmla="*/ 459150 w 957464"/>
                <a:gd name="connsiteY751" fmla="*/ 38819 h 803310"/>
                <a:gd name="connsiteX752" fmla="*/ 453851 w 957464"/>
                <a:gd name="connsiteY752" fmla="*/ 31447 h 803310"/>
                <a:gd name="connsiteX753" fmla="*/ 448552 w 957464"/>
                <a:gd name="connsiteY753" fmla="*/ 24420 h 803310"/>
                <a:gd name="connsiteX754" fmla="*/ 442332 w 957464"/>
                <a:gd name="connsiteY754" fmla="*/ 17970 h 803310"/>
                <a:gd name="connsiteX755" fmla="*/ 434038 w 957464"/>
                <a:gd name="connsiteY755" fmla="*/ 12325 h 803310"/>
                <a:gd name="connsiteX756" fmla="*/ 430122 w 957464"/>
                <a:gd name="connsiteY756" fmla="*/ 11173 h 803310"/>
                <a:gd name="connsiteX757" fmla="*/ 425284 w 957464"/>
                <a:gd name="connsiteY757" fmla="*/ 11173 h 803310"/>
                <a:gd name="connsiteX758" fmla="*/ 422058 w 957464"/>
                <a:gd name="connsiteY758" fmla="*/ 12556 h 803310"/>
                <a:gd name="connsiteX759" fmla="*/ 419870 w 957464"/>
                <a:gd name="connsiteY759" fmla="*/ 14860 h 803310"/>
                <a:gd name="connsiteX760" fmla="*/ 418142 w 957464"/>
                <a:gd name="connsiteY760" fmla="*/ 17394 h 803310"/>
                <a:gd name="connsiteX761" fmla="*/ 416184 w 957464"/>
                <a:gd name="connsiteY761" fmla="*/ 21886 h 803310"/>
                <a:gd name="connsiteX762" fmla="*/ 414456 w 957464"/>
                <a:gd name="connsiteY762" fmla="*/ 26839 h 803310"/>
                <a:gd name="connsiteX763" fmla="*/ 412958 w 957464"/>
                <a:gd name="connsiteY763" fmla="*/ 31908 h 803310"/>
                <a:gd name="connsiteX764" fmla="*/ 411461 w 957464"/>
                <a:gd name="connsiteY764" fmla="*/ 36631 h 803310"/>
                <a:gd name="connsiteX765" fmla="*/ 410654 w 957464"/>
                <a:gd name="connsiteY765" fmla="*/ 38819 h 803310"/>
                <a:gd name="connsiteX766" fmla="*/ 409848 w 957464"/>
                <a:gd name="connsiteY766" fmla="*/ 40777 h 803310"/>
                <a:gd name="connsiteX767" fmla="*/ 409042 w 957464"/>
                <a:gd name="connsiteY767" fmla="*/ 42390 h 803310"/>
                <a:gd name="connsiteX768" fmla="*/ 408235 w 957464"/>
                <a:gd name="connsiteY768" fmla="*/ 43657 h 803310"/>
                <a:gd name="connsiteX769" fmla="*/ 407890 w 957464"/>
                <a:gd name="connsiteY769" fmla="*/ 44118 h 803310"/>
                <a:gd name="connsiteX770" fmla="*/ 404204 w 957464"/>
                <a:gd name="connsiteY770" fmla="*/ 40777 h 803310"/>
                <a:gd name="connsiteX771" fmla="*/ 399481 w 957464"/>
                <a:gd name="connsiteY771" fmla="*/ 35824 h 803310"/>
                <a:gd name="connsiteX772" fmla="*/ 394182 w 957464"/>
                <a:gd name="connsiteY772" fmla="*/ 29950 h 803310"/>
                <a:gd name="connsiteX773" fmla="*/ 388653 w 957464"/>
                <a:gd name="connsiteY773" fmla="*/ 23729 h 803310"/>
                <a:gd name="connsiteX774" fmla="*/ 382893 w 957464"/>
                <a:gd name="connsiteY774" fmla="*/ 17394 h 803310"/>
                <a:gd name="connsiteX775" fmla="*/ 377249 w 957464"/>
                <a:gd name="connsiteY775" fmla="*/ 11404 h 803310"/>
                <a:gd name="connsiteX776" fmla="*/ 371029 w 957464"/>
                <a:gd name="connsiteY776" fmla="*/ 5990 h 803310"/>
                <a:gd name="connsiteX777" fmla="*/ 363426 w 957464"/>
                <a:gd name="connsiteY777" fmla="*/ 1382 h 803310"/>
                <a:gd name="connsiteX778" fmla="*/ 362159 w 957464"/>
                <a:gd name="connsiteY778" fmla="*/ 922 h 803310"/>
                <a:gd name="connsiteX779" fmla="*/ 360662 w 957464"/>
                <a:gd name="connsiteY779" fmla="*/ 461 h 803310"/>
                <a:gd name="connsiteX780" fmla="*/ 359164 w 957464"/>
                <a:gd name="connsiteY780" fmla="*/ 115 h 803310"/>
                <a:gd name="connsiteX781" fmla="*/ 357552 w 957464"/>
                <a:gd name="connsiteY781" fmla="*/ 0 h 803310"/>
                <a:gd name="connsiteX782" fmla="*/ 352714 w 957464"/>
                <a:gd name="connsiteY782" fmla="*/ 806 h 803310"/>
                <a:gd name="connsiteX783" fmla="*/ 349834 w 957464"/>
                <a:gd name="connsiteY783" fmla="*/ 2995 h 803310"/>
                <a:gd name="connsiteX784" fmla="*/ 348221 w 957464"/>
                <a:gd name="connsiteY784" fmla="*/ 5875 h 803310"/>
                <a:gd name="connsiteX785" fmla="*/ 347069 w 957464"/>
                <a:gd name="connsiteY785" fmla="*/ 8985 h 803310"/>
                <a:gd name="connsiteX786" fmla="*/ 346032 w 957464"/>
                <a:gd name="connsiteY786" fmla="*/ 14168 h 803310"/>
                <a:gd name="connsiteX787" fmla="*/ 345457 w 957464"/>
                <a:gd name="connsiteY787" fmla="*/ 19928 h 803310"/>
                <a:gd name="connsiteX788" fmla="*/ 345111 w 957464"/>
                <a:gd name="connsiteY788" fmla="*/ 25688 h 803310"/>
                <a:gd name="connsiteX789" fmla="*/ 344650 w 957464"/>
                <a:gd name="connsiteY789" fmla="*/ 31217 h 803310"/>
                <a:gd name="connsiteX790" fmla="*/ 344305 w 957464"/>
                <a:gd name="connsiteY790" fmla="*/ 33636 h 803310"/>
                <a:gd name="connsiteX791" fmla="*/ 343959 w 957464"/>
                <a:gd name="connsiteY791" fmla="*/ 35939 h 803310"/>
                <a:gd name="connsiteX792" fmla="*/ 343498 w 957464"/>
                <a:gd name="connsiteY792" fmla="*/ 37898 h 803310"/>
                <a:gd name="connsiteX793" fmla="*/ 343038 w 957464"/>
                <a:gd name="connsiteY793" fmla="*/ 39395 h 803310"/>
                <a:gd name="connsiteX794" fmla="*/ 342807 w 957464"/>
                <a:gd name="connsiteY794" fmla="*/ 40086 h 803310"/>
                <a:gd name="connsiteX795" fmla="*/ 339467 w 957464"/>
                <a:gd name="connsiteY795" fmla="*/ 37552 h 803310"/>
                <a:gd name="connsiteX796" fmla="*/ 334974 w 957464"/>
                <a:gd name="connsiteY796" fmla="*/ 33866 h 803310"/>
                <a:gd name="connsiteX797" fmla="*/ 329791 w 957464"/>
                <a:gd name="connsiteY797" fmla="*/ 29374 h 803310"/>
                <a:gd name="connsiteX798" fmla="*/ 324492 w 957464"/>
                <a:gd name="connsiteY798" fmla="*/ 24420 h 803310"/>
                <a:gd name="connsiteX799" fmla="*/ 317350 w 957464"/>
                <a:gd name="connsiteY799" fmla="*/ 17970 h 803310"/>
                <a:gd name="connsiteX800" fmla="*/ 310323 w 957464"/>
                <a:gd name="connsiteY800" fmla="*/ 11865 h 803310"/>
                <a:gd name="connsiteX801" fmla="*/ 302951 w 957464"/>
                <a:gd name="connsiteY801" fmla="*/ 6335 h 803310"/>
                <a:gd name="connsiteX802" fmla="*/ 294888 w 957464"/>
                <a:gd name="connsiteY802" fmla="*/ 1843 h 803310"/>
                <a:gd name="connsiteX803" fmla="*/ 292930 w 957464"/>
                <a:gd name="connsiteY803" fmla="*/ 1152 h 803310"/>
                <a:gd name="connsiteX804" fmla="*/ 290741 w 957464"/>
                <a:gd name="connsiteY804" fmla="*/ 576 h 803310"/>
                <a:gd name="connsiteX805" fmla="*/ 288552 w 957464"/>
                <a:gd name="connsiteY805" fmla="*/ 230 h 803310"/>
                <a:gd name="connsiteX806" fmla="*/ 286364 w 957464"/>
                <a:gd name="connsiteY806" fmla="*/ 230 h 803310"/>
                <a:gd name="connsiteX807" fmla="*/ 281871 w 957464"/>
                <a:gd name="connsiteY807" fmla="*/ 1843 h 803310"/>
                <a:gd name="connsiteX808" fmla="*/ 279452 w 957464"/>
                <a:gd name="connsiteY808" fmla="*/ 4608 h 803310"/>
                <a:gd name="connsiteX809" fmla="*/ 278416 w 957464"/>
                <a:gd name="connsiteY809" fmla="*/ 7948 h 803310"/>
                <a:gd name="connsiteX810" fmla="*/ 277955 w 957464"/>
                <a:gd name="connsiteY810" fmla="*/ 11404 h 803310"/>
                <a:gd name="connsiteX811" fmla="*/ 278070 w 957464"/>
                <a:gd name="connsiteY811" fmla="*/ 19698 h 803310"/>
                <a:gd name="connsiteX812" fmla="*/ 278876 w 957464"/>
                <a:gd name="connsiteY812" fmla="*/ 28682 h 803310"/>
                <a:gd name="connsiteX813" fmla="*/ 279798 w 957464"/>
                <a:gd name="connsiteY813" fmla="*/ 37207 h 803310"/>
                <a:gd name="connsiteX814" fmla="*/ 280028 w 957464"/>
                <a:gd name="connsiteY814" fmla="*/ 44118 h 803310"/>
                <a:gd name="connsiteX815" fmla="*/ 279683 w 957464"/>
                <a:gd name="connsiteY815" fmla="*/ 46422 h 803310"/>
                <a:gd name="connsiteX816" fmla="*/ 270583 w 957464"/>
                <a:gd name="connsiteY816" fmla="*/ 40662 h 803310"/>
                <a:gd name="connsiteX817" fmla="*/ 257797 w 957464"/>
                <a:gd name="connsiteY817" fmla="*/ 31332 h 803310"/>
                <a:gd name="connsiteX818" fmla="*/ 243513 w 957464"/>
                <a:gd name="connsiteY818" fmla="*/ 21310 h 803310"/>
                <a:gd name="connsiteX819" fmla="*/ 229805 w 957464"/>
                <a:gd name="connsiteY819" fmla="*/ 13592 h 803310"/>
                <a:gd name="connsiteX820" fmla="*/ 227041 w 957464"/>
                <a:gd name="connsiteY820" fmla="*/ 12556 h 803310"/>
                <a:gd name="connsiteX821" fmla="*/ 223930 w 957464"/>
                <a:gd name="connsiteY821" fmla="*/ 11865 h 803310"/>
                <a:gd name="connsiteX822" fmla="*/ 220705 w 957464"/>
                <a:gd name="connsiteY822" fmla="*/ 11634 h 803310"/>
                <a:gd name="connsiteX823" fmla="*/ 217595 w 957464"/>
                <a:gd name="connsiteY823" fmla="*/ 12095 h 803310"/>
                <a:gd name="connsiteX824" fmla="*/ 214715 w 957464"/>
                <a:gd name="connsiteY824" fmla="*/ 13477 h 803310"/>
                <a:gd name="connsiteX825" fmla="*/ 212987 w 957464"/>
                <a:gd name="connsiteY825" fmla="*/ 15436 h 803310"/>
                <a:gd name="connsiteX826" fmla="*/ 212066 w 957464"/>
                <a:gd name="connsiteY826" fmla="*/ 17739 h 803310"/>
                <a:gd name="connsiteX827" fmla="*/ 211720 w 957464"/>
                <a:gd name="connsiteY827" fmla="*/ 20158 h 803310"/>
                <a:gd name="connsiteX828" fmla="*/ 212987 w 957464"/>
                <a:gd name="connsiteY828" fmla="*/ 31332 h 803310"/>
                <a:gd name="connsiteX829" fmla="*/ 216213 w 957464"/>
                <a:gd name="connsiteY829" fmla="*/ 44003 h 803310"/>
                <a:gd name="connsiteX830" fmla="*/ 219553 w 957464"/>
                <a:gd name="connsiteY830" fmla="*/ 55637 h 803310"/>
                <a:gd name="connsiteX831" fmla="*/ 220820 w 957464"/>
                <a:gd name="connsiteY831" fmla="*/ 63585 h 803310"/>
                <a:gd name="connsiteX832" fmla="*/ 220129 w 957464"/>
                <a:gd name="connsiteY832" fmla="*/ 63355 h 803310"/>
                <a:gd name="connsiteX833" fmla="*/ 220014 w 957464"/>
                <a:gd name="connsiteY833" fmla="*/ 63355 h 803310"/>
                <a:gd name="connsiteX834" fmla="*/ 219899 w 957464"/>
                <a:gd name="connsiteY834" fmla="*/ 63355 h 803310"/>
                <a:gd name="connsiteX835" fmla="*/ 219784 w 957464"/>
                <a:gd name="connsiteY835" fmla="*/ 63355 h 803310"/>
                <a:gd name="connsiteX836" fmla="*/ 219668 w 957464"/>
                <a:gd name="connsiteY836" fmla="*/ 63355 h 803310"/>
                <a:gd name="connsiteX837" fmla="*/ 210108 w 957464"/>
                <a:gd name="connsiteY837" fmla="*/ 58632 h 803310"/>
                <a:gd name="connsiteX838" fmla="*/ 197897 w 957464"/>
                <a:gd name="connsiteY838" fmla="*/ 51721 h 803310"/>
                <a:gd name="connsiteX839" fmla="*/ 184651 w 957464"/>
                <a:gd name="connsiteY839" fmla="*/ 44348 h 803310"/>
                <a:gd name="connsiteX840" fmla="*/ 171864 w 957464"/>
                <a:gd name="connsiteY840" fmla="*/ 38358 h 803310"/>
                <a:gd name="connsiteX841" fmla="*/ 167833 w 957464"/>
                <a:gd name="connsiteY841" fmla="*/ 36861 h 803310"/>
                <a:gd name="connsiteX842" fmla="*/ 163455 w 957464"/>
                <a:gd name="connsiteY842" fmla="*/ 35824 h 803310"/>
                <a:gd name="connsiteX843" fmla="*/ 158963 w 957464"/>
                <a:gd name="connsiteY843" fmla="*/ 35594 h 803310"/>
                <a:gd name="connsiteX844" fmla="*/ 154471 w 957464"/>
                <a:gd name="connsiteY844" fmla="*/ 36746 h 803310"/>
                <a:gd name="connsiteX845" fmla="*/ 152743 w 957464"/>
                <a:gd name="connsiteY845" fmla="*/ 38128 h 803310"/>
                <a:gd name="connsiteX846" fmla="*/ 151476 w 957464"/>
                <a:gd name="connsiteY846" fmla="*/ 39741 h 803310"/>
                <a:gd name="connsiteX847" fmla="*/ 150784 w 957464"/>
                <a:gd name="connsiteY847" fmla="*/ 41469 h 803310"/>
                <a:gd name="connsiteX848" fmla="*/ 150554 w 957464"/>
                <a:gd name="connsiteY848" fmla="*/ 43312 h 803310"/>
                <a:gd name="connsiteX849" fmla="*/ 151245 w 957464"/>
                <a:gd name="connsiteY849" fmla="*/ 50108 h 803310"/>
                <a:gd name="connsiteX850" fmla="*/ 153549 w 957464"/>
                <a:gd name="connsiteY850" fmla="*/ 57250 h 803310"/>
                <a:gd name="connsiteX851" fmla="*/ 156774 w 957464"/>
                <a:gd name="connsiteY851" fmla="*/ 64737 h 803310"/>
                <a:gd name="connsiteX852" fmla="*/ 160345 w 957464"/>
                <a:gd name="connsiteY852" fmla="*/ 72455 h 803310"/>
                <a:gd name="connsiteX853" fmla="*/ 163225 w 957464"/>
                <a:gd name="connsiteY853" fmla="*/ 78675 h 803310"/>
                <a:gd name="connsiteX854" fmla="*/ 165644 w 957464"/>
                <a:gd name="connsiteY854" fmla="*/ 84435 h 803310"/>
                <a:gd name="connsiteX855" fmla="*/ 167487 w 957464"/>
                <a:gd name="connsiteY855" fmla="*/ 89273 h 803310"/>
                <a:gd name="connsiteX856" fmla="*/ 168409 w 957464"/>
                <a:gd name="connsiteY856" fmla="*/ 92728 h 803310"/>
                <a:gd name="connsiteX857" fmla="*/ 167142 w 957464"/>
                <a:gd name="connsiteY857" fmla="*/ 92383 h 803310"/>
                <a:gd name="connsiteX858" fmla="*/ 165529 w 957464"/>
                <a:gd name="connsiteY858" fmla="*/ 91922 h 803310"/>
                <a:gd name="connsiteX859" fmla="*/ 163686 w 957464"/>
                <a:gd name="connsiteY859" fmla="*/ 91346 h 803310"/>
                <a:gd name="connsiteX860" fmla="*/ 161612 w 957464"/>
                <a:gd name="connsiteY860" fmla="*/ 90655 h 803310"/>
                <a:gd name="connsiteX861" fmla="*/ 161152 w 957464"/>
                <a:gd name="connsiteY861" fmla="*/ 90540 h 803310"/>
                <a:gd name="connsiteX862" fmla="*/ 160691 w 957464"/>
                <a:gd name="connsiteY862" fmla="*/ 90425 h 803310"/>
                <a:gd name="connsiteX863" fmla="*/ 160230 w 957464"/>
                <a:gd name="connsiteY863" fmla="*/ 90194 h 803310"/>
                <a:gd name="connsiteX864" fmla="*/ 159769 w 957464"/>
                <a:gd name="connsiteY864" fmla="*/ 89964 h 803310"/>
                <a:gd name="connsiteX865" fmla="*/ 159309 w 957464"/>
                <a:gd name="connsiteY865" fmla="*/ 89849 h 803310"/>
                <a:gd name="connsiteX866" fmla="*/ 158848 w 957464"/>
                <a:gd name="connsiteY866" fmla="*/ 89618 h 803310"/>
                <a:gd name="connsiteX867" fmla="*/ 158502 w 957464"/>
                <a:gd name="connsiteY867" fmla="*/ 89503 h 803310"/>
                <a:gd name="connsiteX868" fmla="*/ 158041 w 957464"/>
                <a:gd name="connsiteY868" fmla="*/ 89388 h 803310"/>
                <a:gd name="connsiteX869" fmla="*/ 150900 w 957464"/>
                <a:gd name="connsiteY869" fmla="*/ 86508 h 803310"/>
                <a:gd name="connsiteX870" fmla="*/ 143182 w 957464"/>
                <a:gd name="connsiteY870" fmla="*/ 83283 h 803310"/>
                <a:gd name="connsiteX871" fmla="*/ 135234 w 957464"/>
                <a:gd name="connsiteY871" fmla="*/ 79942 h 803310"/>
                <a:gd name="connsiteX872" fmla="*/ 127401 w 957464"/>
                <a:gd name="connsiteY872" fmla="*/ 76832 h 803310"/>
                <a:gd name="connsiteX873" fmla="*/ 120259 w 957464"/>
                <a:gd name="connsiteY873" fmla="*/ 74413 h 803310"/>
                <a:gd name="connsiteX874" fmla="*/ 113117 w 957464"/>
                <a:gd name="connsiteY874" fmla="*/ 72340 h 803310"/>
                <a:gd name="connsiteX875" fmla="*/ 105975 w 957464"/>
                <a:gd name="connsiteY875" fmla="*/ 71879 h 803310"/>
                <a:gd name="connsiteX876" fmla="*/ 99064 w 957464"/>
                <a:gd name="connsiteY876" fmla="*/ 74183 h 803310"/>
                <a:gd name="connsiteX877" fmla="*/ 97912 w 957464"/>
                <a:gd name="connsiteY877" fmla="*/ 75335 h 803310"/>
                <a:gd name="connsiteX878" fmla="*/ 97106 w 957464"/>
                <a:gd name="connsiteY878" fmla="*/ 76602 h 803310"/>
                <a:gd name="connsiteX879" fmla="*/ 96530 w 957464"/>
                <a:gd name="connsiteY879" fmla="*/ 77984 h 803310"/>
                <a:gd name="connsiteX880" fmla="*/ 96299 w 957464"/>
                <a:gd name="connsiteY880" fmla="*/ 79482 h 803310"/>
                <a:gd name="connsiteX881" fmla="*/ 97682 w 957464"/>
                <a:gd name="connsiteY881" fmla="*/ 87545 h 803310"/>
                <a:gd name="connsiteX882" fmla="*/ 101368 w 957464"/>
                <a:gd name="connsiteY882" fmla="*/ 95608 h 803310"/>
                <a:gd name="connsiteX883" fmla="*/ 106321 w 957464"/>
                <a:gd name="connsiteY883" fmla="*/ 103787 h 803310"/>
                <a:gd name="connsiteX884" fmla="*/ 111735 w 957464"/>
                <a:gd name="connsiteY884" fmla="*/ 112311 h 803310"/>
                <a:gd name="connsiteX885" fmla="*/ 115997 w 957464"/>
                <a:gd name="connsiteY885" fmla="*/ 118761 h 803310"/>
                <a:gd name="connsiteX886" fmla="*/ 119568 w 957464"/>
                <a:gd name="connsiteY886" fmla="*/ 124751 h 803310"/>
                <a:gd name="connsiteX887" fmla="*/ 122217 w 957464"/>
                <a:gd name="connsiteY887" fmla="*/ 129820 h 803310"/>
                <a:gd name="connsiteX888" fmla="*/ 123830 w 957464"/>
                <a:gd name="connsiteY888" fmla="*/ 133276 h 803310"/>
                <a:gd name="connsiteX889" fmla="*/ 119107 w 957464"/>
                <a:gd name="connsiteY889" fmla="*/ 132469 h 803310"/>
                <a:gd name="connsiteX890" fmla="*/ 112196 w 957464"/>
                <a:gd name="connsiteY890" fmla="*/ 130972 h 803310"/>
                <a:gd name="connsiteX891" fmla="*/ 103902 w 957464"/>
                <a:gd name="connsiteY891" fmla="*/ 128898 h 803310"/>
                <a:gd name="connsiteX892" fmla="*/ 95147 w 957464"/>
                <a:gd name="connsiteY892" fmla="*/ 126364 h 803310"/>
                <a:gd name="connsiteX893" fmla="*/ 89388 w 957464"/>
                <a:gd name="connsiteY893" fmla="*/ 124867 h 803310"/>
                <a:gd name="connsiteX894" fmla="*/ 83744 w 957464"/>
                <a:gd name="connsiteY894" fmla="*/ 123369 h 803310"/>
                <a:gd name="connsiteX895" fmla="*/ 78214 w 957464"/>
                <a:gd name="connsiteY895" fmla="*/ 122102 h 803310"/>
                <a:gd name="connsiteX896" fmla="*/ 72800 w 957464"/>
                <a:gd name="connsiteY896" fmla="*/ 121181 h 803310"/>
                <a:gd name="connsiteX897" fmla="*/ 67732 w 957464"/>
                <a:gd name="connsiteY897" fmla="*/ 120605 h 803310"/>
                <a:gd name="connsiteX898" fmla="*/ 62548 w 957464"/>
                <a:gd name="connsiteY898" fmla="*/ 120605 h 803310"/>
                <a:gd name="connsiteX899" fmla="*/ 57595 w 957464"/>
                <a:gd name="connsiteY899" fmla="*/ 121756 h 803310"/>
                <a:gd name="connsiteX900" fmla="*/ 53333 w 957464"/>
                <a:gd name="connsiteY900" fmla="*/ 124982 h 803310"/>
                <a:gd name="connsiteX901" fmla="*/ 51836 w 957464"/>
                <a:gd name="connsiteY901" fmla="*/ 128668 h 803310"/>
                <a:gd name="connsiteX902" fmla="*/ 54024 w 957464"/>
                <a:gd name="connsiteY902" fmla="*/ 138114 h 803310"/>
                <a:gd name="connsiteX903" fmla="*/ 59208 w 957464"/>
                <a:gd name="connsiteY903" fmla="*/ 146868 h 803310"/>
                <a:gd name="connsiteX904" fmla="*/ 66119 w 957464"/>
                <a:gd name="connsiteY904" fmla="*/ 155392 h 803310"/>
                <a:gd name="connsiteX905" fmla="*/ 73376 w 957464"/>
                <a:gd name="connsiteY905" fmla="*/ 164262 h 803310"/>
                <a:gd name="connsiteX906" fmla="*/ 77062 w 957464"/>
                <a:gd name="connsiteY906" fmla="*/ 168524 h 803310"/>
                <a:gd name="connsiteX907" fmla="*/ 80518 w 957464"/>
                <a:gd name="connsiteY907" fmla="*/ 172671 h 803310"/>
                <a:gd name="connsiteX908" fmla="*/ 83628 w 957464"/>
                <a:gd name="connsiteY908" fmla="*/ 176587 h 803310"/>
                <a:gd name="connsiteX909" fmla="*/ 86278 w 957464"/>
                <a:gd name="connsiteY909" fmla="*/ 180043 h 803310"/>
                <a:gd name="connsiteX910" fmla="*/ 89273 w 957464"/>
                <a:gd name="connsiteY910" fmla="*/ 184766 h 803310"/>
                <a:gd name="connsiteX911" fmla="*/ 84550 w 957464"/>
                <a:gd name="connsiteY911" fmla="*/ 184766 h 803310"/>
                <a:gd name="connsiteX912" fmla="*/ 77754 w 957464"/>
                <a:gd name="connsiteY912" fmla="*/ 184305 h 803310"/>
                <a:gd name="connsiteX913" fmla="*/ 69460 w 957464"/>
                <a:gd name="connsiteY913" fmla="*/ 183499 h 803310"/>
                <a:gd name="connsiteX914" fmla="*/ 60360 w 957464"/>
                <a:gd name="connsiteY914" fmla="*/ 182232 h 803310"/>
                <a:gd name="connsiteX915" fmla="*/ 54600 w 957464"/>
                <a:gd name="connsiteY915" fmla="*/ 181540 h 803310"/>
                <a:gd name="connsiteX916" fmla="*/ 48956 w 957464"/>
                <a:gd name="connsiteY916" fmla="*/ 180849 h 803310"/>
                <a:gd name="connsiteX917" fmla="*/ 43427 w 957464"/>
                <a:gd name="connsiteY917" fmla="*/ 180388 h 803310"/>
                <a:gd name="connsiteX918" fmla="*/ 38128 w 957464"/>
                <a:gd name="connsiteY918" fmla="*/ 180273 h 803310"/>
                <a:gd name="connsiteX919" fmla="*/ 33060 w 957464"/>
                <a:gd name="connsiteY919" fmla="*/ 180504 h 803310"/>
                <a:gd name="connsiteX920" fmla="*/ 27991 w 957464"/>
                <a:gd name="connsiteY920" fmla="*/ 181310 h 803310"/>
                <a:gd name="connsiteX921" fmla="*/ 23499 w 957464"/>
                <a:gd name="connsiteY921" fmla="*/ 183499 h 803310"/>
                <a:gd name="connsiteX922" fmla="*/ 20043 w 957464"/>
                <a:gd name="connsiteY922" fmla="*/ 187645 h 803310"/>
                <a:gd name="connsiteX923" fmla="*/ 19582 w 957464"/>
                <a:gd name="connsiteY923" fmla="*/ 189719 h 803310"/>
                <a:gd name="connsiteX924" fmla="*/ 20389 w 957464"/>
                <a:gd name="connsiteY924" fmla="*/ 195478 h 803310"/>
                <a:gd name="connsiteX925" fmla="*/ 22693 w 957464"/>
                <a:gd name="connsiteY925" fmla="*/ 200547 h 803310"/>
                <a:gd name="connsiteX926" fmla="*/ 26033 w 957464"/>
                <a:gd name="connsiteY926" fmla="*/ 205154 h 803310"/>
                <a:gd name="connsiteX927" fmla="*/ 29719 w 957464"/>
                <a:gd name="connsiteY927" fmla="*/ 209532 h 803310"/>
                <a:gd name="connsiteX928" fmla="*/ 36170 w 957464"/>
                <a:gd name="connsiteY928" fmla="*/ 216098 h 803310"/>
                <a:gd name="connsiteX929" fmla="*/ 43196 w 957464"/>
                <a:gd name="connsiteY929" fmla="*/ 222663 h 803310"/>
                <a:gd name="connsiteX930" fmla="*/ 50223 w 957464"/>
                <a:gd name="connsiteY930" fmla="*/ 229114 h 803310"/>
                <a:gd name="connsiteX931" fmla="*/ 56904 w 957464"/>
                <a:gd name="connsiteY931" fmla="*/ 235334 h 803310"/>
                <a:gd name="connsiteX932" fmla="*/ 59899 w 957464"/>
                <a:gd name="connsiteY932" fmla="*/ 238214 h 803310"/>
                <a:gd name="connsiteX933" fmla="*/ 62548 w 957464"/>
                <a:gd name="connsiteY933" fmla="*/ 240864 h 803310"/>
                <a:gd name="connsiteX934" fmla="*/ 64852 w 957464"/>
                <a:gd name="connsiteY934" fmla="*/ 243283 h 803310"/>
                <a:gd name="connsiteX935" fmla="*/ 66580 w 957464"/>
                <a:gd name="connsiteY935" fmla="*/ 245356 h 803310"/>
                <a:gd name="connsiteX936" fmla="*/ 67386 w 957464"/>
                <a:gd name="connsiteY936" fmla="*/ 246623 h 803310"/>
                <a:gd name="connsiteX937" fmla="*/ 66119 w 957464"/>
                <a:gd name="connsiteY937" fmla="*/ 246969 h 803310"/>
                <a:gd name="connsiteX938" fmla="*/ 64392 w 957464"/>
                <a:gd name="connsiteY938" fmla="*/ 247314 h 803310"/>
                <a:gd name="connsiteX939" fmla="*/ 62318 w 957464"/>
                <a:gd name="connsiteY939" fmla="*/ 247545 h 803310"/>
                <a:gd name="connsiteX940" fmla="*/ 59899 w 957464"/>
                <a:gd name="connsiteY940" fmla="*/ 247660 h 803310"/>
                <a:gd name="connsiteX941" fmla="*/ 52872 w 957464"/>
                <a:gd name="connsiteY941" fmla="*/ 248121 h 803310"/>
                <a:gd name="connsiteX942" fmla="*/ 44809 w 957464"/>
                <a:gd name="connsiteY942" fmla="*/ 248466 h 803310"/>
                <a:gd name="connsiteX943" fmla="*/ 36285 w 957464"/>
                <a:gd name="connsiteY943" fmla="*/ 248812 h 803310"/>
                <a:gd name="connsiteX944" fmla="*/ 27876 w 957464"/>
                <a:gd name="connsiteY944" fmla="*/ 249272 h 803310"/>
                <a:gd name="connsiteX945" fmla="*/ 19928 w 957464"/>
                <a:gd name="connsiteY945" fmla="*/ 250079 h 803310"/>
                <a:gd name="connsiteX946" fmla="*/ 12325 w 957464"/>
                <a:gd name="connsiteY946" fmla="*/ 251461 h 803310"/>
                <a:gd name="connsiteX947" fmla="*/ 5990 w 957464"/>
                <a:gd name="connsiteY947" fmla="*/ 254686 h 803310"/>
                <a:gd name="connsiteX948" fmla="*/ 1843 w 957464"/>
                <a:gd name="connsiteY948" fmla="*/ 261367 h 803310"/>
                <a:gd name="connsiteX949" fmla="*/ 2880 w 957464"/>
                <a:gd name="connsiteY949" fmla="*/ 267818 h 803310"/>
                <a:gd name="connsiteX950" fmla="*/ 5875 w 957464"/>
                <a:gd name="connsiteY950" fmla="*/ 273347 h 803310"/>
                <a:gd name="connsiteX951" fmla="*/ 10137 w 957464"/>
                <a:gd name="connsiteY951" fmla="*/ 278070 h 803310"/>
                <a:gd name="connsiteX952" fmla="*/ 14744 w 957464"/>
                <a:gd name="connsiteY952" fmla="*/ 282332 h 803310"/>
                <a:gd name="connsiteX953" fmla="*/ 22462 w 957464"/>
                <a:gd name="connsiteY953" fmla="*/ 288552 h 803310"/>
                <a:gd name="connsiteX954" fmla="*/ 30756 w 957464"/>
                <a:gd name="connsiteY954" fmla="*/ 294658 h 803310"/>
                <a:gd name="connsiteX955" fmla="*/ 39050 w 957464"/>
                <a:gd name="connsiteY955" fmla="*/ 300532 h 803310"/>
                <a:gd name="connsiteX956" fmla="*/ 46998 w 957464"/>
                <a:gd name="connsiteY956" fmla="*/ 306177 h 803310"/>
                <a:gd name="connsiteX957" fmla="*/ 50569 w 957464"/>
                <a:gd name="connsiteY957" fmla="*/ 308826 h 803310"/>
                <a:gd name="connsiteX958" fmla="*/ 53794 w 957464"/>
                <a:gd name="connsiteY958" fmla="*/ 311360 h 803310"/>
                <a:gd name="connsiteX959" fmla="*/ 56559 w 957464"/>
                <a:gd name="connsiteY959" fmla="*/ 313664 h 803310"/>
                <a:gd name="connsiteX960" fmla="*/ 58632 w 957464"/>
                <a:gd name="connsiteY960" fmla="*/ 315622 h 803310"/>
                <a:gd name="connsiteX961" fmla="*/ 59554 w 957464"/>
                <a:gd name="connsiteY961" fmla="*/ 316544 h 803310"/>
                <a:gd name="connsiteX962" fmla="*/ 55407 w 957464"/>
                <a:gd name="connsiteY962" fmla="*/ 317926 h 803310"/>
                <a:gd name="connsiteX963" fmla="*/ 49302 w 957464"/>
                <a:gd name="connsiteY963" fmla="*/ 319654 h 803310"/>
                <a:gd name="connsiteX964" fmla="*/ 41814 w 957464"/>
                <a:gd name="connsiteY964" fmla="*/ 321497 h 803310"/>
                <a:gd name="connsiteX965" fmla="*/ 33751 w 957464"/>
                <a:gd name="connsiteY965" fmla="*/ 323110 h 803310"/>
                <a:gd name="connsiteX966" fmla="*/ 23384 w 957464"/>
                <a:gd name="connsiteY966" fmla="*/ 325529 h 803310"/>
                <a:gd name="connsiteX967" fmla="*/ 13592 w 957464"/>
                <a:gd name="connsiteY967" fmla="*/ 328063 h 803310"/>
                <a:gd name="connsiteX968" fmla="*/ 5414 w 957464"/>
                <a:gd name="connsiteY968" fmla="*/ 332555 h 803310"/>
                <a:gd name="connsiteX969" fmla="*/ 0 w 957464"/>
                <a:gd name="connsiteY969" fmla="*/ 340734 h 803310"/>
                <a:gd name="connsiteX970" fmla="*/ 0 w 957464"/>
                <a:gd name="connsiteY970" fmla="*/ 343844 h 803310"/>
                <a:gd name="connsiteX971" fmla="*/ 2304 w 957464"/>
                <a:gd name="connsiteY971" fmla="*/ 350179 h 803310"/>
                <a:gd name="connsiteX972" fmla="*/ 6335 w 957464"/>
                <a:gd name="connsiteY972" fmla="*/ 355248 h 803310"/>
                <a:gd name="connsiteX973" fmla="*/ 11404 w 957464"/>
                <a:gd name="connsiteY973" fmla="*/ 359510 h 803310"/>
                <a:gd name="connsiteX974" fmla="*/ 16587 w 957464"/>
                <a:gd name="connsiteY974" fmla="*/ 363311 h 803310"/>
                <a:gd name="connsiteX975" fmla="*/ 25227 w 957464"/>
                <a:gd name="connsiteY975" fmla="*/ 368610 h 803310"/>
                <a:gd name="connsiteX976" fmla="*/ 34442 w 957464"/>
                <a:gd name="connsiteY976" fmla="*/ 373678 h 803310"/>
                <a:gd name="connsiteX977" fmla="*/ 43657 w 957464"/>
                <a:gd name="connsiteY977" fmla="*/ 378516 h 803310"/>
                <a:gd name="connsiteX978" fmla="*/ 52412 w 957464"/>
                <a:gd name="connsiteY978" fmla="*/ 383239 h 803310"/>
                <a:gd name="connsiteX979" fmla="*/ 56328 w 957464"/>
                <a:gd name="connsiteY979" fmla="*/ 385428 h 803310"/>
                <a:gd name="connsiteX980" fmla="*/ 59899 w 957464"/>
                <a:gd name="connsiteY980" fmla="*/ 387501 h 803310"/>
                <a:gd name="connsiteX981" fmla="*/ 63009 w 957464"/>
                <a:gd name="connsiteY981" fmla="*/ 389459 h 803310"/>
                <a:gd name="connsiteX982" fmla="*/ 65428 w 957464"/>
                <a:gd name="connsiteY982" fmla="*/ 391187 h 803310"/>
                <a:gd name="connsiteX983" fmla="*/ 66350 w 957464"/>
                <a:gd name="connsiteY983" fmla="*/ 391763 h 803310"/>
                <a:gd name="connsiteX984" fmla="*/ 62779 w 957464"/>
                <a:gd name="connsiteY984" fmla="*/ 394182 h 803310"/>
                <a:gd name="connsiteX985" fmla="*/ 57365 w 957464"/>
                <a:gd name="connsiteY985" fmla="*/ 397177 h 803310"/>
                <a:gd name="connsiteX986" fmla="*/ 50684 w 957464"/>
                <a:gd name="connsiteY986" fmla="*/ 400402 h 803310"/>
                <a:gd name="connsiteX987" fmla="*/ 43427 w 957464"/>
                <a:gd name="connsiteY987" fmla="*/ 403513 h 803310"/>
                <a:gd name="connsiteX988" fmla="*/ 34442 w 957464"/>
                <a:gd name="connsiteY988" fmla="*/ 407660 h 803310"/>
                <a:gd name="connsiteX989" fmla="*/ 26033 w 957464"/>
                <a:gd name="connsiteY989" fmla="*/ 411806 h 803310"/>
                <a:gd name="connsiteX990" fmla="*/ 19237 w 957464"/>
                <a:gd name="connsiteY990" fmla="*/ 417336 h 803310"/>
                <a:gd name="connsiteX991" fmla="*/ 14975 w 957464"/>
                <a:gd name="connsiteY991" fmla="*/ 425514 h 803310"/>
                <a:gd name="connsiteX992" fmla="*/ 15436 w 957464"/>
                <a:gd name="connsiteY992" fmla="*/ 430928 h 803310"/>
                <a:gd name="connsiteX993" fmla="*/ 19122 w 957464"/>
                <a:gd name="connsiteY993" fmla="*/ 437609 h 803310"/>
                <a:gd name="connsiteX994" fmla="*/ 24190 w 957464"/>
                <a:gd name="connsiteY994" fmla="*/ 442562 h 803310"/>
                <a:gd name="connsiteX995" fmla="*/ 29950 w 957464"/>
                <a:gd name="connsiteY995" fmla="*/ 446248 h 803310"/>
                <a:gd name="connsiteX996" fmla="*/ 35709 w 957464"/>
                <a:gd name="connsiteY996" fmla="*/ 449358 h 803310"/>
                <a:gd name="connsiteX997" fmla="*/ 44924 w 957464"/>
                <a:gd name="connsiteY997" fmla="*/ 453390 h 803310"/>
                <a:gd name="connsiteX998" fmla="*/ 54716 w 957464"/>
                <a:gd name="connsiteY998" fmla="*/ 457191 h 803310"/>
                <a:gd name="connsiteX999" fmla="*/ 64507 w 957464"/>
                <a:gd name="connsiteY999" fmla="*/ 460762 h 803310"/>
                <a:gd name="connsiteX1000" fmla="*/ 73837 w 957464"/>
                <a:gd name="connsiteY1000" fmla="*/ 464333 h 803310"/>
                <a:gd name="connsiteX1001" fmla="*/ 77984 w 957464"/>
                <a:gd name="connsiteY1001" fmla="*/ 465946 h 803310"/>
                <a:gd name="connsiteX1002" fmla="*/ 81785 w 957464"/>
                <a:gd name="connsiteY1002" fmla="*/ 467559 h 803310"/>
                <a:gd name="connsiteX1003" fmla="*/ 85126 w 957464"/>
                <a:gd name="connsiteY1003" fmla="*/ 469056 h 803310"/>
                <a:gd name="connsiteX1004" fmla="*/ 87775 w 957464"/>
                <a:gd name="connsiteY1004" fmla="*/ 470438 h 803310"/>
                <a:gd name="connsiteX1005" fmla="*/ 88697 w 957464"/>
                <a:gd name="connsiteY1005" fmla="*/ 471014 h 803310"/>
                <a:gd name="connsiteX1006" fmla="*/ 86163 w 957464"/>
                <a:gd name="connsiteY1006" fmla="*/ 473779 h 803310"/>
                <a:gd name="connsiteX1007" fmla="*/ 82246 w 957464"/>
                <a:gd name="connsiteY1007" fmla="*/ 477465 h 803310"/>
                <a:gd name="connsiteX1008" fmla="*/ 77178 w 957464"/>
                <a:gd name="connsiteY1008" fmla="*/ 481612 h 803310"/>
                <a:gd name="connsiteX1009" fmla="*/ 71418 w 957464"/>
                <a:gd name="connsiteY1009" fmla="*/ 485759 h 803310"/>
                <a:gd name="connsiteX1010" fmla="*/ 63931 w 957464"/>
                <a:gd name="connsiteY1010" fmla="*/ 491633 h 803310"/>
                <a:gd name="connsiteX1011" fmla="*/ 56789 w 957464"/>
                <a:gd name="connsiteY1011" fmla="*/ 497508 h 803310"/>
                <a:gd name="connsiteX1012" fmla="*/ 50914 w 957464"/>
                <a:gd name="connsiteY1012" fmla="*/ 504189 h 803310"/>
                <a:gd name="connsiteX1013" fmla="*/ 47343 w 957464"/>
                <a:gd name="connsiteY1013" fmla="*/ 512483 h 803310"/>
                <a:gd name="connsiteX1014" fmla="*/ 47343 w 957464"/>
                <a:gd name="connsiteY1014" fmla="*/ 514441 h 803310"/>
                <a:gd name="connsiteX1015" fmla="*/ 47574 w 957464"/>
                <a:gd name="connsiteY1015" fmla="*/ 516515 h 803310"/>
                <a:gd name="connsiteX1016" fmla="*/ 48150 w 957464"/>
                <a:gd name="connsiteY1016" fmla="*/ 518703 h 803310"/>
                <a:gd name="connsiteX1017" fmla="*/ 49186 w 957464"/>
                <a:gd name="connsiteY1017" fmla="*/ 521007 h 803310"/>
                <a:gd name="connsiteX1018" fmla="*/ 55637 w 957464"/>
                <a:gd name="connsiteY1018" fmla="*/ 528840 h 803310"/>
                <a:gd name="connsiteX1019" fmla="*/ 63124 w 957464"/>
                <a:gd name="connsiteY1019" fmla="*/ 533563 h 803310"/>
                <a:gd name="connsiteX1020" fmla="*/ 71188 w 957464"/>
                <a:gd name="connsiteY1020" fmla="*/ 536558 h 803310"/>
                <a:gd name="connsiteX1021" fmla="*/ 79251 w 957464"/>
                <a:gd name="connsiteY1021" fmla="*/ 538977 h 803310"/>
                <a:gd name="connsiteX1022" fmla="*/ 88927 w 957464"/>
                <a:gd name="connsiteY1022" fmla="*/ 541165 h 803310"/>
                <a:gd name="connsiteX1023" fmla="*/ 98718 w 957464"/>
                <a:gd name="connsiteY1023" fmla="*/ 543239 h 803310"/>
                <a:gd name="connsiteX1024" fmla="*/ 108049 w 957464"/>
                <a:gd name="connsiteY1024" fmla="*/ 545197 h 803310"/>
                <a:gd name="connsiteX1025" fmla="*/ 116458 w 957464"/>
                <a:gd name="connsiteY1025" fmla="*/ 547155 h 803310"/>
                <a:gd name="connsiteX1026" fmla="*/ 119453 w 957464"/>
                <a:gd name="connsiteY1026" fmla="*/ 547962 h 803310"/>
                <a:gd name="connsiteX1027" fmla="*/ 122217 w 957464"/>
                <a:gd name="connsiteY1027" fmla="*/ 548768 h 803310"/>
                <a:gd name="connsiteX1028" fmla="*/ 124521 w 957464"/>
                <a:gd name="connsiteY1028" fmla="*/ 549459 h 803310"/>
                <a:gd name="connsiteX1029" fmla="*/ 126249 w 957464"/>
                <a:gd name="connsiteY1029" fmla="*/ 550150 h 803310"/>
                <a:gd name="connsiteX1030" fmla="*/ 124521 w 957464"/>
                <a:gd name="connsiteY1030" fmla="*/ 553606 h 803310"/>
                <a:gd name="connsiteX1031" fmla="*/ 121526 w 957464"/>
                <a:gd name="connsiteY1031" fmla="*/ 558098 h 803310"/>
                <a:gd name="connsiteX1032" fmla="*/ 117610 w 957464"/>
                <a:gd name="connsiteY1032" fmla="*/ 563282 h 803310"/>
                <a:gd name="connsiteX1033" fmla="*/ 113117 w 957464"/>
                <a:gd name="connsiteY1033" fmla="*/ 568581 h 803310"/>
                <a:gd name="connsiteX1034" fmla="*/ 107588 w 957464"/>
                <a:gd name="connsiteY1034" fmla="*/ 575377 h 803310"/>
                <a:gd name="connsiteX1035" fmla="*/ 102404 w 957464"/>
                <a:gd name="connsiteY1035" fmla="*/ 582058 h 803310"/>
                <a:gd name="connsiteX1036" fmla="*/ 98258 w 957464"/>
                <a:gd name="connsiteY1036" fmla="*/ 589200 h 803310"/>
                <a:gd name="connsiteX1037" fmla="*/ 95839 w 957464"/>
                <a:gd name="connsiteY1037" fmla="*/ 597148 h 803310"/>
                <a:gd name="connsiteX1038" fmla="*/ 95839 w 957464"/>
                <a:gd name="connsiteY1038" fmla="*/ 599797 h 803310"/>
                <a:gd name="connsiteX1039" fmla="*/ 96299 w 957464"/>
                <a:gd name="connsiteY1039" fmla="*/ 602677 h 803310"/>
                <a:gd name="connsiteX1040" fmla="*/ 97336 w 957464"/>
                <a:gd name="connsiteY1040" fmla="*/ 605672 h 803310"/>
                <a:gd name="connsiteX1041" fmla="*/ 99064 w 957464"/>
                <a:gd name="connsiteY1041" fmla="*/ 608782 h 803310"/>
                <a:gd name="connsiteX1042" fmla="*/ 103441 w 957464"/>
                <a:gd name="connsiteY1042" fmla="*/ 613620 h 803310"/>
                <a:gd name="connsiteX1043" fmla="*/ 108279 w 957464"/>
                <a:gd name="connsiteY1043" fmla="*/ 616846 h 803310"/>
                <a:gd name="connsiteX1044" fmla="*/ 113232 w 957464"/>
                <a:gd name="connsiteY1044" fmla="*/ 618919 h 803310"/>
                <a:gd name="connsiteX1045" fmla="*/ 117955 w 957464"/>
                <a:gd name="connsiteY1045" fmla="*/ 620301 h 803310"/>
                <a:gd name="connsiteX1046" fmla="*/ 133160 w 957464"/>
                <a:gd name="connsiteY1046" fmla="*/ 622490 h 803310"/>
                <a:gd name="connsiteX1047" fmla="*/ 149287 w 957464"/>
                <a:gd name="connsiteY1047" fmla="*/ 623411 h 803310"/>
                <a:gd name="connsiteX1048" fmla="*/ 164031 w 957464"/>
                <a:gd name="connsiteY1048" fmla="*/ 624103 h 803310"/>
                <a:gd name="connsiteX1049" fmla="*/ 175435 w 957464"/>
                <a:gd name="connsiteY1049" fmla="*/ 625485 h 803310"/>
                <a:gd name="connsiteX1050" fmla="*/ 175666 w 957464"/>
                <a:gd name="connsiteY1050" fmla="*/ 625485 h 803310"/>
                <a:gd name="connsiteX1051" fmla="*/ 175896 w 957464"/>
                <a:gd name="connsiteY1051" fmla="*/ 625485 h 803310"/>
                <a:gd name="connsiteX1052" fmla="*/ 176126 w 957464"/>
                <a:gd name="connsiteY1052" fmla="*/ 625485 h 803310"/>
                <a:gd name="connsiteX1053" fmla="*/ 176357 w 957464"/>
                <a:gd name="connsiteY1053" fmla="*/ 625485 h 803310"/>
                <a:gd name="connsiteX1054" fmla="*/ 177163 w 957464"/>
                <a:gd name="connsiteY1054" fmla="*/ 625715 h 803310"/>
                <a:gd name="connsiteX1055" fmla="*/ 174168 w 957464"/>
                <a:gd name="connsiteY1055" fmla="*/ 635046 h 803310"/>
                <a:gd name="connsiteX1056" fmla="*/ 168178 w 957464"/>
                <a:gd name="connsiteY1056" fmla="*/ 647371 h 803310"/>
                <a:gd name="connsiteX1057" fmla="*/ 161958 w 957464"/>
                <a:gd name="connsiteY1057" fmla="*/ 661194 h 803310"/>
                <a:gd name="connsiteX1058" fmla="*/ 158272 w 957464"/>
                <a:gd name="connsiteY1058" fmla="*/ 674902 h 803310"/>
                <a:gd name="connsiteX1059" fmla="*/ 158272 w 957464"/>
                <a:gd name="connsiteY1059" fmla="*/ 678473 h 803310"/>
                <a:gd name="connsiteX1060" fmla="*/ 158848 w 957464"/>
                <a:gd name="connsiteY1060" fmla="*/ 682389 h 803310"/>
                <a:gd name="connsiteX1061" fmla="*/ 160345 w 957464"/>
                <a:gd name="connsiteY1061" fmla="*/ 686536 h 803310"/>
                <a:gd name="connsiteX1062" fmla="*/ 163340 w 957464"/>
                <a:gd name="connsiteY1062" fmla="*/ 690913 h 803310"/>
                <a:gd name="connsiteX1063" fmla="*/ 166796 w 957464"/>
                <a:gd name="connsiteY1063" fmla="*/ 693908 h 803310"/>
                <a:gd name="connsiteX1064" fmla="*/ 170367 w 957464"/>
                <a:gd name="connsiteY1064" fmla="*/ 696097 h 803310"/>
                <a:gd name="connsiteX1065" fmla="*/ 173938 w 957464"/>
                <a:gd name="connsiteY1065" fmla="*/ 697479 h 803310"/>
                <a:gd name="connsiteX1066" fmla="*/ 177278 w 957464"/>
                <a:gd name="connsiteY1066" fmla="*/ 698401 h 803310"/>
                <a:gd name="connsiteX1067" fmla="*/ 194326 w 957464"/>
                <a:gd name="connsiteY1067" fmla="*/ 699207 h 803310"/>
                <a:gd name="connsiteX1068" fmla="*/ 212296 w 957464"/>
                <a:gd name="connsiteY1068" fmla="*/ 697364 h 803310"/>
                <a:gd name="connsiteX1069" fmla="*/ 228308 w 957464"/>
                <a:gd name="connsiteY1069" fmla="*/ 695175 h 803310"/>
                <a:gd name="connsiteX1070" fmla="*/ 239481 w 957464"/>
                <a:gd name="connsiteY1070" fmla="*/ 694830 h 803310"/>
                <a:gd name="connsiteX1071" fmla="*/ 239481 w 957464"/>
                <a:gd name="connsiteY1071" fmla="*/ 698285 h 803310"/>
                <a:gd name="connsiteX1072" fmla="*/ 238214 w 957464"/>
                <a:gd name="connsiteY1072" fmla="*/ 707385 h 803310"/>
                <a:gd name="connsiteX1073" fmla="*/ 235795 w 957464"/>
                <a:gd name="connsiteY1073" fmla="*/ 718328 h 803310"/>
                <a:gd name="connsiteX1074" fmla="*/ 233261 w 957464"/>
                <a:gd name="connsiteY1074" fmla="*/ 730078 h 803310"/>
                <a:gd name="connsiteX1075" fmla="*/ 231533 w 957464"/>
                <a:gd name="connsiteY1075" fmla="*/ 741597 h 803310"/>
                <a:gd name="connsiteX1076" fmla="*/ 231533 w 957464"/>
                <a:gd name="connsiteY1076" fmla="*/ 746896 h 803310"/>
                <a:gd name="connsiteX1077" fmla="*/ 232224 w 957464"/>
                <a:gd name="connsiteY1077" fmla="*/ 752540 h 803310"/>
                <a:gd name="connsiteX1078" fmla="*/ 234643 w 957464"/>
                <a:gd name="connsiteY1078" fmla="*/ 758415 h 803310"/>
                <a:gd name="connsiteX1079" fmla="*/ 239596 w 957464"/>
                <a:gd name="connsiteY1079" fmla="*/ 764405 h 803310"/>
                <a:gd name="connsiteX1080" fmla="*/ 242015 w 957464"/>
                <a:gd name="connsiteY1080" fmla="*/ 766133 h 803310"/>
                <a:gd name="connsiteX1081" fmla="*/ 244550 w 957464"/>
                <a:gd name="connsiteY1081" fmla="*/ 767400 h 803310"/>
                <a:gd name="connsiteX1082" fmla="*/ 247084 w 957464"/>
                <a:gd name="connsiteY1082" fmla="*/ 768321 h 803310"/>
                <a:gd name="connsiteX1083" fmla="*/ 249388 w 957464"/>
                <a:gd name="connsiteY1083" fmla="*/ 768897 h 803310"/>
                <a:gd name="connsiteX1084" fmla="*/ 249733 w 957464"/>
                <a:gd name="connsiteY1084" fmla="*/ 768897 h 803310"/>
                <a:gd name="connsiteX1085" fmla="*/ 259755 w 957464"/>
                <a:gd name="connsiteY1085" fmla="*/ 769358 h 803310"/>
                <a:gd name="connsiteX1086" fmla="*/ 269085 w 957464"/>
                <a:gd name="connsiteY1086" fmla="*/ 767745 h 803310"/>
                <a:gd name="connsiteX1087" fmla="*/ 278070 w 957464"/>
                <a:gd name="connsiteY1087" fmla="*/ 764981 h 803310"/>
                <a:gd name="connsiteX1088" fmla="*/ 287285 w 957464"/>
                <a:gd name="connsiteY1088" fmla="*/ 761871 h 803310"/>
                <a:gd name="connsiteX1089" fmla="*/ 295464 w 957464"/>
                <a:gd name="connsiteY1089" fmla="*/ 758991 h 803310"/>
                <a:gd name="connsiteX1090" fmla="*/ 303066 w 957464"/>
                <a:gd name="connsiteY1090" fmla="*/ 756802 h 803310"/>
                <a:gd name="connsiteX1091" fmla="*/ 309056 w 957464"/>
                <a:gd name="connsiteY1091" fmla="*/ 755535 h 803310"/>
                <a:gd name="connsiteX1092" fmla="*/ 312512 w 957464"/>
                <a:gd name="connsiteY1092" fmla="*/ 755305 h 803310"/>
                <a:gd name="connsiteX1093" fmla="*/ 312742 w 957464"/>
                <a:gd name="connsiteY1093" fmla="*/ 755305 h 803310"/>
                <a:gd name="connsiteX1094" fmla="*/ 312858 w 957464"/>
                <a:gd name="connsiteY1094" fmla="*/ 752425 h 803310"/>
                <a:gd name="connsiteX1095" fmla="*/ 322534 w 957464"/>
                <a:gd name="connsiteY1095" fmla="*/ 739524 h 803310"/>
                <a:gd name="connsiteX1096" fmla="*/ 320345 w 957464"/>
                <a:gd name="connsiteY1096" fmla="*/ 738141 h 803310"/>
                <a:gd name="connsiteX1097" fmla="*/ 318041 w 957464"/>
                <a:gd name="connsiteY1097" fmla="*/ 736989 h 803310"/>
                <a:gd name="connsiteX1098" fmla="*/ 315853 w 957464"/>
                <a:gd name="connsiteY1098" fmla="*/ 736183 h 803310"/>
                <a:gd name="connsiteX1099" fmla="*/ 313664 w 957464"/>
                <a:gd name="connsiteY1099" fmla="*/ 735607 h 803310"/>
                <a:gd name="connsiteX1100" fmla="*/ 303988 w 957464"/>
                <a:gd name="connsiteY1100" fmla="*/ 735146 h 803310"/>
                <a:gd name="connsiteX1101" fmla="*/ 294888 w 957464"/>
                <a:gd name="connsiteY1101" fmla="*/ 736644 h 803310"/>
                <a:gd name="connsiteX1102" fmla="*/ 286018 w 957464"/>
                <a:gd name="connsiteY1102" fmla="*/ 739408 h 803310"/>
                <a:gd name="connsiteX1103" fmla="*/ 276918 w 957464"/>
                <a:gd name="connsiteY1103" fmla="*/ 742403 h 803310"/>
                <a:gd name="connsiteX1104" fmla="*/ 270352 w 957464"/>
                <a:gd name="connsiteY1104" fmla="*/ 744707 h 803310"/>
                <a:gd name="connsiteX1105" fmla="*/ 263902 w 957464"/>
                <a:gd name="connsiteY1105" fmla="*/ 746550 h 803310"/>
                <a:gd name="connsiteX1106" fmla="*/ 258257 w 957464"/>
                <a:gd name="connsiteY1106" fmla="*/ 747933 h 803310"/>
                <a:gd name="connsiteX1107" fmla="*/ 253880 w 957464"/>
                <a:gd name="connsiteY1107" fmla="*/ 748739 h 803310"/>
                <a:gd name="connsiteX1108" fmla="*/ 253880 w 957464"/>
                <a:gd name="connsiteY1108" fmla="*/ 746205 h 803310"/>
                <a:gd name="connsiteX1109" fmla="*/ 255147 w 957464"/>
                <a:gd name="connsiteY1109" fmla="*/ 736989 h 803310"/>
                <a:gd name="connsiteX1110" fmla="*/ 257566 w 957464"/>
                <a:gd name="connsiteY1110" fmla="*/ 726046 h 803310"/>
                <a:gd name="connsiteX1111" fmla="*/ 259985 w 957464"/>
                <a:gd name="connsiteY1111" fmla="*/ 714412 h 803310"/>
                <a:gd name="connsiteX1112" fmla="*/ 261598 w 957464"/>
                <a:gd name="connsiteY1112" fmla="*/ 703239 h 803310"/>
                <a:gd name="connsiteX1113" fmla="*/ 261598 w 957464"/>
                <a:gd name="connsiteY1113" fmla="*/ 698401 h 803310"/>
                <a:gd name="connsiteX1114" fmla="*/ 261022 w 957464"/>
                <a:gd name="connsiteY1114" fmla="*/ 693332 h 803310"/>
                <a:gd name="connsiteX1115" fmla="*/ 259064 w 957464"/>
                <a:gd name="connsiteY1115" fmla="*/ 687918 h 803310"/>
                <a:gd name="connsiteX1116" fmla="*/ 254917 w 957464"/>
                <a:gd name="connsiteY1116" fmla="*/ 682043 h 803310"/>
                <a:gd name="connsiteX1117" fmla="*/ 251807 w 957464"/>
                <a:gd name="connsiteY1117" fmla="*/ 679624 h 803310"/>
                <a:gd name="connsiteX1118" fmla="*/ 248581 w 957464"/>
                <a:gd name="connsiteY1118" fmla="*/ 677781 h 803310"/>
                <a:gd name="connsiteX1119" fmla="*/ 245471 w 957464"/>
                <a:gd name="connsiteY1119" fmla="*/ 676514 h 803310"/>
                <a:gd name="connsiteX1120" fmla="*/ 242476 w 957464"/>
                <a:gd name="connsiteY1120" fmla="*/ 675593 h 803310"/>
                <a:gd name="connsiteX1121" fmla="*/ 226234 w 957464"/>
                <a:gd name="connsiteY1121" fmla="*/ 674786 h 803310"/>
                <a:gd name="connsiteX1122" fmla="*/ 208841 w 957464"/>
                <a:gd name="connsiteY1122" fmla="*/ 676399 h 803310"/>
                <a:gd name="connsiteX1123" fmla="*/ 192944 w 957464"/>
                <a:gd name="connsiteY1123" fmla="*/ 678473 h 803310"/>
                <a:gd name="connsiteX1124" fmla="*/ 181310 w 957464"/>
                <a:gd name="connsiteY1124" fmla="*/ 678933 h 803310"/>
                <a:gd name="connsiteX1125" fmla="*/ 184420 w 957464"/>
                <a:gd name="connsiteY1125" fmla="*/ 669372 h 803310"/>
                <a:gd name="connsiteX1126" fmla="*/ 190295 w 957464"/>
                <a:gd name="connsiteY1126" fmla="*/ 657047 h 803310"/>
                <a:gd name="connsiteX1127" fmla="*/ 196170 w 957464"/>
                <a:gd name="connsiteY1127" fmla="*/ 643570 h 803310"/>
                <a:gd name="connsiteX1128" fmla="*/ 199625 w 957464"/>
                <a:gd name="connsiteY1128" fmla="*/ 630438 h 803310"/>
                <a:gd name="connsiteX1129" fmla="*/ 199625 w 957464"/>
                <a:gd name="connsiteY1129" fmla="*/ 627213 h 803310"/>
                <a:gd name="connsiteX1130" fmla="*/ 199164 w 957464"/>
                <a:gd name="connsiteY1130" fmla="*/ 623757 h 803310"/>
                <a:gd name="connsiteX1131" fmla="*/ 197897 w 957464"/>
                <a:gd name="connsiteY1131" fmla="*/ 620071 h 803310"/>
                <a:gd name="connsiteX1132" fmla="*/ 195594 w 957464"/>
                <a:gd name="connsiteY1132" fmla="*/ 616154 h 803310"/>
                <a:gd name="connsiteX1133" fmla="*/ 191332 w 957464"/>
                <a:gd name="connsiteY1133" fmla="*/ 612008 h 803310"/>
                <a:gd name="connsiteX1134" fmla="*/ 186839 w 957464"/>
                <a:gd name="connsiteY1134" fmla="*/ 609243 h 803310"/>
                <a:gd name="connsiteX1135" fmla="*/ 182347 w 957464"/>
                <a:gd name="connsiteY1135" fmla="*/ 607400 h 803310"/>
                <a:gd name="connsiteX1136" fmla="*/ 177969 w 957464"/>
                <a:gd name="connsiteY1136" fmla="*/ 606018 h 803310"/>
                <a:gd name="connsiteX1137" fmla="*/ 162995 w 957464"/>
                <a:gd name="connsiteY1137" fmla="*/ 603829 h 803310"/>
                <a:gd name="connsiteX1138" fmla="*/ 147098 w 957464"/>
                <a:gd name="connsiteY1138" fmla="*/ 602792 h 803310"/>
                <a:gd name="connsiteX1139" fmla="*/ 132239 w 957464"/>
                <a:gd name="connsiteY1139" fmla="*/ 601986 h 803310"/>
                <a:gd name="connsiteX1140" fmla="*/ 120720 w 957464"/>
                <a:gd name="connsiteY1140" fmla="*/ 600489 h 803310"/>
                <a:gd name="connsiteX1141" fmla="*/ 120489 w 957464"/>
                <a:gd name="connsiteY1141" fmla="*/ 600489 h 803310"/>
                <a:gd name="connsiteX1142" fmla="*/ 120259 w 957464"/>
                <a:gd name="connsiteY1142" fmla="*/ 600489 h 803310"/>
                <a:gd name="connsiteX1143" fmla="*/ 120029 w 957464"/>
                <a:gd name="connsiteY1143" fmla="*/ 600489 h 803310"/>
                <a:gd name="connsiteX1144" fmla="*/ 119798 w 957464"/>
                <a:gd name="connsiteY1144" fmla="*/ 600489 h 803310"/>
                <a:gd name="connsiteX1145" fmla="*/ 121641 w 957464"/>
                <a:gd name="connsiteY1145" fmla="*/ 596918 h 803310"/>
                <a:gd name="connsiteX1146" fmla="*/ 124636 w 957464"/>
                <a:gd name="connsiteY1146" fmla="*/ 592425 h 803310"/>
                <a:gd name="connsiteX1147" fmla="*/ 128437 w 957464"/>
                <a:gd name="connsiteY1147" fmla="*/ 587472 h 803310"/>
                <a:gd name="connsiteX1148" fmla="*/ 132700 w 957464"/>
                <a:gd name="connsiteY1148" fmla="*/ 582404 h 803310"/>
                <a:gd name="connsiteX1149" fmla="*/ 137998 w 957464"/>
                <a:gd name="connsiteY1149" fmla="*/ 575607 h 803310"/>
                <a:gd name="connsiteX1150" fmla="*/ 142952 w 957464"/>
                <a:gd name="connsiteY1150" fmla="*/ 568926 h 803310"/>
                <a:gd name="connsiteX1151" fmla="*/ 146868 w 957464"/>
                <a:gd name="connsiteY1151" fmla="*/ 561900 h 803310"/>
                <a:gd name="connsiteX1152" fmla="*/ 149172 w 957464"/>
                <a:gd name="connsiteY1152" fmla="*/ 554182 h 803310"/>
                <a:gd name="connsiteX1153" fmla="*/ 149172 w 957464"/>
                <a:gd name="connsiteY1153" fmla="*/ 551993 h 803310"/>
                <a:gd name="connsiteX1154" fmla="*/ 148941 w 957464"/>
                <a:gd name="connsiteY1154" fmla="*/ 549574 h 803310"/>
                <a:gd name="connsiteX1155" fmla="*/ 148250 w 957464"/>
                <a:gd name="connsiteY1155" fmla="*/ 546925 h 803310"/>
                <a:gd name="connsiteX1156" fmla="*/ 146983 w 957464"/>
                <a:gd name="connsiteY1156" fmla="*/ 544160 h 803310"/>
                <a:gd name="connsiteX1157" fmla="*/ 140533 w 957464"/>
                <a:gd name="connsiteY1157" fmla="*/ 537134 h 803310"/>
                <a:gd name="connsiteX1158" fmla="*/ 133506 w 957464"/>
                <a:gd name="connsiteY1158" fmla="*/ 532757 h 803310"/>
                <a:gd name="connsiteX1159" fmla="*/ 126018 w 957464"/>
                <a:gd name="connsiteY1159" fmla="*/ 529992 h 803310"/>
                <a:gd name="connsiteX1160" fmla="*/ 118416 w 957464"/>
                <a:gd name="connsiteY1160" fmla="*/ 527688 h 803310"/>
                <a:gd name="connsiteX1161" fmla="*/ 108970 w 957464"/>
                <a:gd name="connsiteY1161" fmla="*/ 525384 h 803310"/>
                <a:gd name="connsiteX1162" fmla="*/ 99294 w 957464"/>
                <a:gd name="connsiteY1162" fmla="*/ 523311 h 803310"/>
                <a:gd name="connsiteX1163" fmla="*/ 89964 w 957464"/>
                <a:gd name="connsiteY1163" fmla="*/ 521353 h 803310"/>
                <a:gd name="connsiteX1164" fmla="*/ 81440 w 957464"/>
                <a:gd name="connsiteY1164" fmla="*/ 519279 h 803310"/>
                <a:gd name="connsiteX1165" fmla="*/ 78675 w 957464"/>
                <a:gd name="connsiteY1165" fmla="*/ 518588 h 803310"/>
                <a:gd name="connsiteX1166" fmla="*/ 76141 w 957464"/>
                <a:gd name="connsiteY1166" fmla="*/ 517782 h 803310"/>
                <a:gd name="connsiteX1167" fmla="*/ 73952 w 957464"/>
                <a:gd name="connsiteY1167" fmla="*/ 517091 h 803310"/>
                <a:gd name="connsiteX1168" fmla="*/ 72224 w 957464"/>
                <a:gd name="connsiteY1168" fmla="*/ 516399 h 803310"/>
                <a:gd name="connsiteX1169" fmla="*/ 74874 w 957464"/>
                <a:gd name="connsiteY1169" fmla="*/ 513404 h 803310"/>
                <a:gd name="connsiteX1170" fmla="*/ 78790 w 957464"/>
                <a:gd name="connsiteY1170" fmla="*/ 509718 h 803310"/>
                <a:gd name="connsiteX1171" fmla="*/ 83513 w 957464"/>
                <a:gd name="connsiteY1171" fmla="*/ 505572 h 803310"/>
                <a:gd name="connsiteX1172" fmla="*/ 88927 w 957464"/>
                <a:gd name="connsiteY1172" fmla="*/ 501540 h 803310"/>
                <a:gd name="connsiteX1173" fmla="*/ 96415 w 957464"/>
                <a:gd name="connsiteY1173" fmla="*/ 495780 h 803310"/>
                <a:gd name="connsiteX1174" fmla="*/ 103441 w 957464"/>
                <a:gd name="connsiteY1174" fmla="*/ 490021 h 803310"/>
                <a:gd name="connsiteX1175" fmla="*/ 109085 w 957464"/>
                <a:gd name="connsiteY1175" fmla="*/ 483570 h 803310"/>
                <a:gd name="connsiteX1176" fmla="*/ 112426 w 957464"/>
                <a:gd name="connsiteY1176" fmla="*/ 475392 h 803310"/>
                <a:gd name="connsiteX1177" fmla="*/ 112426 w 957464"/>
                <a:gd name="connsiteY1177" fmla="*/ 473894 h 803310"/>
                <a:gd name="connsiteX1178" fmla="*/ 112426 w 957464"/>
                <a:gd name="connsiteY1178" fmla="*/ 472281 h 803310"/>
                <a:gd name="connsiteX1179" fmla="*/ 112080 w 957464"/>
                <a:gd name="connsiteY1179" fmla="*/ 470554 h 803310"/>
                <a:gd name="connsiteX1180" fmla="*/ 111504 w 957464"/>
                <a:gd name="connsiteY1180" fmla="*/ 468826 h 803310"/>
                <a:gd name="connsiteX1181" fmla="*/ 107588 w 957464"/>
                <a:gd name="connsiteY1181" fmla="*/ 462375 h 803310"/>
                <a:gd name="connsiteX1182" fmla="*/ 102635 w 957464"/>
                <a:gd name="connsiteY1182" fmla="*/ 457767 h 803310"/>
                <a:gd name="connsiteX1183" fmla="*/ 97106 w 957464"/>
                <a:gd name="connsiteY1183" fmla="*/ 454312 h 803310"/>
                <a:gd name="connsiteX1184" fmla="*/ 91461 w 957464"/>
                <a:gd name="connsiteY1184" fmla="*/ 451432 h 803310"/>
                <a:gd name="connsiteX1185" fmla="*/ 82361 w 957464"/>
                <a:gd name="connsiteY1185" fmla="*/ 447515 h 803310"/>
                <a:gd name="connsiteX1186" fmla="*/ 72685 w 957464"/>
                <a:gd name="connsiteY1186" fmla="*/ 443829 h 803310"/>
                <a:gd name="connsiteX1187" fmla="*/ 63009 w 957464"/>
                <a:gd name="connsiteY1187" fmla="*/ 440258 h 803310"/>
                <a:gd name="connsiteX1188" fmla="*/ 53909 w 957464"/>
                <a:gd name="connsiteY1188" fmla="*/ 436688 h 803310"/>
                <a:gd name="connsiteX1189" fmla="*/ 49878 w 957464"/>
                <a:gd name="connsiteY1189" fmla="*/ 435075 h 803310"/>
                <a:gd name="connsiteX1190" fmla="*/ 46191 w 957464"/>
                <a:gd name="connsiteY1190" fmla="*/ 433462 h 803310"/>
                <a:gd name="connsiteX1191" fmla="*/ 42966 w 957464"/>
                <a:gd name="connsiteY1191" fmla="*/ 431965 h 803310"/>
                <a:gd name="connsiteX1192" fmla="*/ 40317 w 957464"/>
                <a:gd name="connsiteY1192" fmla="*/ 430582 h 803310"/>
                <a:gd name="connsiteX1193" fmla="*/ 44118 w 957464"/>
                <a:gd name="connsiteY1193" fmla="*/ 428163 h 803310"/>
                <a:gd name="connsiteX1194" fmla="*/ 49532 w 957464"/>
                <a:gd name="connsiteY1194" fmla="*/ 425168 h 803310"/>
                <a:gd name="connsiteX1195" fmla="*/ 55983 w 957464"/>
                <a:gd name="connsiteY1195" fmla="*/ 422058 h 803310"/>
                <a:gd name="connsiteX1196" fmla="*/ 62894 w 957464"/>
                <a:gd name="connsiteY1196" fmla="*/ 419063 h 803310"/>
                <a:gd name="connsiteX1197" fmla="*/ 71533 w 957464"/>
                <a:gd name="connsiteY1197" fmla="*/ 414916 h 803310"/>
                <a:gd name="connsiteX1198" fmla="*/ 79597 w 957464"/>
                <a:gd name="connsiteY1198" fmla="*/ 410770 h 803310"/>
                <a:gd name="connsiteX1199" fmla="*/ 86163 w 957464"/>
                <a:gd name="connsiteY1199" fmla="*/ 405356 h 803310"/>
                <a:gd name="connsiteX1200" fmla="*/ 90194 w 957464"/>
                <a:gd name="connsiteY1200" fmla="*/ 397408 h 803310"/>
                <a:gd name="connsiteX1201" fmla="*/ 89964 w 957464"/>
                <a:gd name="connsiteY1201" fmla="*/ 393837 h 803310"/>
                <a:gd name="connsiteX1202" fmla="*/ 87084 w 957464"/>
                <a:gd name="connsiteY1202" fmla="*/ 387271 h 803310"/>
                <a:gd name="connsiteX1203" fmla="*/ 82937 w 957464"/>
                <a:gd name="connsiteY1203" fmla="*/ 382318 h 803310"/>
                <a:gd name="connsiteX1204" fmla="*/ 77984 w 957464"/>
                <a:gd name="connsiteY1204" fmla="*/ 378286 h 803310"/>
                <a:gd name="connsiteX1205" fmla="*/ 72800 w 957464"/>
                <a:gd name="connsiteY1205" fmla="*/ 374600 h 803310"/>
                <a:gd name="connsiteX1206" fmla="*/ 64276 w 957464"/>
                <a:gd name="connsiteY1206" fmla="*/ 369531 h 803310"/>
                <a:gd name="connsiteX1207" fmla="*/ 55176 w 957464"/>
                <a:gd name="connsiteY1207" fmla="*/ 364463 h 803310"/>
                <a:gd name="connsiteX1208" fmla="*/ 46076 w 957464"/>
                <a:gd name="connsiteY1208" fmla="*/ 359510 h 803310"/>
                <a:gd name="connsiteX1209" fmla="*/ 37322 w 957464"/>
                <a:gd name="connsiteY1209" fmla="*/ 354672 h 803310"/>
                <a:gd name="connsiteX1210" fmla="*/ 33636 w 957464"/>
                <a:gd name="connsiteY1210" fmla="*/ 352598 h 803310"/>
                <a:gd name="connsiteX1211" fmla="*/ 30295 w 957464"/>
                <a:gd name="connsiteY1211" fmla="*/ 350640 h 803310"/>
                <a:gd name="connsiteX1212" fmla="*/ 27415 w 957464"/>
                <a:gd name="connsiteY1212" fmla="*/ 348797 h 803310"/>
                <a:gd name="connsiteX1213" fmla="*/ 25112 w 957464"/>
                <a:gd name="connsiteY1213" fmla="*/ 347069 h 803310"/>
                <a:gd name="connsiteX1214" fmla="*/ 29489 w 957464"/>
                <a:gd name="connsiteY1214" fmla="*/ 345457 h 803310"/>
                <a:gd name="connsiteX1215" fmla="*/ 35594 w 957464"/>
                <a:gd name="connsiteY1215" fmla="*/ 343614 h 803310"/>
                <a:gd name="connsiteX1216" fmla="*/ 42851 w 957464"/>
                <a:gd name="connsiteY1216" fmla="*/ 341886 h 803310"/>
                <a:gd name="connsiteX1217" fmla="*/ 50569 w 957464"/>
                <a:gd name="connsiteY1217" fmla="*/ 340273 h 803310"/>
                <a:gd name="connsiteX1218" fmla="*/ 60705 w 957464"/>
                <a:gd name="connsiteY1218" fmla="*/ 337739 h 803310"/>
                <a:gd name="connsiteX1219" fmla="*/ 70266 w 957464"/>
                <a:gd name="connsiteY1219" fmla="*/ 335205 h 803310"/>
                <a:gd name="connsiteX1220" fmla="*/ 78099 w 957464"/>
                <a:gd name="connsiteY1220" fmla="*/ 330827 h 803310"/>
                <a:gd name="connsiteX1221" fmla="*/ 83168 w 957464"/>
                <a:gd name="connsiteY1221" fmla="*/ 322879 h 803310"/>
                <a:gd name="connsiteX1222" fmla="*/ 83168 w 957464"/>
                <a:gd name="connsiteY1222" fmla="*/ 321843 h 803310"/>
                <a:gd name="connsiteX1223" fmla="*/ 81555 w 957464"/>
                <a:gd name="connsiteY1223" fmla="*/ 315392 h 803310"/>
                <a:gd name="connsiteX1224" fmla="*/ 78330 w 957464"/>
                <a:gd name="connsiteY1224" fmla="*/ 310093 h 803310"/>
                <a:gd name="connsiteX1225" fmla="*/ 74068 w 957464"/>
                <a:gd name="connsiteY1225" fmla="*/ 305601 h 803310"/>
                <a:gd name="connsiteX1226" fmla="*/ 69460 w 957464"/>
                <a:gd name="connsiteY1226" fmla="*/ 301454 h 803310"/>
                <a:gd name="connsiteX1227" fmla="*/ 61857 w 957464"/>
                <a:gd name="connsiteY1227" fmla="*/ 295464 h 803310"/>
                <a:gd name="connsiteX1228" fmla="*/ 53679 w 957464"/>
                <a:gd name="connsiteY1228" fmla="*/ 289474 h 803310"/>
                <a:gd name="connsiteX1229" fmla="*/ 45385 w 957464"/>
                <a:gd name="connsiteY1229" fmla="*/ 283599 h 803310"/>
                <a:gd name="connsiteX1230" fmla="*/ 37552 w 957464"/>
                <a:gd name="connsiteY1230" fmla="*/ 277955 h 803310"/>
                <a:gd name="connsiteX1231" fmla="*/ 33981 w 957464"/>
                <a:gd name="connsiteY1231" fmla="*/ 275306 h 803310"/>
                <a:gd name="connsiteX1232" fmla="*/ 30871 w 957464"/>
                <a:gd name="connsiteY1232" fmla="*/ 272887 h 803310"/>
                <a:gd name="connsiteX1233" fmla="*/ 28222 w 957464"/>
                <a:gd name="connsiteY1233" fmla="*/ 270698 h 803310"/>
                <a:gd name="connsiteX1234" fmla="*/ 26263 w 957464"/>
                <a:gd name="connsiteY1234" fmla="*/ 268740 h 803310"/>
                <a:gd name="connsiteX1235" fmla="*/ 32023 w 957464"/>
                <a:gd name="connsiteY1235" fmla="*/ 267818 h 803310"/>
                <a:gd name="connsiteX1236" fmla="*/ 39971 w 957464"/>
                <a:gd name="connsiteY1236" fmla="*/ 267242 h 803310"/>
                <a:gd name="connsiteX1237" fmla="*/ 49302 w 957464"/>
                <a:gd name="connsiteY1237" fmla="*/ 266897 h 803310"/>
                <a:gd name="connsiteX1238" fmla="*/ 58978 w 957464"/>
                <a:gd name="connsiteY1238" fmla="*/ 266551 h 803310"/>
                <a:gd name="connsiteX1239" fmla="*/ 68423 w 957464"/>
                <a:gd name="connsiteY1239" fmla="*/ 265860 h 803310"/>
                <a:gd name="connsiteX1240" fmla="*/ 77408 w 957464"/>
                <a:gd name="connsiteY1240" fmla="*/ 264823 h 803310"/>
                <a:gd name="connsiteX1241" fmla="*/ 85011 w 957464"/>
                <a:gd name="connsiteY1241" fmla="*/ 261828 h 803310"/>
                <a:gd name="connsiteX1242" fmla="*/ 90425 w 957464"/>
                <a:gd name="connsiteY1242" fmla="*/ 255262 h 803310"/>
                <a:gd name="connsiteX1243" fmla="*/ 90770 w 957464"/>
                <a:gd name="connsiteY1243" fmla="*/ 254571 h 803310"/>
                <a:gd name="connsiteX1244" fmla="*/ 90770 w 957464"/>
                <a:gd name="connsiteY1244" fmla="*/ 253765 h 803310"/>
                <a:gd name="connsiteX1245" fmla="*/ 89733 w 957464"/>
                <a:gd name="connsiteY1245" fmla="*/ 248236 h 803310"/>
                <a:gd name="connsiteX1246" fmla="*/ 87430 w 957464"/>
                <a:gd name="connsiteY1246" fmla="*/ 243283 h 803310"/>
                <a:gd name="connsiteX1247" fmla="*/ 84089 w 957464"/>
                <a:gd name="connsiteY1247" fmla="*/ 238790 h 803310"/>
                <a:gd name="connsiteX1248" fmla="*/ 80403 w 957464"/>
                <a:gd name="connsiteY1248" fmla="*/ 234528 h 803310"/>
                <a:gd name="connsiteX1249" fmla="*/ 74183 w 957464"/>
                <a:gd name="connsiteY1249" fmla="*/ 228077 h 803310"/>
                <a:gd name="connsiteX1250" fmla="*/ 67271 w 957464"/>
                <a:gd name="connsiteY1250" fmla="*/ 221627 h 803310"/>
                <a:gd name="connsiteX1251" fmla="*/ 60245 w 957464"/>
                <a:gd name="connsiteY1251" fmla="*/ 215176 h 803310"/>
                <a:gd name="connsiteX1252" fmla="*/ 53679 w 957464"/>
                <a:gd name="connsiteY1252" fmla="*/ 209071 h 803310"/>
                <a:gd name="connsiteX1253" fmla="*/ 50684 w 957464"/>
                <a:gd name="connsiteY1253" fmla="*/ 206191 h 803310"/>
                <a:gd name="connsiteX1254" fmla="*/ 48034 w 957464"/>
                <a:gd name="connsiteY1254" fmla="*/ 203542 h 803310"/>
                <a:gd name="connsiteX1255" fmla="*/ 45731 w 957464"/>
                <a:gd name="connsiteY1255" fmla="*/ 201123 h 803310"/>
                <a:gd name="connsiteX1256" fmla="*/ 44003 w 957464"/>
                <a:gd name="connsiteY1256" fmla="*/ 199049 h 803310"/>
                <a:gd name="connsiteX1257" fmla="*/ 43657 w 957464"/>
                <a:gd name="connsiteY1257" fmla="*/ 198589 h 803310"/>
                <a:gd name="connsiteX1258" fmla="*/ 49762 w 957464"/>
                <a:gd name="connsiteY1258" fmla="*/ 198704 h 803310"/>
                <a:gd name="connsiteX1259" fmla="*/ 57941 w 957464"/>
                <a:gd name="connsiteY1259" fmla="*/ 199395 h 803310"/>
                <a:gd name="connsiteX1260" fmla="*/ 67386 w 957464"/>
                <a:gd name="connsiteY1260" fmla="*/ 200432 h 803310"/>
                <a:gd name="connsiteX1261" fmla="*/ 77062 w 957464"/>
                <a:gd name="connsiteY1261" fmla="*/ 201699 h 803310"/>
                <a:gd name="connsiteX1262" fmla="*/ 86854 w 957464"/>
                <a:gd name="connsiteY1262" fmla="*/ 202505 h 803310"/>
                <a:gd name="connsiteX1263" fmla="*/ 96184 w 957464"/>
                <a:gd name="connsiteY1263" fmla="*/ 203081 h 803310"/>
                <a:gd name="connsiteX1264" fmla="*/ 104478 w 957464"/>
                <a:gd name="connsiteY1264" fmla="*/ 201699 h 803310"/>
                <a:gd name="connsiteX1265" fmla="*/ 111274 w 957464"/>
                <a:gd name="connsiteY1265" fmla="*/ 196630 h 803310"/>
                <a:gd name="connsiteX1266" fmla="*/ 112196 w 957464"/>
                <a:gd name="connsiteY1266" fmla="*/ 193635 h 803310"/>
                <a:gd name="connsiteX1267" fmla="*/ 109892 w 957464"/>
                <a:gd name="connsiteY1267" fmla="*/ 184190 h 803310"/>
                <a:gd name="connsiteX1268" fmla="*/ 104593 w 957464"/>
                <a:gd name="connsiteY1268" fmla="*/ 175435 h 803310"/>
                <a:gd name="connsiteX1269" fmla="*/ 97682 w 957464"/>
                <a:gd name="connsiteY1269" fmla="*/ 166911 h 803310"/>
                <a:gd name="connsiteX1270" fmla="*/ 90309 w 957464"/>
                <a:gd name="connsiteY1270" fmla="*/ 158041 h 803310"/>
                <a:gd name="connsiteX1271" fmla="*/ 86623 w 957464"/>
                <a:gd name="connsiteY1271" fmla="*/ 153779 h 803310"/>
                <a:gd name="connsiteX1272" fmla="*/ 83168 w 957464"/>
                <a:gd name="connsiteY1272" fmla="*/ 149748 h 803310"/>
                <a:gd name="connsiteX1273" fmla="*/ 80057 w 957464"/>
                <a:gd name="connsiteY1273" fmla="*/ 145831 h 803310"/>
                <a:gd name="connsiteX1274" fmla="*/ 77408 w 957464"/>
                <a:gd name="connsiteY1274" fmla="*/ 142376 h 803310"/>
                <a:gd name="connsiteX1275" fmla="*/ 74874 w 957464"/>
                <a:gd name="connsiteY1275" fmla="*/ 138574 h 803310"/>
                <a:gd name="connsiteX1276" fmla="*/ 80979 w 957464"/>
                <a:gd name="connsiteY1276" fmla="*/ 139496 h 803310"/>
                <a:gd name="connsiteX1277" fmla="*/ 89042 w 957464"/>
                <a:gd name="connsiteY1277" fmla="*/ 141454 h 803310"/>
                <a:gd name="connsiteX1278" fmla="*/ 98258 w 957464"/>
                <a:gd name="connsiteY1278" fmla="*/ 143873 h 803310"/>
                <a:gd name="connsiteX1279" fmla="*/ 107818 w 957464"/>
                <a:gd name="connsiteY1279" fmla="*/ 146407 h 803310"/>
                <a:gd name="connsiteX1280" fmla="*/ 117610 w 957464"/>
                <a:gd name="connsiteY1280" fmla="*/ 148711 h 803310"/>
                <a:gd name="connsiteX1281" fmla="*/ 126940 w 957464"/>
                <a:gd name="connsiteY1281" fmla="*/ 150669 h 803310"/>
                <a:gd name="connsiteX1282" fmla="*/ 135579 w 957464"/>
                <a:gd name="connsiteY1282" fmla="*/ 150669 h 803310"/>
                <a:gd name="connsiteX1283" fmla="*/ 143412 w 957464"/>
                <a:gd name="connsiteY1283" fmla="*/ 147214 h 803310"/>
                <a:gd name="connsiteX1284" fmla="*/ 144103 w 957464"/>
                <a:gd name="connsiteY1284" fmla="*/ 146062 h 803310"/>
                <a:gd name="connsiteX1285" fmla="*/ 144679 w 957464"/>
                <a:gd name="connsiteY1285" fmla="*/ 144910 h 803310"/>
                <a:gd name="connsiteX1286" fmla="*/ 145140 w 957464"/>
                <a:gd name="connsiteY1286" fmla="*/ 143758 h 803310"/>
                <a:gd name="connsiteX1287" fmla="*/ 145371 w 957464"/>
                <a:gd name="connsiteY1287" fmla="*/ 142491 h 803310"/>
                <a:gd name="connsiteX1288" fmla="*/ 143873 w 957464"/>
                <a:gd name="connsiteY1288" fmla="*/ 134312 h 803310"/>
                <a:gd name="connsiteX1289" fmla="*/ 140187 w 957464"/>
                <a:gd name="connsiteY1289" fmla="*/ 126249 h 803310"/>
                <a:gd name="connsiteX1290" fmla="*/ 135234 w 957464"/>
                <a:gd name="connsiteY1290" fmla="*/ 118070 h 803310"/>
                <a:gd name="connsiteX1291" fmla="*/ 129935 w 957464"/>
                <a:gd name="connsiteY1291" fmla="*/ 109661 h 803310"/>
                <a:gd name="connsiteX1292" fmla="*/ 126018 w 957464"/>
                <a:gd name="connsiteY1292" fmla="*/ 103787 h 803310"/>
                <a:gd name="connsiteX1293" fmla="*/ 122678 w 957464"/>
                <a:gd name="connsiteY1293" fmla="*/ 98258 h 803310"/>
                <a:gd name="connsiteX1294" fmla="*/ 120029 w 957464"/>
                <a:gd name="connsiteY1294" fmla="*/ 93420 h 803310"/>
                <a:gd name="connsiteX1295" fmla="*/ 118301 w 957464"/>
                <a:gd name="connsiteY1295" fmla="*/ 89849 h 803310"/>
                <a:gd name="connsiteX1296" fmla="*/ 119683 w 957464"/>
                <a:gd name="connsiteY1296" fmla="*/ 90194 h 803310"/>
                <a:gd name="connsiteX1297" fmla="*/ 121180 w 957464"/>
                <a:gd name="connsiteY1297" fmla="*/ 90655 h 803310"/>
                <a:gd name="connsiteX1298" fmla="*/ 122908 w 957464"/>
                <a:gd name="connsiteY1298" fmla="*/ 91116 h 803310"/>
                <a:gd name="connsiteX1299" fmla="*/ 124751 w 957464"/>
                <a:gd name="connsiteY1299" fmla="*/ 91692 h 803310"/>
                <a:gd name="connsiteX1300" fmla="*/ 125212 w 957464"/>
                <a:gd name="connsiteY1300" fmla="*/ 91807 h 803310"/>
                <a:gd name="connsiteX1301" fmla="*/ 125673 w 957464"/>
                <a:gd name="connsiteY1301" fmla="*/ 91922 h 803310"/>
                <a:gd name="connsiteX1302" fmla="*/ 126134 w 957464"/>
                <a:gd name="connsiteY1302" fmla="*/ 92152 h 803310"/>
                <a:gd name="connsiteX1303" fmla="*/ 126594 w 957464"/>
                <a:gd name="connsiteY1303" fmla="*/ 92268 h 803310"/>
                <a:gd name="connsiteX1304" fmla="*/ 134197 w 957464"/>
                <a:gd name="connsiteY1304" fmla="*/ 95263 h 803310"/>
                <a:gd name="connsiteX1305" fmla="*/ 142376 w 957464"/>
                <a:gd name="connsiteY1305" fmla="*/ 98718 h 803310"/>
                <a:gd name="connsiteX1306" fmla="*/ 150784 w 957464"/>
                <a:gd name="connsiteY1306" fmla="*/ 102289 h 803310"/>
                <a:gd name="connsiteX1307" fmla="*/ 159193 w 957464"/>
                <a:gd name="connsiteY1307" fmla="*/ 105630 h 803310"/>
                <a:gd name="connsiteX1308" fmla="*/ 165990 w 957464"/>
                <a:gd name="connsiteY1308" fmla="*/ 107934 h 803310"/>
                <a:gd name="connsiteX1309" fmla="*/ 172786 w 957464"/>
                <a:gd name="connsiteY1309" fmla="*/ 109777 h 803310"/>
                <a:gd name="connsiteX1310" fmla="*/ 179352 w 957464"/>
                <a:gd name="connsiteY1310" fmla="*/ 110353 h 803310"/>
                <a:gd name="connsiteX1311" fmla="*/ 185802 w 957464"/>
                <a:gd name="connsiteY1311" fmla="*/ 108394 h 803310"/>
                <a:gd name="connsiteX1312" fmla="*/ 187300 w 957464"/>
                <a:gd name="connsiteY1312" fmla="*/ 107012 h 803310"/>
                <a:gd name="connsiteX1313" fmla="*/ 188337 w 957464"/>
                <a:gd name="connsiteY1313" fmla="*/ 105399 h 803310"/>
                <a:gd name="connsiteX1314" fmla="*/ 188913 w 957464"/>
                <a:gd name="connsiteY1314" fmla="*/ 103787 h 803310"/>
                <a:gd name="connsiteX1315" fmla="*/ 189143 w 957464"/>
                <a:gd name="connsiteY1315" fmla="*/ 102174 h 803310"/>
                <a:gd name="connsiteX1316" fmla="*/ 188337 w 957464"/>
                <a:gd name="connsiteY1316" fmla="*/ 95263 h 803310"/>
                <a:gd name="connsiteX1317" fmla="*/ 186148 w 957464"/>
                <a:gd name="connsiteY1317" fmla="*/ 88121 h 803310"/>
                <a:gd name="connsiteX1318" fmla="*/ 182923 w 957464"/>
                <a:gd name="connsiteY1318" fmla="*/ 80633 h 803310"/>
                <a:gd name="connsiteX1319" fmla="*/ 179467 w 957464"/>
                <a:gd name="connsiteY1319" fmla="*/ 73031 h 803310"/>
                <a:gd name="connsiteX1320" fmla="*/ 176702 w 957464"/>
                <a:gd name="connsiteY1320" fmla="*/ 67156 h 803310"/>
                <a:gd name="connsiteX1321" fmla="*/ 174283 w 957464"/>
                <a:gd name="connsiteY1321" fmla="*/ 61742 h 803310"/>
                <a:gd name="connsiteX1322" fmla="*/ 172555 w 957464"/>
                <a:gd name="connsiteY1322" fmla="*/ 57019 h 803310"/>
                <a:gd name="connsiteX1323" fmla="*/ 171519 w 957464"/>
                <a:gd name="connsiteY1323" fmla="*/ 53564 h 803310"/>
                <a:gd name="connsiteX1324" fmla="*/ 171749 w 957464"/>
                <a:gd name="connsiteY1324" fmla="*/ 53564 h 803310"/>
                <a:gd name="connsiteX1325" fmla="*/ 171864 w 957464"/>
                <a:gd name="connsiteY1325" fmla="*/ 53564 h 803310"/>
                <a:gd name="connsiteX1326" fmla="*/ 171980 w 957464"/>
                <a:gd name="connsiteY1326" fmla="*/ 53564 h 803310"/>
                <a:gd name="connsiteX1327" fmla="*/ 172095 w 957464"/>
                <a:gd name="connsiteY1327" fmla="*/ 53564 h 803310"/>
                <a:gd name="connsiteX1328" fmla="*/ 181771 w 957464"/>
                <a:gd name="connsiteY1328" fmla="*/ 58286 h 803310"/>
                <a:gd name="connsiteX1329" fmla="*/ 194211 w 957464"/>
                <a:gd name="connsiteY1329" fmla="*/ 65198 h 803310"/>
                <a:gd name="connsiteX1330" fmla="*/ 207573 w 957464"/>
                <a:gd name="connsiteY1330" fmla="*/ 72570 h 803310"/>
                <a:gd name="connsiteX1331" fmla="*/ 220244 w 957464"/>
                <a:gd name="connsiteY1331" fmla="*/ 78560 h 803310"/>
                <a:gd name="connsiteX1332" fmla="*/ 224046 w 957464"/>
                <a:gd name="connsiteY1332" fmla="*/ 79942 h 803310"/>
                <a:gd name="connsiteX1333" fmla="*/ 227962 w 957464"/>
                <a:gd name="connsiteY1333" fmla="*/ 80864 h 803310"/>
                <a:gd name="connsiteX1334" fmla="*/ 231994 w 957464"/>
                <a:gd name="connsiteY1334" fmla="*/ 81094 h 803310"/>
                <a:gd name="connsiteX1335" fmla="*/ 236025 w 957464"/>
                <a:gd name="connsiteY1335" fmla="*/ 80288 h 803310"/>
                <a:gd name="connsiteX1336" fmla="*/ 238444 w 957464"/>
                <a:gd name="connsiteY1336" fmla="*/ 78560 h 803310"/>
                <a:gd name="connsiteX1337" fmla="*/ 239942 w 957464"/>
                <a:gd name="connsiteY1337" fmla="*/ 76487 h 803310"/>
                <a:gd name="connsiteX1338" fmla="*/ 240748 w 957464"/>
                <a:gd name="connsiteY1338" fmla="*/ 74298 h 803310"/>
                <a:gd name="connsiteX1339" fmla="*/ 240979 w 957464"/>
                <a:gd name="connsiteY1339" fmla="*/ 72109 h 803310"/>
                <a:gd name="connsiteX1340" fmla="*/ 239712 w 957464"/>
                <a:gd name="connsiteY1340" fmla="*/ 61051 h 803310"/>
                <a:gd name="connsiteX1341" fmla="*/ 236486 w 957464"/>
                <a:gd name="connsiteY1341" fmla="*/ 48610 h 803310"/>
                <a:gd name="connsiteX1342" fmla="*/ 233261 w 957464"/>
                <a:gd name="connsiteY1342" fmla="*/ 37207 h 803310"/>
                <a:gd name="connsiteX1343" fmla="*/ 231879 w 957464"/>
                <a:gd name="connsiteY1343" fmla="*/ 29143 h 803310"/>
                <a:gd name="connsiteX1344" fmla="*/ 241324 w 957464"/>
                <a:gd name="connsiteY1344" fmla="*/ 35248 h 803310"/>
                <a:gd name="connsiteX1345" fmla="*/ 253995 w 957464"/>
                <a:gd name="connsiteY1345" fmla="*/ 44464 h 803310"/>
                <a:gd name="connsiteX1346" fmla="*/ 267933 w 957464"/>
                <a:gd name="connsiteY1346" fmla="*/ 54140 h 803310"/>
                <a:gd name="connsiteX1347" fmla="*/ 281295 w 957464"/>
                <a:gd name="connsiteY1347" fmla="*/ 61627 h 803310"/>
                <a:gd name="connsiteX1348" fmla="*/ 283830 w 957464"/>
                <a:gd name="connsiteY1348" fmla="*/ 62548 h 803310"/>
                <a:gd name="connsiteX1349" fmla="*/ 286479 w 957464"/>
                <a:gd name="connsiteY1349" fmla="*/ 63240 h 803310"/>
                <a:gd name="connsiteX1350" fmla="*/ 289244 w 957464"/>
                <a:gd name="connsiteY1350" fmla="*/ 63585 h 803310"/>
                <a:gd name="connsiteX1351" fmla="*/ 292123 w 957464"/>
                <a:gd name="connsiteY1351" fmla="*/ 63355 h 803310"/>
                <a:gd name="connsiteX1352" fmla="*/ 296040 w 957464"/>
                <a:gd name="connsiteY1352" fmla="*/ 61397 h 803310"/>
                <a:gd name="connsiteX1353" fmla="*/ 298113 w 957464"/>
                <a:gd name="connsiteY1353" fmla="*/ 58632 h 803310"/>
                <a:gd name="connsiteX1354" fmla="*/ 299035 w 957464"/>
                <a:gd name="connsiteY1354" fmla="*/ 55407 h 803310"/>
                <a:gd name="connsiteX1355" fmla="*/ 299496 w 957464"/>
                <a:gd name="connsiteY1355" fmla="*/ 51951 h 803310"/>
                <a:gd name="connsiteX1356" fmla="*/ 299265 w 957464"/>
                <a:gd name="connsiteY1356" fmla="*/ 43542 h 803310"/>
                <a:gd name="connsiteX1357" fmla="*/ 298344 w 957464"/>
                <a:gd name="connsiteY1357" fmla="*/ 34557 h 803310"/>
                <a:gd name="connsiteX1358" fmla="*/ 297422 w 957464"/>
                <a:gd name="connsiteY1358" fmla="*/ 26148 h 803310"/>
                <a:gd name="connsiteX1359" fmla="*/ 297307 w 957464"/>
                <a:gd name="connsiteY1359" fmla="*/ 19467 h 803310"/>
                <a:gd name="connsiteX1360" fmla="*/ 297307 w 957464"/>
                <a:gd name="connsiteY1360" fmla="*/ 17624 h 803310"/>
                <a:gd name="connsiteX1361" fmla="*/ 300878 w 957464"/>
                <a:gd name="connsiteY1361" fmla="*/ 20274 h 80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</a:cxnLst>
              <a:rect l="l" t="t" r="r" b="b"/>
              <a:pathLst>
                <a:path w="957464" h="803310">
                  <a:moveTo>
                    <a:pt x="300302" y="18430"/>
                  </a:moveTo>
                  <a:cubicBezTo>
                    <a:pt x="301569" y="19467"/>
                    <a:pt x="303182" y="20734"/>
                    <a:pt x="304679" y="22117"/>
                  </a:cubicBezTo>
                  <a:cubicBezTo>
                    <a:pt x="306292" y="23499"/>
                    <a:pt x="308020" y="24996"/>
                    <a:pt x="309747" y="26494"/>
                  </a:cubicBezTo>
                  <a:cubicBezTo>
                    <a:pt x="311475" y="27991"/>
                    <a:pt x="313203" y="29604"/>
                    <a:pt x="314931" y="31217"/>
                  </a:cubicBezTo>
                  <a:cubicBezTo>
                    <a:pt x="317350" y="33405"/>
                    <a:pt x="319769" y="35594"/>
                    <a:pt x="322188" y="37667"/>
                  </a:cubicBezTo>
                  <a:cubicBezTo>
                    <a:pt x="324492" y="39741"/>
                    <a:pt x="326911" y="41929"/>
                    <a:pt x="329215" y="43772"/>
                  </a:cubicBezTo>
                  <a:cubicBezTo>
                    <a:pt x="331518" y="45731"/>
                    <a:pt x="333937" y="47574"/>
                    <a:pt x="336472" y="49186"/>
                  </a:cubicBezTo>
                  <a:cubicBezTo>
                    <a:pt x="338891" y="50799"/>
                    <a:pt x="341540" y="52297"/>
                    <a:pt x="344420" y="53564"/>
                  </a:cubicBezTo>
                  <a:cubicBezTo>
                    <a:pt x="344881" y="53794"/>
                    <a:pt x="345457" y="53909"/>
                    <a:pt x="346032" y="54140"/>
                  </a:cubicBezTo>
                  <a:cubicBezTo>
                    <a:pt x="346608" y="54370"/>
                    <a:pt x="347184" y="54600"/>
                    <a:pt x="347876" y="54716"/>
                  </a:cubicBezTo>
                  <a:cubicBezTo>
                    <a:pt x="348452" y="54831"/>
                    <a:pt x="349027" y="54946"/>
                    <a:pt x="349719" y="55061"/>
                  </a:cubicBezTo>
                  <a:cubicBezTo>
                    <a:pt x="350295" y="55061"/>
                    <a:pt x="350986" y="55176"/>
                    <a:pt x="351677" y="55176"/>
                  </a:cubicBezTo>
                  <a:cubicBezTo>
                    <a:pt x="353635" y="54946"/>
                    <a:pt x="355133" y="54485"/>
                    <a:pt x="356284" y="53909"/>
                  </a:cubicBezTo>
                  <a:cubicBezTo>
                    <a:pt x="357436" y="53218"/>
                    <a:pt x="358358" y="52412"/>
                    <a:pt x="359049" y="51490"/>
                  </a:cubicBezTo>
                  <a:cubicBezTo>
                    <a:pt x="359740" y="50569"/>
                    <a:pt x="360201" y="49532"/>
                    <a:pt x="360547" y="48495"/>
                  </a:cubicBezTo>
                  <a:cubicBezTo>
                    <a:pt x="360892" y="47459"/>
                    <a:pt x="361238" y="46307"/>
                    <a:pt x="361468" y="45270"/>
                  </a:cubicBezTo>
                  <a:cubicBezTo>
                    <a:pt x="361929" y="43542"/>
                    <a:pt x="362159" y="41814"/>
                    <a:pt x="362390" y="39856"/>
                  </a:cubicBezTo>
                  <a:cubicBezTo>
                    <a:pt x="362620" y="38013"/>
                    <a:pt x="362850" y="36055"/>
                    <a:pt x="362966" y="34096"/>
                  </a:cubicBezTo>
                  <a:cubicBezTo>
                    <a:pt x="363081" y="32138"/>
                    <a:pt x="363196" y="30180"/>
                    <a:pt x="363426" y="28337"/>
                  </a:cubicBezTo>
                  <a:cubicBezTo>
                    <a:pt x="363541" y="26494"/>
                    <a:pt x="363657" y="24651"/>
                    <a:pt x="363887" y="23038"/>
                  </a:cubicBezTo>
                  <a:cubicBezTo>
                    <a:pt x="364002" y="22232"/>
                    <a:pt x="364117" y="21425"/>
                    <a:pt x="364233" y="20619"/>
                  </a:cubicBezTo>
                  <a:cubicBezTo>
                    <a:pt x="364348" y="19928"/>
                    <a:pt x="364463" y="19237"/>
                    <a:pt x="364578" y="18546"/>
                  </a:cubicBezTo>
                  <a:cubicBezTo>
                    <a:pt x="364693" y="17855"/>
                    <a:pt x="364809" y="17279"/>
                    <a:pt x="365039" y="16818"/>
                  </a:cubicBezTo>
                  <a:cubicBezTo>
                    <a:pt x="365154" y="16242"/>
                    <a:pt x="365385" y="15781"/>
                    <a:pt x="365500" y="15436"/>
                  </a:cubicBezTo>
                  <a:cubicBezTo>
                    <a:pt x="366536" y="16357"/>
                    <a:pt x="367804" y="17509"/>
                    <a:pt x="369186" y="19006"/>
                  </a:cubicBezTo>
                  <a:cubicBezTo>
                    <a:pt x="370568" y="20504"/>
                    <a:pt x="372181" y="22117"/>
                    <a:pt x="373793" y="23960"/>
                  </a:cubicBezTo>
                  <a:cubicBezTo>
                    <a:pt x="375406" y="25803"/>
                    <a:pt x="377134" y="27646"/>
                    <a:pt x="378977" y="29604"/>
                  </a:cubicBezTo>
                  <a:cubicBezTo>
                    <a:pt x="380705" y="31562"/>
                    <a:pt x="382548" y="33636"/>
                    <a:pt x="384276" y="35594"/>
                  </a:cubicBezTo>
                  <a:cubicBezTo>
                    <a:pt x="386234" y="37667"/>
                    <a:pt x="388192" y="39856"/>
                    <a:pt x="390035" y="41929"/>
                  </a:cubicBezTo>
                  <a:cubicBezTo>
                    <a:pt x="391878" y="44003"/>
                    <a:pt x="393721" y="45961"/>
                    <a:pt x="395680" y="47919"/>
                  </a:cubicBezTo>
                  <a:cubicBezTo>
                    <a:pt x="397638" y="49878"/>
                    <a:pt x="399711" y="51605"/>
                    <a:pt x="401900" y="53333"/>
                  </a:cubicBezTo>
                  <a:cubicBezTo>
                    <a:pt x="404204" y="54946"/>
                    <a:pt x="406623" y="56443"/>
                    <a:pt x="409387" y="57826"/>
                  </a:cubicBezTo>
                  <a:cubicBezTo>
                    <a:pt x="409733" y="57941"/>
                    <a:pt x="410078" y="58056"/>
                    <a:pt x="410424" y="58171"/>
                  </a:cubicBezTo>
                  <a:cubicBezTo>
                    <a:pt x="410770" y="58286"/>
                    <a:pt x="411115" y="58402"/>
                    <a:pt x="411576" y="58517"/>
                  </a:cubicBezTo>
                  <a:cubicBezTo>
                    <a:pt x="411922" y="58517"/>
                    <a:pt x="412267" y="58747"/>
                    <a:pt x="412728" y="58747"/>
                  </a:cubicBezTo>
                  <a:cubicBezTo>
                    <a:pt x="413073" y="58747"/>
                    <a:pt x="413534" y="58862"/>
                    <a:pt x="413880" y="58978"/>
                  </a:cubicBezTo>
                  <a:cubicBezTo>
                    <a:pt x="415953" y="59093"/>
                    <a:pt x="417566" y="58978"/>
                    <a:pt x="418948" y="58632"/>
                  </a:cubicBezTo>
                  <a:cubicBezTo>
                    <a:pt x="420330" y="58171"/>
                    <a:pt x="421367" y="57710"/>
                    <a:pt x="422173" y="56904"/>
                  </a:cubicBezTo>
                  <a:cubicBezTo>
                    <a:pt x="423095" y="56213"/>
                    <a:pt x="423671" y="55291"/>
                    <a:pt x="424362" y="54485"/>
                  </a:cubicBezTo>
                  <a:cubicBezTo>
                    <a:pt x="424938" y="53564"/>
                    <a:pt x="425399" y="52642"/>
                    <a:pt x="425975" y="51836"/>
                  </a:cubicBezTo>
                  <a:cubicBezTo>
                    <a:pt x="426666" y="50338"/>
                    <a:pt x="427357" y="48841"/>
                    <a:pt x="427933" y="47228"/>
                  </a:cubicBezTo>
                  <a:cubicBezTo>
                    <a:pt x="428509" y="45615"/>
                    <a:pt x="428970" y="43888"/>
                    <a:pt x="429546" y="42275"/>
                  </a:cubicBezTo>
                  <a:cubicBezTo>
                    <a:pt x="430006" y="40547"/>
                    <a:pt x="430467" y="38934"/>
                    <a:pt x="431043" y="37207"/>
                  </a:cubicBezTo>
                  <a:cubicBezTo>
                    <a:pt x="431504" y="35594"/>
                    <a:pt x="432080" y="33981"/>
                    <a:pt x="432541" y="32484"/>
                  </a:cubicBezTo>
                  <a:cubicBezTo>
                    <a:pt x="432771" y="31793"/>
                    <a:pt x="433001" y="31101"/>
                    <a:pt x="433232" y="30410"/>
                  </a:cubicBezTo>
                  <a:cubicBezTo>
                    <a:pt x="433462" y="29719"/>
                    <a:pt x="433808" y="29143"/>
                    <a:pt x="434038" y="28567"/>
                  </a:cubicBezTo>
                  <a:cubicBezTo>
                    <a:pt x="434268" y="27991"/>
                    <a:pt x="434614" y="27531"/>
                    <a:pt x="434844" y="27070"/>
                  </a:cubicBezTo>
                  <a:cubicBezTo>
                    <a:pt x="435075" y="26609"/>
                    <a:pt x="435305" y="26263"/>
                    <a:pt x="435536" y="25918"/>
                  </a:cubicBezTo>
                  <a:cubicBezTo>
                    <a:pt x="436342" y="26724"/>
                    <a:pt x="437263" y="27991"/>
                    <a:pt x="438300" y="29258"/>
                  </a:cubicBezTo>
                  <a:cubicBezTo>
                    <a:pt x="439337" y="30641"/>
                    <a:pt x="440604" y="32253"/>
                    <a:pt x="441871" y="33866"/>
                  </a:cubicBezTo>
                  <a:cubicBezTo>
                    <a:pt x="443138" y="35479"/>
                    <a:pt x="444405" y="37322"/>
                    <a:pt x="445788" y="39165"/>
                  </a:cubicBezTo>
                  <a:cubicBezTo>
                    <a:pt x="447055" y="41008"/>
                    <a:pt x="448322" y="42966"/>
                    <a:pt x="449589" y="44809"/>
                  </a:cubicBezTo>
                  <a:cubicBezTo>
                    <a:pt x="451547" y="47343"/>
                    <a:pt x="453275" y="49878"/>
                    <a:pt x="455003" y="52297"/>
                  </a:cubicBezTo>
                  <a:cubicBezTo>
                    <a:pt x="456731" y="54716"/>
                    <a:pt x="458459" y="57135"/>
                    <a:pt x="460417" y="59438"/>
                  </a:cubicBezTo>
                  <a:cubicBezTo>
                    <a:pt x="462260" y="61742"/>
                    <a:pt x="464333" y="63816"/>
                    <a:pt x="466637" y="65889"/>
                  </a:cubicBezTo>
                  <a:cubicBezTo>
                    <a:pt x="469056" y="67847"/>
                    <a:pt x="471705" y="69805"/>
                    <a:pt x="474931" y="71418"/>
                  </a:cubicBezTo>
                  <a:lnTo>
                    <a:pt x="477004" y="72109"/>
                  </a:lnTo>
                  <a:cubicBezTo>
                    <a:pt x="479078" y="72570"/>
                    <a:pt x="480805" y="72685"/>
                    <a:pt x="482188" y="72570"/>
                  </a:cubicBezTo>
                  <a:cubicBezTo>
                    <a:pt x="483685" y="72570"/>
                    <a:pt x="484837" y="72109"/>
                    <a:pt x="485759" y="71649"/>
                  </a:cubicBezTo>
                  <a:cubicBezTo>
                    <a:pt x="486795" y="71073"/>
                    <a:pt x="487602" y="70497"/>
                    <a:pt x="488293" y="69805"/>
                  </a:cubicBezTo>
                  <a:cubicBezTo>
                    <a:pt x="488984" y="69114"/>
                    <a:pt x="489790" y="68308"/>
                    <a:pt x="490366" y="67617"/>
                  </a:cubicBezTo>
                  <a:cubicBezTo>
                    <a:pt x="491288" y="66465"/>
                    <a:pt x="492325" y="65198"/>
                    <a:pt x="493246" y="63816"/>
                  </a:cubicBezTo>
                  <a:cubicBezTo>
                    <a:pt x="494168" y="62433"/>
                    <a:pt x="494974" y="61051"/>
                    <a:pt x="495780" y="59554"/>
                  </a:cubicBezTo>
                  <a:cubicBezTo>
                    <a:pt x="496587" y="58171"/>
                    <a:pt x="497393" y="56674"/>
                    <a:pt x="498199" y="55291"/>
                  </a:cubicBezTo>
                  <a:cubicBezTo>
                    <a:pt x="499006" y="53909"/>
                    <a:pt x="499697" y="52642"/>
                    <a:pt x="500503" y="51375"/>
                  </a:cubicBezTo>
                  <a:cubicBezTo>
                    <a:pt x="500964" y="50799"/>
                    <a:pt x="501309" y="50223"/>
                    <a:pt x="501655" y="49647"/>
                  </a:cubicBezTo>
                  <a:cubicBezTo>
                    <a:pt x="502001" y="49071"/>
                    <a:pt x="502346" y="48610"/>
                    <a:pt x="502807" y="48150"/>
                  </a:cubicBezTo>
                  <a:cubicBezTo>
                    <a:pt x="503152" y="47689"/>
                    <a:pt x="503498" y="47343"/>
                    <a:pt x="503844" y="46998"/>
                  </a:cubicBezTo>
                  <a:cubicBezTo>
                    <a:pt x="504189" y="46652"/>
                    <a:pt x="504535" y="46422"/>
                    <a:pt x="504880" y="46191"/>
                  </a:cubicBezTo>
                  <a:cubicBezTo>
                    <a:pt x="505111" y="46422"/>
                    <a:pt x="505341" y="46767"/>
                    <a:pt x="505571" y="47113"/>
                  </a:cubicBezTo>
                  <a:cubicBezTo>
                    <a:pt x="505802" y="47459"/>
                    <a:pt x="506032" y="47804"/>
                    <a:pt x="506378" y="48150"/>
                  </a:cubicBezTo>
                  <a:cubicBezTo>
                    <a:pt x="506608" y="48610"/>
                    <a:pt x="506954" y="48956"/>
                    <a:pt x="507184" y="49417"/>
                  </a:cubicBezTo>
                  <a:cubicBezTo>
                    <a:pt x="507530" y="49878"/>
                    <a:pt x="507760" y="50338"/>
                    <a:pt x="508106" y="50914"/>
                  </a:cubicBezTo>
                  <a:cubicBezTo>
                    <a:pt x="509027" y="52412"/>
                    <a:pt x="509949" y="54140"/>
                    <a:pt x="510985" y="55867"/>
                  </a:cubicBezTo>
                  <a:cubicBezTo>
                    <a:pt x="512022" y="57595"/>
                    <a:pt x="512944" y="59554"/>
                    <a:pt x="513980" y="61512"/>
                  </a:cubicBezTo>
                  <a:cubicBezTo>
                    <a:pt x="515017" y="63470"/>
                    <a:pt x="516054" y="65428"/>
                    <a:pt x="517206" y="67386"/>
                  </a:cubicBezTo>
                  <a:cubicBezTo>
                    <a:pt x="518242" y="69345"/>
                    <a:pt x="519394" y="71303"/>
                    <a:pt x="520431" y="73261"/>
                  </a:cubicBezTo>
                  <a:cubicBezTo>
                    <a:pt x="521583" y="75104"/>
                    <a:pt x="522735" y="77063"/>
                    <a:pt x="523887" y="78906"/>
                  </a:cubicBezTo>
                  <a:cubicBezTo>
                    <a:pt x="525039" y="80749"/>
                    <a:pt x="526191" y="82592"/>
                    <a:pt x="527573" y="84320"/>
                  </a:cubicBezTo>
                  <a:cubicBezTo>
                    <a:pt x="528955" y="86047"/>
                    <a:pt x="530453" y="87775"/>
                    <a:pt x="532411" y="89388"/>
                  </a:cubicBezTo>
                  <a:cubicBezTo>
                    <a:pt x="534369" y="91001"/>
                    <a:pt x="536558" y="92498"/>
                    <a:pt x="539322" y="93996"/>
                  </a:cubicBezTo>
                  <a:cubicBezTo>
                    <a:pt x="541281" y="94687"/>
                    <a:pt x="543008" y="95032"/>
                    <a:pt x="544506" y="95147"/>
                  </a:cubicBezTo>
                  <a:cubicBezTo>
                    <a:pt x="546003" y="95147"/>
                    <a:pt x="547270" y="95147"/>
                    <a:pt x="548422" y="94802"/>
                  </a:cubicBezTo>
                  <a:cubicBezTo>
                    <a:pt x="549574" y="94571"/>
                    <a:pt x="550496" y="94111"/>
                    <a:pt x="551417" y="93650"/>
                  </a:cubicBezTo>
                  <a:cubicBezTo>
                    <a:pt x="552339" y="93074"/>
                    <a:pt x="553145" y="92613"/>
                    <a:pt x="553951" y="92037"/>
                  </a:cubicBezTo>
                  <a:cubicBezTo>
                    <a:pt x="555219" y="91231"/>
                    <a:pt x="556371" y="90194"/>
                    <a:pt x="557522" y="89158"/>
                  </a:cubicBezTo>
                  <a:cubicBezTo>
                    <a:pt x="558674" y="88121"/>
                    <a:pt x="559826" y="86969"/>
                    <a:pt x="560863" y="85817"/>
                  </a:cubicBezTo>
                  <a:cubicBezTo>
                    <a:pt x="561900" y="84665"/>
                    <a:pt x="563052" y="83513"/>
                    <a:pt x="563973" y="82361"/>
                  </a:cubicBezTo>
                  <a:cubicBezTo>
                    <a:pt x="565010" y="81209"/>
                    <a:pt x="566047" y="80173"/>
                    <a:pt x="566968" y="79136"/>
                  </a:cubicBezTo>
                  <a:cubicBezTo>
                    <a:pt x="567429" y="78675"/>
                    <a:pt x="568005" y="78214"/>
                    <a:pt x="568466" y="77754"/>
                  </a:cubicBezTo>
                  <a:cubicBezTo>
                    <a:pt x="568926" y="77293"/>
                    <a:pt x="569387" y="76947"/>
                    <a:pt x="569848" y="76487"/>
                  </a:cubicBezTo>
                  <a:cubicBezTo>
                    <a:pt x="570309" y="76141"/>
                    <a:pt x="570654" y="75795"/>
                    <a:pt x="571115" y="75565"/>
                  </a:cubicBezTo>
                  <a:cubicBezTo>
                    <a:pt x="571576" y="75219"/>
                    <a:pt x="571921" y="74989"/>
                    <a:pt x="572267" y="74874"/>
                  </a:cubicBezTo>
                  <a:cubicBezTo>
                    <a:pt x="572958" y="75911"/>
                    <a:pt x="573649" y="77293"/>
                    <a:pt x="574455" y="79021"/>
                  </a:cubicBezTo>
                  <a:cubicBezTo>
                    <a:pt x="575262" y="80749"/>
                    <a:pt x="576068" y="82592"/>
                    <a:pt x="576874" y="84550"/>
                  </a:cubicBezTo>
                  <a:cubicBezTo>
                    <a:pt x="577681" y="86508"/>
                    <a:pt x="578602" y="88697"/>
                    <a:pt x="579409" y="90885"/>
                  </a:cubicBezTo>
                  <a:cubicBezTo>
                    <a:pt x="580215" y="93074"/>
                    <a:pt x="581136" y="95263"/>
                    <a:pt x="581943" y="97451"/>
                  </a:cubicBezTo>
                  <a:cubicBezTo>
                    <a:pt x="582980" y="99755"/>
                    <a:pt x="583901" y="101944"/>
                    <a:pt x="584823" y="104132"/>
                  </a:cubicBezTo>
                  <a:cubicBezTo>
                    <a:pt x="585744" y="106321"/>
                    <a:pt x="586666" y="108510"/>
                    <a:pt x="587818" y="110583"/>
                  </a:cubicBezTo>
                  <a:cubicBezTo>
                    <a:pt x="588969" y="112656"/>
                    <a:pt x="590352" y="114845"/>
                    <a:pt x="592195" y="116803"/>
                  </a:cubicBezTo>
                  <a:cubicBezTo>
                    <a:pt x="594038" y="118877"/>
                    <a:pt x="596342" y="120835"/>
                    <a:pt x="599337" y="122908"/>
                  </a:cubicBezTo>
                  <a:lnTo>
                    <a:pt x="601295" y="123830"/>
                  </a:lnTo>
                  <a:cubicBezTo>
                    <a:pt x="604405" y="124751"/>
                    <a:pt x="607170" y="125097"/>
                    <a:pt x="609358" y="124982"/>
                  </a:cubicBezTo>
                  <a:cubicBezTo>
                    <a:pt x="611662" y="124867"/>
                    <a:pt x="613620" y="124291"/>
                    <a:pt x="615348" y="123484"/>
                  </a:cubicBezTo>
                  <a:cubicBezTo>
                    <a:pt x="617076" y="122678"/>
                    <a:pt x="618804" y="121641"/>
                    <a:pt x="620301" y="120489"/>
                  </a:cubicBezTo>
                  <a:cubicBezTo>
                    <a:pt x="621914" y="119453"/>
                    <a:pt x="623527" y="118301"/>
                    <a:pt x="625485" y="117264"/>
                  </a:cubicBezTo>
                  <a:cubicBezTo>
                    <a:pt x="626291" y="116688"/>
                    <a:pt x="627098" y="116227"/>
                    <a:pt x="627904" y="115651"/>
                  </a:cubicBezTo>
                  <a:cubicBezTo>
                    <a:pt x="628710" y="115075"/>
                    <a:pt x="629517" y="114615"/>
                    <a:pt x="630323" y="114154"/>
                  </a:cubicBezTo>
                  <a:cubicBezTo>
                    <a:pt x="631014" y="113693"/>
                    <a:pt x="631820" y="113232"/>
                    <a:pt x="632511" y="112887"/>
                  </a:cubicBezTo>
                  <a:cubicBezTo>
                    <a:pt x="633203" y="112541"/>
                    <a:pt x="633894" y="112196"/>
                    <a:pt x="634585" y="111850"/>
                  </a:cubicBezTo>
                  <a:lnTo>
                    <a:pt x="636774" y="110929"/>
                  </a:lnTo>
                  <a:cubicBezTo>
                    <a:pt x="637349" y="112080"/>
                    <a:pt x="637810" y="113463"/>
                    <a:pt x="638386" y="115075"/>
                  </a:cubicBezTo>
                  <a:cubicBezTo>
                    <a:pt x="638962" y="116688"/>
                    <a:pt x="639423" y="118416"/>
                    <a:pt x="639884" y="120374"/>
                  </a:cubicBezTo>
                  <a:cubicBezTo>
                    <a:pt x="640344" y="122332"/>
                    <a:pt x="640920" y="124406"/>
                    <a:pt x="641381" y="126479"/>
                  </a:cubicBezTo>
                  <a:cubicBezTo>
                    <a:pt x="641842" y="128553"/>
                    <a:pt x="642303" y="130626"/>
                    <a:pt x="642879" y="132815"/>
                  </a:cubicBezTo>
                  <a:cubicBezTo>
                    <a:pt x="643570" y="135119"/>
                    <a:pt x="644146" y="137192"/>
                    <a:pt x="644722" y="139381"/>
                  </a:cubicBezTo>
                  <a:cubicBezTo>
                    <a:pt x="645298" y="141454"/>
                    <a:pt x="645874" y="143643"/>
                    <a:pt x="646680" y="145716"/>
                  </a:cubicBezTo>
                  <a:cubicBezTo>
                    <a:pt x="647601" y="147790"/>
                    <a:pt x="648638" y="149978"/>
                    <a:pt x="650136" y="152167"/>
                  </a:cubicBezTo>
                  <a:cubicBezTo>
                    <a:pt x="651748" y="154355"/>
                    <a:pt x="653707" y="156544"/>
                    <a:pt x="656471" y="158848"/>
                  </a:cubicBezTo>
                  <a:cubicBezTo>
                    <a:pt x="656817" y="159078"/>
                    <a:pt x="657162" y="159309"/>
                    <a:pt x="657393" y="159424"/>
                  </a:cubicBezTo>
                  <a:cubicBezTo>
                    <a:pt x="657738" y="159654"/>
                    <a:pt x="658084" y="159885"/>
                    <a:pt x="658314" y="160000"/>
                  </a:cubicBezTo>
                  <a:cubicBezTo>
                    <a:pt x="658660" y="160230"/>
                    <a:pt x="659005" y="160345"/>
                    <a:pt x="659236" y="160460"/>
                  </a:cubicBezTo>
                  <a:cubicBezTo>
                    <a:pt x="659466" y="160576"/>
                    <a:pt x="659812" y="160806"/>
                    <a:pt x="660157" y="160921"/>
                  </a:cubicBezTo>
                  <a:cubicBezTo>
                    <a:pt x="662922" y="161843"/>
                    <a:pt x="665226" y="162188"/>
                    <a:pt x="667414" y="162304"/>
                  </a:cubicBezTo>
                  <a:cubicBezTo>
                    <a:pt x="669603" y="162304"/>
                    <a:pt x="671561" y="162188"/>
                    <a:pt x="673404" y="161612"/>
                  </a:cubicBezTo>
                  <a:cubicBezTo>
                    <a:pt x="675247" y="161152"/>
                    <a:pt x="676975" y="160576"/>
                    <a:pt x="678818" y="159885"/>
                  </a:cubicBezTo>
                  <a:cubicBezTo>
                    <a:pt x="680661" y="159193"/>
                    <a:pt x="682389" y="158502"/>
                    <a:pt x="684347" y="157926"/>
                  </a:cubicBezTo>
                  <a:cubicBezTo>
                    <a:pt x="685269" y="157581"/>
                    <a:pt x="686075" y="157235"/>
                    <a:pt x="686997" y="156890"/>
                  </a:cubicBezTo>
                  <a:cubicBezTo>
                    <a:pt x="687918" y="156544"/>
                    <a:pt x="688724" y="156198"/>
                    <a:pt x="689531" y="155968"/>
                  </a:cubicBezTo>
                  <a:cubicBezTo>
                    <a:pt x="690337" y="155622"/>
                    <a:pt x="691143" y="155392"/>
                    <a:pt x="691950" y="155162"/>
                  </a:cubicBezTo>
                  <a:cubicBezTo>
                    <a:pt x="692756" y="154931"/>
                    <a:pt x="693447" y="154701"/>
                    <a:pt x="694138" y="154586"/>
                  </a:cubicBezTo>
                  <a:lnTo>
                    <a:pt x="697133" y="154010"/>
                  </a:lnTo>
                  <a:cubicBezTo>
                    <a:pt x="697479" y="155047"/>
                    <a:pt x="697709" y="156429"/>
                    <a:pt x="697940" y="157926"/>
                  </a:cubicBezTo>
                  <a:cubicBezTo>
                    <a:pt x="698170" y="159539"/>
                    <a:pt x="698400" y="161152"/>
                    <a:pt x="698631" y="162995"/>
                  </a:cubicBezTo>
                  <a:cubicBezTo>
                    <a:pt x="698746" y="164838"/>
                    <a:pt x="698976" y="166681"/>
                    <a:pt x="699092" y="168639"/>
                  </a:cubicBezTo>
                  <a:cubicBezTo>
                    <a:pt x="699207" y="170597"/>
                    <a:pt x="699322" y="172556"/>
                    <a:pt x="699552" y="174514"/>
                  </a:cubicBezTo>
                  <a:cubicBezTo>
                    <a:pt x="699898" y="176702"/>
                    <a:pt x="700128" y="178776"/>
                    <a:pt x="700244" y="180734"/>
                  </a:cubicBezTo>
                  <a:cubicBezTo>
                    <a:pt x="700474" y="182807"/>
                    <a:pt x="700704" y="184766"/>
                    <a:pt x="701165" y="186839"/>
                  </a:cubicBezTo>
                  <a:cubicBezTo>
                    <a:pt x="701626" y="188797"/>
                    <a:pt x="702432" y="190986"/>
                    <a:pt x="703699" y="193175"/>
                  </a:cubicBezTo>
                  <a:cubicBezTo>
                    <a:pt x="704966" y="195363"/>
                    <a:pt x="706579" y="197782"/>
                    <a:pt x="709113" y="200201"/>
                  </a:cubicBezTo>
                  <a:cubicBezTo>
                    <a:pt x="709574" y="200662"/>
                    <a:pt x="710150" y="201008"/>
                    <a:pt x="710611" y="201468"/>
                  </a:cubicBezTo>
                  <a:cubicBezTo>
                    <a:pt x="711071" y="201814"/>
                    <a:pt x="711647" y="202159"/>
                    <a:pt x="712108" y="202390"/>
                  </a:cubicBezTo>
                  <a:cubicBezTo>
                    <a:pt x="712569" y="202735"/>
                    <a:pt x="713030" y="202966"/>
                    <a:pt x="713606" y="203196"/>
                  </a:cubicBezTo>
                  <a:cubicBezTo>
                    <a:pt x="714066" y="203427"/>
                    <a:pt x="714527" y="203657"/>
                    <a:pt x="714988" y="203772"/>
                  </a:cubicBezTo>
                  <a:cubicBezTo>
                    <a:pt x="717292" y="204578"/>
                    <a:pt x="719365" y="205039"/>
                    <a:pt x="721439" y="205270"/>
                  </a:cubicBezTo>
                  <a:cubicBezTo>
                    <a:pt x="723512" y="205500"/>
                    <a:pt x="725355" y="205500"/>
                    <a:pt x="727313" y="205385"/>
                  </a:cubicBezTo>
                  <a:cubicBezTo>
                    <a:pt x="729156" y="205270"/>
                    <a:pt x="730999" y="205039"/>
                    <a:pt x="732842" y="204694"/>
                  </a:cubicBezTo>
                  <a:cubicBezTo>
                    <a:pt x="734686" y="204348"/>
                    <a:pt x="736529" y="204003"/>
                    <a:pt x="738487" y="203887"/>
                  </a:cubicBezTo>
                  <a:cubicBezTo>
                    <a:pt x="739754" y="203657"/>
                    <a:pt x="741136" y="203427"/>
                    <a:pt x="742518" y="203196"/>
                  </a:cubicBezTo>
                  <a:cubicBezTo>
                    <a:pt x="743786" y="202966"/>
                    <a:pt x="745168" y="202851"/>
                    <a:pt x="746320" y="202735"/>
                  </a:cubicBezTo>
                  <a:cubicBezTo>
                    <a:pt x="747587" y="202620"/>
                    <a:pt x="748739" y="202620"/>
                    <a:pt x="749775" y="202505"/>
                  </a:cubicBezTo>
                  <a:cubicBezTo>
                    <a:pt x="750812" y="202505"/>
                    <a:pt x="751734" y="202505"/>
                    <a:pt x="752540" y="202505"/>
                  </a:cubicBezTo>
                  <a:lnTo>
                    <a:pt x="752540" y="204118"/>
                  </a:lnTo>
                  <a:cubicBezTo>
                    <a:pt x="752770" y="205846"/>
                    <a:pt x="752770" y="207804"/>
                    <a:pt x="752540" y="209992"/>
                  </a:cubicBezTo>
                  <a:cubicBezTo>
                    <a:pt x="752425" y="212181"/>
                    <a:pt x="752079" y="214485"/>
                    <a:pt x="751849" y="216904"/>
                  </a:cubicBezTo>
                  <a:cubicBezTo>
                    <a:pt x="751619" y="219323"/>
                    <a:pt x="751388" y="221742"/>
                    <a:pt x="751273" y="224276"/>
                  </a:cubicBezTo>
                  <a:cubicBezTo>
                    <a:pt x="751158" y="226810"/>
                    <a:pt x="751158" y="229344"/>
                    <a:pt x="751273" y="231763"/>
                  </a:cubicBezTo>
                  <a:cubicBezTo>
                    <a:pt x="751388" y="232800"/>
                    <a:pt x="751503" y="233837"/>
                    <a:pt x="751619" y="234989"/>
                  </a:cubicBezTo>
                  <a:cubicBezTo>
                    <a:pt x="751734" y="236141"/>
                    <a:pt x="751964" y="237293"/>
                    <a:pt x="752425" y="238445"/>
                  </a:cubicBezTo>
                  <a:cubicBezTo>
                    <a:pt x="752886" y="239712"/>
                    <a:pt x="753346" y="240979"/>
                    <a:pt x="754153" y="242246"/>
                  </a:cubicBezTo>
                  <a:cubicBezTo>
                    <a:pt x="754959" y="243628"/>
                    <a:pt x="755881" y="245010"/>
                    <a:pt x="757263" y="246508"/>
                  </a:cubicBezTo>
                  <a:cubicBezTo>
                    <a:pt x="757954" y="247314"/>
                    <a:pt x="758760" y="248005"/>
                    <a:pt x="759452" y="248581"/>
                  </a:cubicBezTo>
                  <a:cubicBezTo>
                    <a:pt x="760143" y="249157"/>
                    <a:pt x="760949" y="249733"/>
                    <a:pt x="761640" y="250079"/>
                  </a:cubicBezTo>
                  <a:cubicBezTo>
                    <a:pt x="762331" y="250540"/>
                    <a:pt x="763022" y="250885"/>
                    <a:pt x="763713" y="251231"/>
                  </a:cubicBezTo>
                  <a:cubicBezTo>
                    <a:pt x="764405" y="251576"/>
                    <a:pt x="764981" y="251807"/>
                    <a:pt x="765672" y="252037"/>
                  </a:cubicBezTo>
                  <a:cubicBezTo>
                    <a:pt x="768782" y="253189"/>
                    <a:pt x="772238" y="253765"/>
                    <a:pt x="775693" y="254110"/>
                  </a:cubicBezTo>
                  <a:cubicBezTo>
                    <a:pt x="779149" y="254571"/>
                    <a:pt x="782720" y="254686"/>
                    <a:pt x="786060" y="254686"/>
                  </a:cubicBezTo>
                  <a:cubicBezTo>
                    <a:pt x="789401" y="254686"/>
                    <a:pt x="792626" y="254686"/>
                    <a:pt x="795391" y="254802"/>
                  </a:cubicBezTo>
                  <a:cubicBezTo>
                    <a:pt x="798156" y="254917"/>
                    <a:pt x="800575" y="255147"/>
                    <a:pt x="802302" y="255608"/>
                  </a:cubicBezTo>
                  <a:cubicBezTo>
                    <a:pt x="802302" y="257221"/>
                    <a:pt x="801957" y="259294"/>
                    <a:pt x="801381" y="261713"/>
                  </a:cubicBezTo>
                  <a:cubicBezTo>
                    <a:pt x="800805" y="264132"/>
                    <a:pt x="799883" y="266666"/>
                    <a:pt x="799077" y="269431"/>
                  </a:cubicBezTo>
                  <a:cubicBezTo>
                    <a:pt x="798271" y="272195"/>
                    <a:pt x="797464" y="275190"/>
                    <a:pt x="796888" y="278070"/>
                  </a:cubicBezTo>
                  <a:cubicBezTo>
                    <a:pt x="796312" y="281065"/>
                    <a:pt x="795967" y="283945"/>
                    <a:pt x="796082" y="286825"/>
                  </a:cubicBezTo>
                  <a:cubicBezTo>
                    <a:pt x="796082" y="287516"/>
                    <a:pt x="796082" y="288207"/>
                    <a:pt x="796312" y="288898"/>
                  </a:cubicBezTo>
                  <a:cubicBezTo>
                    <a:pt x="796428" y="289704"/>
                    <a:pt x="796658" y="290511"/>
                    <a:pt x="796888" y="291317"/>
                  </a:cubicBezTo>
                  <a:cubicBezTo>
                    <a:pt x="797119" y="292123"/>
                    <a:pt x="797580" y="293045"/>
                    <a:pt x="798040" y="293966"/>
                  </a:cubicBezTo>
                  <a:cubicBezTo>
                    <a:pt x="798501" y="294888"/>
                    <a:pt x="799077" y="295925"/>
                    <a:pt x="799768" y="296961"/>
                  </a:cubicBezTo>
                  <a:cubicBezTo>
                    <a:pt x="800805" y="298113"/>
                    <a:pt x="801842" y="299265"/>
                    <a:pt x="802763" y="300187"/>
                  </a:cubicBezTo>
                  <a:cubicBezTo>
                    <a:pt x="803800" y="301108"/>
                    <a:pt x="804721" y="301799"/>
                    <a:pt x="805758" y="302490"/>
                  </a:cubicBezTo>
                  <a:cubicBezTo>
                    <a:pt x="806680" y="303182"/>
                    <a:pt x="807716" y="303642"/>
                    <a:pt x="808638" y="304103"/>
                  </a:cubicBezTo>
                  <a:cubicBezTo>
                    <a:pt x="809559" y="304564"/>
                    <a:pt x="810481" y="304909"/>
                    <a:pt x="811287" y="305255"/>
                  </a:cubicBezTo>
                  <a:cubicBezTo>
                    <a:pt x="814052" y="306292"/>
                    <a:pt x="817162" y="307098"/>
                    <a:pt x="820272" y="307789"/>
                  </a:cubicBezTo>
                  <a:cubicBezTo>
                    <a:pt x="823382" y="308480"/>
                    <a:pt x="826492" y="308941"/>
                    <a:pt x="829603" y="309517"/>
                  </a:cubicBezTo>
                  <a:cubicBezTo>
                    <a:pt x="832597" y="310093"/>
                    <a:pt x="835592" y="310554"/>
                    <a:pt x="838127" y="311015"/>
                  </a:cubicBezTo>
                  <a:cubicBezTo>
                    <a:pt x="840776" y="311591"/>
                    <a:pt x="843080" y="312167"/>
                    <a:pt x="844923" y="312742"/>
                  </a:cubicBezTo>
                  <a:cubicBezTo>
                    <a:pt x="844923" y="312742"/>
                    <a:pt x="844923" y="312742"/>
                    <a:pt x="844923" y="312742"/>
                  </a:cubicBezTo>
                  <a:cubicBezTo>
                    <a:pt x="844923" y="312742"/>
                    <a:pt x="844923" y="312742"/>
                    <a:pt x="845038" y="312742"/>
                  </a:cubicBezTo>
                  <a:cubicBezTo>
                    <a:pt x="845038" y="312742"/>
                    <a:pt x="845038" y="312742"/>
                    <a:pt x="845153" y="312742"/>
                  </a:cubicBezTo>
                  <a:cubicBezTo>
                    <a:pt x="845153" y="312742"/>
                    <a:pt x="845153" y="312742"/>
                    <a:pt x="845268" y="312742"/>
                  </a:cubicBezTo>
                  <a:cubicBezTo>
                    <a:pt x="845153" y="313318"/>
                    <a:pt x="844923" y="314125"/>
                    <a:pt x="844577" y="315046"/>
                  </a:cubicBezTo>
                  <a:cubicBezTo>
                    <a:pt x="844232" y="315968"/>
                    <a:pt x="843886" y="316889"/>
                    <a:pt x="843425" y="317926"/>
                  </a:cubicBezTo>
                  <a:cubicBezTo>
                    <a:pt x="842965" y="318963"/>
                    <a:pt x="842389" y="319999"/>
                    <a:pt x="841813" y="321151"/>
                  </a:cubicBezTo>
                  <a:cubicBezTo>
                    <a:pt x="841237" y="322303"/>
                    <a:pt x="840661" y="323340"/>
                    <a:pt x="839970" y="324377"/>
                  </a:cubicBezTo>
                  <a:cubicBezTo>
                    <a:pt x="839163" y="325874"/>
                    <a:pt x="838357" y="327256"/>
                    <a:pt x="837551" y="328754"/>
                  </a:cubicBezTo>
                  <a:cubicBezTo>
                    <a:pt x="836744" y="330136"/>
                    <a:pt x="836053" y="331634"/>
                    <a:pt x="835362" y="333131"/>
                  </a:cubicBezTo>
                  <a:cubicBezTo>
                    <a:pt x="834671" y="334629"/>
                    <a:pt x="834210" y="336126"/>
                    <a:pt x="833865" y="337854"/>
                  </a:cubicBezTo>
                  <a:cubicBezTo>
                    <a:pt x="833519" y="339467"/>
                    <a:pt x="833404" y="341310"/>
                    <a:pt x="833519" y="343268"/>
                  </a:cubicBezTo>
                  <a:cubicBezTo>
                    <a:pt x="833519" y="343844"/>
                    <a:pt x="833519" y="344305"/>
                    <a:pt x="833749" y="344881"/>
                  </a:cubicBezTo>
                  <a:cubicBezTo>
                    <a:pt x="833749" y="345457"/>
                    <a:pt x="833980" y="346033"/>
                    <a:pt x="834210" y="346608"/>
                  </a:cubicBezTo>
                  <a:cubicBezTo>
                    <a:pt x="834441" y="347184"/>
                    <a:pt x="834671" y="347876"/>
                    <a:pt x="834901" y="348452"/>
                  </a:cubicBezTo>
                  <a:cubicBezTo>
                    <a:pt x="835247" y="349143"/>
                    <a:pt x="835592" y="349834"/>
                    <a:pt x="835938" y="350525"/>
                  </a:cubicBezTo>
                  <a:cubicBezTo>
                    <a:pt x="837435" y="352714"/>
                    <a:pt x="838933" y="354441"/>
                    <a:pt x="840546" y="355824"/>
                  </a:cubicBezTo>
                  <a:cubicBezTo>
                    <a:pt x="842043" y="357206"/>
                    <a:pt x="843541" y="358243"/>
                    <a:pt x="845153" y="359164"/>
                  </a:cubicBezTo>
                  <a:cubicBezTo>
                    <a:pt x="846651" y="360086"/>
                    <a:pt x="848148" y="360777"/>
                    <a:pt x="849761" y="361353"/>
                  </a:cubicBezTo>
                  <a:cubicBezTo>
                    <a:pt x="851258" y="362044"/>
                    <a:pt x="852871" y="362620"/>
                    <a:pt x="854484" y="363311"/>
                  </a:cubicBezTo>
                  <a:cubicBezTo>
                    <a:pt x="856327" y="364002"/>
                    <a:pt x="858170" y="364578"/>
                    <a:pt x="860128" y="365269"/>
                  </a:cubicBezTo>
                  <a:cubicBezTo>
                    <a:pt x="862086" y="365845"/>
                    <a:pt x="863929" y="366536"/>
                    <a:pt x="865888" y="367112"/>
                  </a:cubicBezTo>
                  <a:cubicBezTo>
                    <a:pt x="867731" y="367688"/>
                    <a:pt x="869574" y="368264"/>
                    <a:pt x="871302" y="368840"/>
                  </a:cubicBezTo>
                  <a:cubicBezTo>
                    <a:pt x="873029" y="369416"/>
                    <a:pt x="874757" y="369992"/>
                    <a:pt x="876255" y="370568"/>
                  </a:cubicBezTo>
                  <a:cubicBezTo>
                    <a:pt x="876831" y="370799"/>
                    <a:pt x="877291" y="371029"/>
                    <a:pt x="877752" y="371144"/>
                  </a:cubicBezTo>
                  <a:cubicBezTo>
                    <a:pt x="878328" y="371374"/>
                    <a:pt x="878789" y="371490"/>
                    <a:pt x="879250" y="371720"/>
                  </a:cubicBezTo>
                  <a:cubicBezTo>
                    <a:pt x="879710" y="371950"/>
                    <a:pt x="880171" y="372181"/>
                    <a:pt x="880517" y="372296"/>
                  </a:cubicBezTo>
                  <a:cubicBezTo>
                    <a:pt x="880862" y="372526"/>
                    <a:pt x="881323" y="372642"/>
                    <a:pt x="881669" y="372872"/>
                  </a:cubicBezTo>
                  <a:cubicBezTo>
                    <a:pt x="881323" y="373333"/>
                    <a:pt x="880978" y="374024"/>
                    <a:pt x="880517" y="374830"/>
                  </a:cubicBezTo>
                  <a:cubicBezTo>
                    <a:pt x="880056" y="375521"/>
                    <a:pt x="879480" y="376443"/>
                    <a:pt x="878789" y="377249"/>
                  </a:cubicBezTo>
                  <a:cubicBezTo>
                    <a:pt x="878213" y="378171"/>
                    <a:pt x="877407" y="379092"/>
                    <a:pt x="876716" y="380014"/>
                  </a:cubicBezTo>
                  <a:cubicBezTo>
                    <a:pt x="875909" y="380935"/>
                    <a:pt x="875103" y="381857"/>
                    <a:pt x="874181" y="382663"/>
                  </a:cubicBezTo>
                  <a:cubicBezTo>
                    <a:pt x="873029" y="384045"/>
                    <a:pt x="871877" y="385428"/>
                    <a:pt x="870726" y="386695"/>
                  </a:cubicBezTo>
                  <a:cubicBezTo>
                    <a:pt x="869574" y="387962"/>
                    <a:pt x="868537" y="389344"/>
                    <a:pt x="867500" y="390726"/>
                  </a:cubicBezTo>
                  <a:cubicBezTo>
                    <a:pt x="866464" y="392109"/>
                    <a:pt x="865772" y="393606"/>
                    <a:pt x="865081" y="395334"/>
                  </a:cubicBezTo>
                  <a:cubicBezTo>
                    <a:pt x="864505" y="397062"/>
                    <a:pt x="864160" y="399020"/>
                    <a:pt x="864160" y="401209"/>
                  </a:cubicBezTo>
                  <a:cubicBezTo>
                    <a:pt x="864160" y="401554"/>
                    <a:pt x="864160" y="402015"/>
                    <a:pt x="864275" y="402361"/>
                  </a:cubicBezTo>
                  <a:cubicBezTo>
                    <a:pt x="864275" y="402706"/>
                    <a:pt x="864390" y="403167"/>
                    <a:pt x="864505" y="403628"/>
                  </a:cubicBezTo>
                  <a:cubicBezTo>
                    <a:pt x="864505" y="403973"/>
                    <a:pt x="864736" y="404434"/>
                    <a:pt x="864966" y="404895"/>
                  </a:cubicBezTo>
                  <a:cubicBezTo>
                    <a:pt x="865196" y="405356"/>
                    <a:pt x="865312" y="405816"/>
                    <a:pt x="865542" y="406277"/>
                  </a:cubicBezTo>
                  <a:cubicBezTo>
                    <a:pt x="866464" y="408120"/>
                    <a:pt x="867500" y="409733"/>
                    <a:pt x="868537" y="411000"/>
                  </a:cubicBezTo>
                  <a:cubicBezTo>
                    <a:pt x="869689" y="412382"/>
                    <a:pt x="870726" y="413419"/>
                    <a:pt x="871993" y="414456"/>
                  </a:cubicBezTo>
                  <a:cubicBezTo>
                    <a:pt x="873145" y="415492"/>
                    <a:pt x="874412" y="416299"/>
                    <a:pt x="875564" y="417105"/>
                  </a:cubicBezTo>
                  <a:cubicBezTo>
                    <a:pt x="876831" y="417911"/>
                    <a:pt x="877983" y="418603"/>
                    <a:pt x="879135" y="419294"/>
                  </a:cubicBezTo>
                  <a:cubicBezTo>
                    <a:pt x="880978" y="420330"/>
                    <a:pt x="882821" y="421367"/>
                    <a:pt x="884779" y="422289"/>
                  </a:cubicBezTo>
                  <a:cubicBezTo>
                    <a:pt x="886737" y="423210"/>
                    <a:pt x="888695" y="424247"/>
                    <a:pt x="890654" y="425168"/>
                  </a:cubicBezTo>
                  <a:cubicBezTo>
                    <a:pt x="892612" y="426090"/>
                    <a:pt x="894570" y="426896"/>
                    <a:pt x="896413" y="427818"/>
                  </a:cubicBezTo>
                  <a:cubicBezTo>
                    <a:pt x="898256" y="428739"/>
                    <a:pt x="900099" y="429546"/>
                    <a:pt x="901827" y="430352"/>
                  </a:cubicBezTo>
                  <a:cubicBezTo>
                    <a:pt x="902633" y="430813"/>
                    <a:pt x="903440" y="431158"/>
                    <a:pt x="904246" y="431619"/>
                  </a:cubicBezTo>
                  <a:cubicBezTo>
                    <a:pt x="905052" y="432080"/>
                    <a:pt x="905743" y="432425"/>
                    <a:pt x="906435" y="432771"/>
                  </a:cubicBezTo>
                  <a:cubicBezTo>
                    <a:pt x="907126" y="433232"/>
                    <a:pt x="907702" y="433577"/>
                    <a:pt x="908278" y="433923"/>
                  </a:cubicBezTo>
                  <a:cubicBezTo>
                    <a:pt x="908854" y="434269"/>
                    <a:pt x="909314" y="434614"/>
                    <a:pt x="909775" y="434844"/>
                  </a:cubicBezTo>
                  <a:cubicBezTo>
                    <a:pt x="909430" y="435305"/>
                    <a:pt x="908854" y="435996"/>
                    <a:pt x="908162" y="436572"/>
                  </a:cubicBezTo>
                  <a:cubicBezTo>
                    <a:pt x="907471" y="437263"/>
                    <a:pt x="906550" y="437955"/>
                    <a:pt x="905628" y="438761"/>
                  </a:cubicBezTo>
                  <a:cubicBezTo>
                    <a:pt x="904707" y="439567"/>
                    <a:pt x="903670" y="440374"/>
                    <a:pt x="902518" y="441180"/>
                  </a:cubicBezTo>
                  <a:cubicBezTo>
                    <a:pt x="901481" y="441986"/>
                    <a:pt x="900330" y="442793"/>
                    <a:pt x="899178" y="443484"/>
                  </a:cubicBezTo>
                  <a:cubicBezTo>
                    <a:pt x="897795" y="444636"/>
                    <a:pt x="896298" y="445672"/>
                    <a:pt x="894916" y="446709"/>
                  </a:cubicBezTo>
                  <a:cubicBezTo>
                    <a:pt x="893533" y="447746"/>
                    <a:pt x="892151" y="448783"/>
                    <a:pt x="890884" y="449934"/>
                  </a:cubicBezTo>
                  <a:cubicBezTo>
                    <a:pt x="889732" y="451086"/>
                    <a:pt x="888695" y="452469"/>
                    <a:pt x="887889" y="454196"/>
                  </a:cubicBezTo>
                  <a:cubicBezTo>
                    <a:pt x="887083" y="455809"/>
                    <a:pt x="886622" y="457883"/>
                    <a:pt x="886622" y="460302"/>
                  </a:cubicBezTo>
                  <a:lnTo>
                    <a:pt x="887313" y="463181"/>
                  </a:lnTo>
                  <a:cubicBezTo>
                    <a:pt x="888004" y="465140"/>
                    <a:pt x="888810" y="466752"/>
                    <a:pt x="889847" y="468135"/>
                  </a:cubicBezTo>
                  <a:cubicBezTo>
                    <a:pt x="890769" y="469517"/>
                    <a:pt x="891805" y="470899"/>
                    <a:pt x="892842" y="471936"/>
                  </a:cubicBezTo>
                  <a:cubicBezTo>
                    <a:pt x="893994" y="473088"/>
                    <a:pt x="895031" y="474009"/>
                    <a:pt x="896183" y="475046"/>
                  </a:cubicBezTo>
                  <a:cubicBezTo>
                    <a:pt x="897335" y="475968"/>
                    <a:pt x="898487" y="476889"/>
                    <a:pt x="899638" y="477695"/>
                  </a:cubicBezTo>
                  <a:cubicBezTo>
                    <a:pt x="901366" y="478962"/>
                    <a:pt x="903209" y="480230"/>
                    <a:pt x="905168" y="481497"/>
                  </a:cubicBezTo>
                  <a:cubicBezTo>
                    <a:pt x="907011" y="482764"/>
                    <a:pt x="908969" y="483916"/>
                    <a:pt x="910927" y="485068"/>
                  </a:cubicBezTo>
                  <a:cubicBezTo>
                    <a:pt x="912885" y="486219"/>
                    <a:pt x="914728" y="487371"/>
                    <a:pt x="916687" y="488523"/>
                  </a:cubicBezTo>
                  <a:cubicBezTo>
                    <a:pt x="918530" y="489675"/>
                    <a:pt x="920373" y="490827"/>
                    <a:pt x="921985" y="491864"/>
                  </a:cubicBezTo>
                  <a:cubicBezTo>
                    <a:pt x="922792" y="492325"/>
                    <a:pt x="923598" y="492901"/>
                    <a:pt x="924404" y="493361"/>
                  </a:cubicBezTo>
                  <a:cubicBezTo>
                    <a:pt x="925211" y="493937"/>
                    <a:pt x="925902" y="494398"/>
                    <a:pt x="926593" y="494859"/>
                  </a:cubicBezTo>
                  <a:cubicBezTo>
                    <a:pt x="927284" y="495320"/>
                    <a:pt x="927860" y="495780"/>
                    <a:pt x="928436" y="496241"/>
                  </a:cubicBezTo>
                  <a:cubicBezTo>
                    <a:pt x="929012" y="496702"/>
                    <a:pt x="929473" y="497047"/>
                    <a:pt x="929933" y="497393"/>
                  </a:cubicBezTo>
                  <a:cubicBezTo>
                    <a:pt x="929358" y="497739"/>
                    <a:pt x="928666" y="498199"/>
                    <a:pt x="927745" y="498775"/>
                  </a:cubicBezTo>
                  <a:cubicBezTo>
                    <a:pt x="926823" y="499236"/>
                    <a:pt x="925787" y="499812"/>
                    <a:pt x="924635" y="500388"/>
                  </a:cubicBezTo>
                  <a:cubicBezTo>
                    <a:pt x="923483" y="500964"/>
                    <a:pt x="922216" y="501540"/>
                    <a:pt x="920949" y="502116"/>
                  </a:cubicBezTo>
                  <a:cubicBezTo>
                    <a:pt x="919682" y="502692"/>
                    <a:pt x="918299" y="503268"/>
                    <a:pt x="916917" y="503728"/>
                  </a:cubicBezTo>
                  <a:cubicBezTo>
                    <a:pt x="915189" y="504765"/>
                    <a:pt x="913346" y="505456"/>
                    <a:pt x="911503" y="506147"/>
                  </a:cubicBezTo>
                  <a:cubicBezTo>
                    <a:pt x="909775" y="506839"/>
                    <a:pt x="907932" y="507645"/>
                    <a:pt x="906435" y="508566"/>
                  </a:cubicBezTo>
                  <a:cubicBezTo>
                    <a:pt x="904937" y="509603"/>
                    <a:pt x="903555" y="510755"/>
                    <a:pt x="902633" y="512483"/>
                  </a:cubicBezTo>
                  <a:cubicBezTo>
                    <a:pt x="901712" y="514211"/>
                    <a:pt x="901021" y="516284"/>
                    <a:pt x="900906" y="519164"/>
                  </a:cubicBezTo>
                  <a:lnTo>
                    <a:pt x="901136" y="520546"/>
                  </a:lnTo>
                  <a:cubicBezTo>
                    <a:pt x="901481" y="522389"/>
                    <a:pt x="902173" y="524002"/>
                    <a:pt x="902864" y="525499"/>
                  </a:cubicBezTo>
                  <a:cubicBezTo>
                    <a:pt x="903555" y="526997"/>
                    <a:pt x="904476" y="528379"/>
                    <a:pt x="905513" y="529531"/>
                  </a:cubicBezTo>
                  <a:cubicBezTo>
                    <a:pt x="906435" y="530798"/>
                    <a:pt x="907587" y="531835"/>
                    <a:pt x="908623" y="532987"/>
                  </a:cubicBezTo>
                  <a:cubicBezTo>
                    <a:pt x="909660" y="534024"/>
                    <a:pt x="910812" y="535060"/>
                    <a:pt x="911849" y="536097"/>
                  </a:cubicBezTo>
                  <a:cubicBezTo>
                    <a:pt x="913461" y="537594"/>
                    <a:pt x="915189" y="539092"/>
                    <a:pt x="917032" y="540589"/>
                  </a:cubicBezTo>
                  <a:cubicBezTo>
                    <a:pt x="918875" y="542087"/>
                    <a:pt x="920718" y="543584"/>
                    <a:pt x="922677" y="544967"/>
                  </a:cubicBezTo>
                  <a:cubicBezTo>
                    <a:pt x="924520" y="546464"/>
                    <a:pt x="926363" y="547846"/>
                    <a:pt x="928321" y="549344"/>
                  </a:cubicBezTo>
                  <a:cubicBezTo>
                    <a:pt x="930164" y="550726"/>
                    <a:pt x="931892" y="552108"/>
                    <a:pt x="933620" y="553491"/>
                  </a:cubicBezTo>
                  <a:cubicBezTo>
                    <a:pt x="934426" y="554182"/>
                    <a:pt x="935232" y="554758"/>
                    <a:pt x="935923" y="555334"/>
                  </a:cubicBezTo>
                  <a:cubicBezTo>
                    <a:pt x="936615" y="556025"/>
                    <a:pt x="937306" y="556601"/>
                    <a:pt x="937997" y="557177"/>
                  </a:cubicBezTo>
                  <a:cubicBezTo>
                    <a:pt x="938688" y="557753"/>
                    <a:pt x="939264" y="558329"/>
                    <a:pt x="939725" y="558790"/>
                  </a:cubicBezTo>
                  <a:cubicBezTo>
                    <a:pt x="940301" y="559365"/>
                    <a:pt x="940761" y="559711"/>
                    <a:pt x="941222" y="560172"/>
                  </a:cubicBezTo>
                  <a:cubicBezTo>
                    <a:pt x="940531" y="560633"/>
                    <a:pt x="939494" y="561093"/>
                    <a:pt x="938227" y="561439"/>
                  </a:cubicBezTo>
                  <a:cubicBezTo>
                    <a:pt x="936960" y="561784"/>
                    <a:pt x="935463" y="562245"/>
                    <a:pt x="933850" y="562591"/>
                  </a:cubicBezTo>
                  <a:cubicBezTo>
                    <a:pt x="932237" y="562936"/>
                    <a:pt x="930509" y="563282"/>
                    <a:pt x="928666" y="563628"/>
                  </a:cubicBezTo>
                  <a:cubicBezTo>
                    <a:pt x="926823" y="563973"/>
                    <a:pt x="925096" y="564319"/>
                    <a:pt x="923253" y="564664"/>
                  </a:cubicBezTo>
                  <a:cubicBezTo>
                    <a:pt x="921640" y="565240"/>
                    <a:pt x="919912" y="565586"/>
                    <a:pt x="918184" y="566047"/>
                  </a:cubicBezTo>
                  <a:cubicBezTo>
                    <a:pt x="916571" y="566392"/>
                    <a:pt x="914844" y="566738"/>
                    <a:pt x="913346" y="567429"/>
                  </a:cubicBezTo>
                  <a:cubicBezTo>
                    <a:pt x="911849" y="568005"/>
                    <a:pt x="910466" y="568811"/>
                    <a:pt x="909314" y="570193"/>
                  </a:cubicBezTo>
                  <a:cubicBezTo>
                    <a:pt x="908162" y="571461"/>
                    <a:pt x="907356" y="573073"/>
                    <a:pt x="906895" y="575492"/>
                  </a:cubicBezTo>
                  <a:lnTo>
                    <a:pt x="906780" y="575492"/>
                  </a:lnTo>
                  <a:cubicBezTo>
                    <a:pt x="906780" y="575492"/>
                    <a:pt x="906780" y="576068"/>
                    <a:pt x="906665" y="576299"/>
                  </a:cubicBezTo>
                  <a:cubicBezTo>
                    <a:pt x="906665" y="576529"/>
                    <a:pt x="906665" y="576759"/>
                    <a:pt x="906665" y="576990"/>
                  </a:cubicBezTo>
                  <a:lnTo>
                    <a:pt x="906665" y="577450"/>
                  </a:lnTo>
                  <a:cubicBezTo>
                    <a:pt x="906665" y="577450"/>
                    <a:pt x="906665" y="577796"/>
                    <a:pt x="906665" y="577911"/>
                  </a:cubicBezTo>
                  <a:cubicBezTo>
                    <a:pt x="906895" y="579754"/>
                    <a:pt x="907471" y="581367"/>
                    <a:pt x="908047" y="582864"/>
                  </a:cubicBezTo>
                  <a:cubicBezTo>
                    <a:pt x="908623" y="584362"/>
                    <a:pt x="909430" y="585744"/>
                    <a:pt x="910236" y="587011"/>
                  </a:cubicBezTo>
                  <a:cubicBezTo>
                    <a:pt x="911042" y="588278"/>
                    <a:pt x="911964" y="589545"/>
                    <a:pt x="913000" y="590697"/>
                  </a:cubicBezTo>
                  <a:cubicBezTo>
                    <a:pt x="913922" y="591849"/>
                    <a:pt x="914959" y="593001"/>
                    <a:pt x="915880" y="594153"/>
                  </a:cubicBezTo>
                  <a:cubicBezTo>
                    <a:pt x="917378" y="595766"/>
                    <a:pt x="918990" y="597494"/>
                    <a:pt x="920603" y="599221"/>
                  </a:cubicBezTo>
                  <a:cubicBezTo>
                    <a:pt x="922216" y="600949"/>
                    <a:pt x="923944" y="602562"/>
                    <a:pt x="925672" y="604290"/>
                  </a:cubicBezTo>
                  <a:cubicBezTo>
                    <a:pt x="927399" y="605903"/>
                    <a:pt x="929127" y="607630"/>
                    <a:pt x="930740" y="609243"/>
                  </a:cubicBezTo>
                  <a:cubicBezTo>
                    <a:pt x="932468" y="610856"/>
                    <a:pt x="934080" y="612468"/>
                    <a:pt x="935578" y="613966"/>
                  </a:cubicBezTo>
                  <a:cubicBezTo>
                    <a:pt x="936384" y="614772"/>
                    <a:pt x="937075" y="615463"/>
                    <a:pt x="937766" y="616154"/>
                  </a:cubicBezTo>
                  <a:cubicBezTo>
                    <a:pt x="938458" y="616846"/>
                    <a:pt x="939149" y="617652"/>
                    <a:pt x="939725" y="618228"/>
                  </a:cubicBezTo>
                  <a:cubicBezTo>
                    <a:pt x="940301" y="618919"/>
                    <a:pt x="940877" y="619495"/>
                    <a:pt x="941453" y="620186"/>
                  </a:cubicBezTo>
                  <a:cubicBezTo>
                    <a:pt x="941913" y="620762"/>
                    <a:pt x="942374" y="621338"/>
                    <a:pt x="942835" y="621799"/>
                  </a:cubicBezTo>
                  <a:lnTo>
                    <a:pt x="943065" y="622029"/>
                  </a:lnTo>
                  <a:cubicBezTo>
                    <a:pt x="942259" y="622375"/>
                    <a:pt x="940992" y="622490"/>
                    <a:pt x="939610" y="622720"/>
                  </a:cubicBezTo>
                  <a:cubicBezTo>
                    <a:pt x="938227" y="622836"/>
                    <a:pt x="936615" y="622951"/>
                    <a:pt x="934772" y="623066"/>
                  </a:cubicBezTo>
                  <a:cubicBezTo>
                    <a:pt x="933044" y="623066"/>
                    <a:pt x="931085" y="623066"/>
                    <a:pt x="929012" y="623066"/>
                  </a:cubicBezTo>
                  <a:lnTo>
                    <a:pt x="923022" y="623066"/>
                  </a:lnTo>
                  <a:cubicBezTo>
                    <a:pt x="921064" y="623296"/>
                    <a:pt x="918990" y="623296"/>
                    <a:pt x="917032" y="623411"/>
                  </a:cubicBezTo>
                  <a:cubicBezTo>
                    <a:pt x="915074" y="623411"/>
                    <a:pt x="913116" y="623527"/>
                    <a:pt x="911388" y="623987"/>
                  </a:cubicBezTo>
                  <a:cubicBezTo>
                    <a:pt x="909660" y="624333"/>
                    <a:pt x="907932" y="625024"/>
                    <a:pt x="906550" y="626176"/>
                  </a:cubicBezTo>
                  <a:cubicBezTo>
                    <a:pt x="905168" y="627443"/>
                    <a:pt x="904016" y="629171"/>
                    <a:pt x="903209" y="631705"/>
                  </a:cubicBezTo>
                  <a:lnTo>
                    <a:pt x="903209" y="634585"/>
                  </a:lnTo>
                  <a:cubicBezTo>
                    <a:pt x="903670" y="637580"/>
                    <a:pt x="904707" y="640344"/>
                    <a:pt x="905974" y="642994"/>
                  </a:cubicBezTo>
                  <a:cubicBezTo>
                    <a:pt x="907241" y="645643"/>
                    <a:pt x="908854" y="648062"/>
                    <a:pt x="910581" y="650481"/>
                  </a:cubicBezTo>
                  <a:cubicBezTo>
                    <a:pt x="912309" y="652900"/>
                    <a:pt x="914152" y="655204"/>
                    <a:pt x="916111" y="657508"/>
                  </a:cubicBezTo>
                  <a:cubicBezTo>
                    <a:pt x="918069" y="659812"/>
                    <a:pt x="920027" y="662231"/>
                    <a:pt x="921985" y="664765"/>
                  </a:cubicBezTo>
                  <a:cubicBezTo>
                    <a:pt x="922907" y="665917"/>
                    <a:pt x="923944" y="667069"/>
                    <a:pt x="924865" y="668336"/>
                  </a:cubicBezTo>
                  <a:cubicBezTo>
                    <a:pt x="925787" y="669488"/>
                    <a:pt x="926708" y="670640"/>
                    <a:pt x="927630" y="671792"/>
                  </a:cubicBezTo>
                  <a:cubicBezTo>
                    <a:pt x="928551" y="672828"/>
                    <a:pt x="929358" y="673980"/>
                    <a:pt x="930164" y="674902"/>
                  </a:cubicBezTo>
                  <a:cubicBezTo>
                    <a:pt x="930970" y="675938"/>
                    <a:pt x="931777" y="676975"/>
                    <a:pt x="932352" y="677897"/>
                  </a:cubicBezTo>
                  <a:lnTo>
                    <a:pt x="934541" y="681237"/>
                  </a:lnTo>
                  <a:cubicBezTo>
                    <a:pt x="933620" y="681352"/>
                    <a:pt x="932352" y="681352"/>
                    <a:pt x="930740" y="681237"/>
                  </a:cubicBezTo>
                  <a:cubicBezTo>
                    <a:pt x="929242" y="681122"/>
                    <a:pt x="927515" y="680892"/>
                    <a:pt x="925556" y="680546"/>
                  </a:cubicBezTo>
                  <a:cubicBezTo>
                    <a:pt x="923598" y="680316"/>
                    <a:pt x="921525" y="679970"/>
                    <a:pt x="919451" y="679624"/>
                  </a:cubicBezTo>
                  <a:cubicBezTo>
                    <a:pt x="917378" y="679279"/>
                    <a:pt x="915189" y="678933"/>
                    <a:pt x="913116" y="678588"/>
                  </a:cubicBezTo>
                  <a:cubicBezTo>
                    <a:pt x="910927" y="678473"/>
                    <a:pt x="908738" y="678012"/>
                    <a:pt x="906550" y="677781"/>
                  </a:cubicBezTo>
                  <a:cubicBezTo>
                    <a:pt x="904361" y="677436"/>
                    <a:pt x="902288" y="677205"/>
                    <a:pt x="900330" y="677321"/>
                  </a:cubicBezTo>
                  <a:cubicBezTo>
                    <a:pt x="898371" y="677321"/>
                    <a:pt x="896528" y="677666"/>
                    <a:pt x="894800" y="678588"/>
                  </a:cubicBezTo>
                  <a:cubicBezTo>
                    <a:pt x="893073" y="679509"/>
                    <a:pt x="891575" y="681007"/>
                    <a:pt x="890308" y="683195"/>
                  </a:cubicBezTo>
                  <a:cubicBezTo>
                    <a:pt x="890193" y="683541"/>
                    <a:pt x="890078" y="684002"/>
                    <a:pt x="889962" y="684347"/>
                  </a:cubicBezTo>
                  <a:cubicBezTo>
                    <a:pt x="889962" y="684808"/>
                    <a:pt x="889847" y="685269"/>
                    <a:pt x="889732" y="685614"/>
                  </a:cubicBezTo>
                  <a:cubicBezTo>
                    <a:pt x="889732" y="686075"/>
                    <a:pt x="889732" y="686421"/>
                    <a:pt x="889732" y="686881"/>
                  </a:cubicBezTo>
                  <a:cubicBezTo>
                    <a:pt x="889732" y="687342"/>
                    <a:pt x="889732" y="687803"/>
                    <a:pt x="889732" y="688149"/>
                  </a:cubicBezTo>
                  <a:cubicBezTo>
                    <a:pt x="890193" y="690913"/>
                    <a:pt x="890884" y="693563"/>
                    <a:pt x="891921" y="696097"/>
                  </a:cubicBezTo>
                  <a:cubicBezTo>
                    <a:pt x="892957" y="698631"/>
                    <a:pt x="894224" y="701165"/>
                    <a:pt x="895607" y="703584"/>
                  </a:cubicBezTo>
                  <a:cubicBezTo>
                    <a:pt x="896989" y="706118"/>
                    <a:pt x="898602" y="708422"/>
                    <a:pt x="900099" y="710956"/>
                  </a:cubicBezTo>
                  <a:cubicBezTo>
                    <a:pt x="901712" y="713491"/>
                    <a:pt x="903325" y="715910"/>
                    <a:pt x="904937" y="718444"/>
                  </a:cubicBezTo>
                  <a:cubicBezTo>
                    <a:pt x="906089" y="720172"/>
                    <a:pt x="907356" y="722015"/>
                    <a:pt x="908393" y="723742"/>
                  </a:cubicBezTo>
                  <a:cubicBezTo>
                    <a:pt x="909545" y="725470"/>
                    <a:pt x="910581" y="727198"/>
                    <a:pt x="911503" y="728811"/>
                  </a:cubicBezTo>
                  <a:cubicBezTo>
                    <a:pt x="912425" y="730424"/>
                    <a:pt x="913231" y="731921"/>
                    <a:pt x="914037" y="733188"/>
                  </a:cubicBezTo>
                  <a:cubicBezTo>
                    <a:pt x="914728" y="734455"/>
                    <a:pt x="915304" y="735607"/>
                    <a:pt x="915765" y="736529"/>
                  </a:cubicBezTo>
                  <a:cubicBezTo>
                    <a:pt x="915420" y="736529"/>
                    <a:pt x="914959" y="736413"/>
                    <a:pt x="914613" y="736298"/>
                  </a:cubicBezTo>
                  <a:cubicBezTo>
                    <a:pt x="914152" y="736298"/>
                    <a:pt x="913692" y="736298"/>
                    <a:pt x="913231" y="736068"/>
                  </a:cubicBezTo>
                  <a:cubicBezTo>
                    <a:pt x="912770" y="736068"/>
                    <a:pt x="912309" y="735953"/>
                    <a:pt x="911733" y="735837"/>
                  </a:cubicBezTo>
                  <a:cubicBezTo>
                    <a:pt x="911157" y="735837"/>
                    <a:pt x="910697" y="735607"/>
                    <a:pt x="910006" y="735377"/>
                  </a:cubicBezTo>
                  <a:cubicBezTo>
                    <a:pt x="908278" y="734916"/>
                    <a:pt x="906550" y="734455"/>
                    <a:pt x="904592" y="733764"/>
                  </a:cubicBezTo>
                  <a:cubicBezTo>
                    <a:pt x="902633" y="733188"/>
                    <a:pt x="900675" y="732497"/>
                    <a:pt x="898602" y="731806"/>
                  </a:cubicBezTo>
                  <a:cubicBezTo>
                    <a:pt x="896528" y="731115"/>
                    <a:pt x="894455" y="730424"/>
                    <a:pt x="892381" y="729732"/>
                  </a:cubicBezTo>
                  <a:cubicBezTo>
                    <a:pt x="890308" y="729156"/>
                    <a:pt x="888235" y="728465"/>
                    <a:pt x="886276" y="728005"/>
                  </a:cubicBezTo>
                  <a:cubicBezTo>
                    <a:pt x="884548" y="727659"/>
                    <a:pt x="882936" y="727198"/>
                    <a:pt x="881208" y="726853"/>
                  </a:cubicBezTo>
                  <a:cubicBezTo>
                    <a:pt x="879595" y="726507"/>
                    <a:pt x="877867" y="726277"/>
                    <a:pt x="876370" y="726161"/>
                  </a:cubicBezTo>
                  <a:cubicBezTo>
                    <a:pt x="874757" y="726161"/>
                    <a:pt x="873260" y="726277"/>
                    <a:pt x="871762" y="726968"/>
                  </a:cubicBezTo>
                  <a:cubicBezTo>
                    <a:pt x="870265" y="727544"/>
                    <a:pt x="868883" y="728580"/>
                    <a:pt x="867615" y="730193"/>
                  </a:cubicBezTo>
                  <a:cubicBezTo>
                    <a:pt x="867270" y="730654"/>
                    <a:pt x="867039" y="731230"/>
                    <a:pt x="866809" y="731806"/>
                  </a:cubicBezTo>
                  <a:cubicBezTo>
                    <a:pt x="866579" y="732382"/>
                    <a:pt x="866464" y="733073"/>
                    <a:pt x="866348" y="733649"/>
                  </a:cubicBezTo>
                  <a:cubicBezTo>
                    <a:pt x="866348" y="734340"/>
                    <a:pt x="866233" y="734916"/>
                    <a:pt x="866233" y="735607"/>
                  </a:cubicBezTo>
                  <a:cubicBezTo>
                    <a:pt x="866233" y="736298"/>
                    <a:pt x="866233" y="736874"/>
                    <a:pt x="866233" y="737565"/>
                  </a:cubicBezTo>
                  <a:cubicBezTo>
                    <a:pt x="866579" y="739984"/>
                    <a:pt x="867039" y="742403"/>
                    <a:pt x="867731" y="744707"/>
                  </a:cubicBezTo>
                  <a:cubicBezTo>
                    <a:pt x="868422" y="747126"/>
                    <a:pt x="869343" y="749545"/>
                    <a:pt x="870495" y="751964"/>
                  </a:cubicBezTo>
                  <a:cubicBezTo>
                    <a:pt x="871532" y="754383"/>
                    <a:pt x="872684" y="756802"/>
                    <a:pt x="873951" y="759336"/>
                  </a:cubicBezTo>
                  <a:cubicBezTo>
                    <a:pt x="875103" y="761755"/>
                    <a:pt x="876370" y="764290"/>
                    <a:pt x="877637" y="766824"/>
                  </a:cubicBezTo>
                  <a:cubicBezTo>
                    <a:pt x="878674" y="768782"/>
                    <a:pt x="879595" y="770625"/>
                    <a:pt x="880517" y="772583"/>
                  </a:cubicBezTo>
                  <a:cubicBezTo>
                    <a:pt x="881438" y="774426"/>
                    <a:pt x="882245" y="776269"/>
                    <a:pt x="883051" y="777997"/>
                  </a:cubicBezTo>
                  <a:cubicBezTo>
                    <a:pt x="883742" y="779725"/>
                    <a:pt x="884433" y="781223"/>
                    <a:pt x="885009" y="782605"/>
                  </a:cubicBezTo>
                  <a:cubicBezTo>
                    <a:pt x="885585" y="783987"/>
                    <a:pt x="886046" y="785254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lnTo>
                    <a:pt x="886391" y="786291"/>
                  </a:lnTo>
                  <a:cubicBezTo>
                    <a:pt x="886391" y="786291"/>
                    <a:pt x="886391" y="786291"/>
                    <a:pt x="886391" y="786291"/>
                  </a:cubicBezTo>
                  <a:cubicBezTo>
                    <a:pt x="884433" y="785830"/>
                    <a:pt x="881784" y="784678"/>
                    <a:pt x="878789" y="783411"/>
                  </a:cubicBezTo>
                  <a:cubicBezTo>
                    <a:pt x="875794" y="782029"/>
                    <a:pt x="872338" y="780301"/>
                    <a:pt x="868767" y="778573"/>
                  </a:cubicBezTo>
                  <a:cubicBezTo>
                    <a:pt x="865196" y="776845"/>
                    <a:pt x="861510" y="775002"/>
                    <a:pt x="857939" y="773505"/>
                  </a:cubicBezTo>
                  <a:cubicBezTo>
                    <a:pt x="854369" y="771892"/>
                    <a:pt x="850913" y="770625"/>
                    <a:pt x="847687" y="769704"/>
                  </a:cubicBezTo>
                  <a:cubicBezTo>
                    <a:pt x="846766" y="769588"/>
                    <a:pt x="845729" y="769358"/>
                    <a:pt x="844692" y="769128"/>
                  </a:cubicBezTo>
                  <a:cubicBezTo>
                    <a:pt x="843656" y="769012"/>
                    <a:pt x="842619" y="768897"/>
                    <a:pt x="841582" y="769012"/>
                  </a:cubicBezTo>
                  <a:cubicBezTo>
                    <a:pt x="840546" y="769012"/>
                    <a:pt x="839509" y="769358"/>
                    <a:pt x="838472" y="769704"/>
                  </a:cubicBezTo>
                  <a:cubicBezTo>
                    <a:pt x="837435" y="770049"/>
                    <a:pt x="836514" y="770740"/>
                    <a:pt x="835592" y="771547"/>
                  </a:cubicBezTo>
                  <a:lnTo>
                    <a:pt x="847803" y="785600"/>
                  </a:lnTo>
                  <a:lnTo>
                    <a:pt x="846305" y="783872"/>
                  </a:lnTo>
                  <a:lnTo>
                    <a:pt x="847112" y="786061"/>
                  </a:lnTo>
                  <a:lnTo>
                    <a:pt x="849070" y="786061"/>
                  </a:lnTo>
                  <a:cubicBezTo>
                    <a:pt x="849070" y="786061"/>
                    <a:pt x="849070" y="786176"/>
                    <a:pt x="849070" y="786176"/>
                  </a:cubicBezTo>
                  <a:cubicBezTo>
                    <a:pt x="849070" y="786176"/>
                    <a:pt x="849070" y="786176"/>
                    <a:pt x="849070" y="786176"/>
                  </a:cubicBezTo>
                  <a:lnTo>
                    <a:pt x="849070" y="786176"/>
                  </a:lnTo>
                  <a:cubicBezTo>
                    <a:pt x="849070" y="786176"/>
                    <a:pt x="849070" y="786176"/>
                    <a:pt x="849070" y="786176"/>
                  </a:cubicBezTo>
                  <a:cubicBezTo>
                    <a:pt x="851028" y="786752"/>
                    <a:pt x="853677" y="787673"/>
                    <a:pt x="856788" y="789171"/>
                  </a:cubicBezTo>
                  <a:cubicBezTo>
                    <a:pt x="859782" y="790553"/>
                    <a:pt x="863238" y="792166"/>
                    <a:pt x="866809" y="794009"/>
                  </a:cubicBezTo>
                  <a:cubicBezTo>
                    <a:pt x="870380" y="795737"/>
                    <a:pt x="874181" y="797464"/>
                    <a:pt x="877752" y="799077"/>
                  </a:cubicBezTo>
                  <a:cubicBezTo>
                    <a:pt x="881323" y="800575"/>
                    <a:pt x="884779" y="801957"/>
                    <a:pt x="888004" y="802763"/>
                  </a:cubicBezTo>
                  <a:cubicBezTo>
                    <a:pt x="888926" y="802878"/>
                    <a:pt x="889962" y="803109"/>
                    <a:pt x="890999" y="803224"/>
                  </a:cubicBezTo>
                  <a:cubicBezTo>
                    <a:pt x="892036" y="803339"/>
                    <a:pt x="893073" y="803339"/>
                    <a:pt x="894224" y="803224"/>
                  </a:cubicBezTo>
                  <a:cubicBezTo>
                    <a:pt x="895261" y="803109"/>
                    <a:pt x="896298" y="802878"/>
                    <a:pt x="897335" y="802418"/>
                  </a:cubicBezTo>
                  <a:cubicBezTo>
                    <a:pt x="898371" y="801957"/>
                    <a:pt x="899293" y="801266"/>
                    <a:pt x="900214" y="800229"/>
                  </a:cubicBezTo>
                  <a:cubicBezTo>
                    <a:pt x="900675" y="799538"/>
                    <a:pt x="901021" y="798847"/>
                    <a:pt x="901251" y="798156"/>
                  </a:cubicBezTo>
                  <a:cubicBezTo>
                    <a:pt x="901481" y="797349"/>
                    <a:pt x="901712" y="796658"/>
                    <a:pt x="901827" y="795967"/>
                  </a:cubicBezTo>
                  <a:cubicBezTo>
                    <a:pt x="901942" y="795276"/>
                    <a:pt x="902057" y="794470"/>
                    <a:pt x="902057" y="793778"/>
                  </a:cubicBezTo>
                  <a:cubicBezTo>
                    <a:pt x="902057" y="793087"/>
                    <a:pt x="902057" y="792396"/>
                    <a:pt x="902057" y="791705"/>
                  </a:cubicBezTo>
                  <a:cubicBezTo>
                    <a:pt x="901827" y="789286"/>
                    <a:pt x="901251" y="786867"/>
                    <a:pt x="900445" y="784563"/>
                  </a:cubicBezTo>
                  <a:cubicBezTo>
                    <a:pt x="899638" y="782144"/>
                    <a:pt x="898717" y="779725"/>
                    <a:pt x="897680" y="777306"/>
                  </a:cubicBezTo>
                  <a:cubicBezTo>
                    <a:pt x="896643" y="774887"/>
                    <a:pt x="895492" y="772468"/>
                    <a:pt x="894340" y="770049"/>
                  </a:cubicBezTo>
                  <a:cubicBezTo>
                    <a:pt x="893073" y="767630"/>
                    <a:pt x="891805" y="765096"/>
                    <a:pt x="890654" y="762562"/>
                  </a:cubicBezTo>
                  <a:cubicBezTo>
                    <a:pt x="889617" y="760603"/>
                    <a:pt x="888580" y="758645"/>
                    <a:pt x="887659" y="756687"/>
                  </a:cubicBezTo>
                  <a:cubicBezTo>
                    <a:pt x="886737" y="754729"/>
                    <a:pt x="885816" y="752886"/>
                    <a:pt x="885009" y="751043"/>
                  </a:cubicBezTo>
                  <a:cubicBezTo>
                    <a:pt x="884203" y="749315"/>
                    <a:pt x="883627" y="747702"/>
                    <a:pt x="882936" y="746320"/>
                  </a:cubicBezTo>
                  <a:cubicBezTo>
                    <a:pt x="882360" y="744938"/>
                    <a:pt x="882014" y="743786"/>
                    <a:pt x="881784" y="742979"/>
                  </a:cubicBezTo>
                  <a:cubicBezTo>
                    <a:pt x="882129" y="742979"/>
                    <a:pt x="882475" y="742979"/>
                    <a:pt x="882936" y="742979"/>
                  </a:cubicBezTo>
                  <a:cubicBezTo>
                    <a:pt x="883396" y="742979"/>
                    <a:pt x="883857" y="743094"/>
                    <a:pt x="884433" y="743210"/>
                  </a:cubicBezTo>
                  <a:cubicBezTo>
                    <a:pt x="884894" y="743325"/>
                    <a:pt x="885585" y="743440"/>
                    <a:pt x="886161" y="743555"/>
                  </a:cubicBezTo>
                  <a:cubicBezTo>
                    <a:pt x="886852" y="743670"/>
                    <a:pt x="887428" y="743786"/>
                    <a:pt x="888119" y="744016"/>
                  </a:cubicBezTo>
                  <a:cubicBezTo>
                    <a:pt x="889847" y="744477"/>
                    <a:pt x="891690" y="744938"/>
                    <a:pt x="893533" y="745629"/>
                  </a:cubicBezTo>
                  <a:cubicBezTo>
                    <a:pt x="895492" y="746205"/>
                    <a:pt x="897450" y="746896"/>
                    <a:pt x="899523" y="747472"/>
                  </a:cubicBezTo>
                  <a:cubicBezTo>
                    <a:pt x="901597" y="748163"/>
                    <a:pt x="903670" y="748739"/>
                    <a:pt x="905743" y="749430"/>
                  </a:cubicBezTo>
                  <a:cubicBezTo>
                    <a:pt x="907817" y="750121"/>
                    <a:pt x="909890" y="750697"/>
                    <a:pt x="911849" y="751273"/>
                  </a:cubicBezTo>
                  <a:cubicBezTo>
                    <a:pt x="913461" y="751619"/>
                    <a:pt x="915189" y="751964"/>
                    <a:pt x="916917" y="752310"/>
                  </a:cubicBezTo>
                  <a:cubicBezTo>
                    <a:pt x="918530" y="752655"/>
                    <a:pt x="920258" y="752886"/>
                    <a:pt x="921870" y="752886"/>
                  </a:cubicBezTo>
                  <a:cubicBezTo>
                    <a:pt x="923483" y="752886"/>
                    <a:pt x="925096" y="752540"/>
                    <a:pt x="926478" y="751849"/>
                  </a:cubicBezTo>
                  <a:cubicBezTo>
                    <a:pt x="927975" y="751158"/>
                    <a:pt x="929242" y="749891"/>
                    <a:pt x="930509" y="748048"/>
                  </a:cubicBezTo>
                  <a:cubicBezTo>
                    <a:pt x="930740" y="747587"/>
                    <a:pt x="930855" y="747126"/>
                    <a:pt x="930970" y="746550"/>
                  </a:cubicBezTo>
                  <a:cubicBezTo>
                    <a:pt x="931085" y="746089"/>
                    <a:pt x="931201" y="745514"/>
                    <a:pt x="931201" y="745053"/>
                  </a:cubicBezTo>
                  <a:cubicBezTo>
                    <a:pt x="931201" y="744477"/>
                    <a:pt x="931201" y="744016"/>
                    <a:pt x="931201" y="743555"/>
                  </a:cubicBezTo>
                  <a:cubicBezTo>
                    <a:pt x="931201" y="743094"/>
                    <a:pt x="931201" y="742634"/>
                    <a:pt x="931201" y="742173"/>
                  </a:cubicBezTo>
                  <a:cubicBezTo>
                    <a:pt x="930740" y="739408"/>
                    <a:pt x="929933" y="736874"/>
                    <a:pt x="928897" y="734340"/>
                  </a:cubicBezTo>
                  <a:cubicBezTo>
                    <a:pt x="927860" y="731806"/>
                    <a:pt x="926593" y="729272"/>
                    <a:pt x="925211" y="726853"/>
                  </a:cubicBezTo>
                  <a:cubicBezTo>
                    <a:pt x="923828" y="724434"/>
                    <a:pt x="922216" y="722015"/>
                    <a:pt x="920603" y="719480"/>
                  </a:cubicBezTo>
                  <a:cubicBezTo>
                    <a:pt x="918990" y="717061"/>
                    <a:pt x="917378" y="714527"/>
                    <a:pt x="915765" y="711993"/>
                  </a:cubicBezTo>
                  <a:cubicBezTo>
                    <a:pt x="914498" y="710150"/>
                    <a:pt x="913231" y="708307"/>
                    <a:pt x="912079" y="706464"/>
                  </a:cubicBezTo>
                  <a:cubicBezTo>
                    <a:pt x="910927" y="704621"/>
                    <a:pt x="909890" y="702893"/>
                    <a:pt x="908969" y="701165"/>
                  </a:cubicBezTo>
                  <a:cubicBezTo>
                    <a:pt x="908047" y="699437"/>
                    <a:pt x="907126" y="698055"/>
                    <a:pt x="906435" y="696673"/>
                  </a:cubicBezTo>
                  <a:cubicBezTo>
                    <a:pt x="905743" y="695406"/>
                    <a:pt x="905168" y="694254"/>
                    <a:pt x="904822" y="693447"/>
                  </a:cubicBezTo>
                  <a:cubicBezTo>
                    <a:pt x="905628" y="693447"/>
                    <a:pt x="906665" y="693447"/>
                    <a:pt x="908047" y="693447"/>
                  </a:cubicBezTo>
                  <a:cubicBezTo>
                    <a:pt x="909314" y="693447"/>
                    <a:pt x="910927" y="693563"/>
                    <a:pt x="912655" y="693793"/>
                  </a:cubicBezTo>
                  <a:cubicBezTo>
                    <a:pt x="914383" y="693908"/>
                    <a:pt x="916226" y="694138"/>
                    <a:pt x="918069" y="694369"/>
                  </a:cubicBezTo>
                  <a:cubicBezTo>
                    <a:pt x="920027" y="694714"/>
                    <a:pt x="921985" y="694945"/>
                    <a:pt x="923944" y="695406"/>
                  </a:cubicBezTo>
                  <a:cubicBezTo>
                    <a:pt x="925211" y="695636"/>
                    <a:pt x="926478" y="695866"/>
                    <a:pt x="927745" y="695982"/>
                  </a:cubicBezTo>
                  <a:cubicBezTo>
                    <a:pt x="929012" y="696097"/>
                    <a:pt x="930279" y="696327"/>
                    <a:pt x="931431" y="696442"/>
                  </a:cubicBezTo>
                  <a:cubicBezTo>
                    <a:pt x="932698" y="696557"/>
                    <a:pt x="933850" y="696673"/>
                    <a:pt x="935002" y="696788"/>
                  </a:cubicBezTo>
                  <a:cubicBezTo>
                    <a:pt x="936154" y="696788"/>
                    <a:pt x="937306" y="696903"/>
                    <a:pt x="938458" y="696903"/>
                  </a:cubicBezTo>
                  <a:cubicBezTo>
                    <a:pt x="939494" y="696788"/>
                    <a:pt x="940531" y="696673"/>
                    <a:pt x="941568" y="696557"/>
                  </a:cubicBezTo>
                  <a:cubicBezTo>
                    <a:pt x="942604" y="696442"/>
                    <a:pt x="943641" y="696212"/>
                    <a:pt x="944678" y="695751"/>
                  </a:cubicBezTo>
                  <a:cubicBezTo>
                    <a:pt x="945715" y="695290"/>
                    <a:pt x="946636" y="694714"/>
                    <a:pt x="947443" y="693793"/>
                  </a:cubicBezTo>
                  <a:cubicBezTo>
                    <a:pt x="948249" y="692871"/>
                    <a:pt x="948940" y="691720"/>
                    <a:pt x="949401" y="690107"/>
                  </a:cubicBezTo>
                  <a:cubicBezTo>
                    <a:pt x="949516" y="689761"/>
                    <a:pt x="949516" y="689416"/>
                    <a:pt x="949631" y="689185"/>
                  </a:cubicBezTo>
                  <a:cubicBezTo>
                    <a:pt x="949631" y="688840"/>
                    <a:pt x="949631" y="688494"/>
                    <a:pt x="949631" y="688264"/>
                  </a:cubicBezTo>
                  <a:cubicBezTo>
                    <a:pt x="949631" y="687918"/>
                    <a:pt x="949631" y="687688"/>
                    <a:pt x="949631" y="687342"/>
                  </a:cubicBezTo>
                  <a:cubicBezTo>
                    <a:pt x="949631" y="686997"/>
                    <a:pt x="949631" y="686766"/>
                    <a:pt x="949631" y="686421"/>
                  </a:cubicBezTo>
                  <a:cubicBezTo>
                    <a:pt x="949055" y="683311"/>
                    <a:pt x="948018" y="680546"/>
                    <a:pt x="946751" y="677897"/>
                  </a:cubicBezTo>
                  <a:cubicBezTo>
                    <a:pt x="945484" y="675247"/>
                    <a:pt x="943872" y="672828"/>
                    <a:pt x="942144" y="670524"/>
                  </a:cubicBezTo>
                  <a:cubicBezTo>
                    <a:pt x="940416" y="668221"/>
                    <a:pt x="938573" y="665917"/>
                    <a:pt x="936499" y="663498"/>
                  </a:cubicBezTo>
                  <a:cubicBezTo>
                    <a:pt x="934541" y="661194"/>
                    <a:pt x="932583" y="658775"/>
                    <a:pt x="930625" y="656241"/>
                  </a:cubicBezTo>
                  <a:cubicBezTo>
                    <a:pt x="929703" y="655089"/>
                    <a:pt x="928666" y="653937"/>
                    <a:pt x="927745" y="652785"/>
                  </a:cubicBezTo>
                  <a:cubicBezTo>
                    <a:pt x="926823" y="651633"/>
                    <a:pt x="925902" y="650481"/>
                    <a:pt x="924980" y="649329"/>
                  </a:cubicBezTo>
                  <a:cubicBezTo>
                    <a:pt x="924059" y="648293"/>
                    <a:pt x="923253" y="647256"/>
                    <a:pt x="922446" y="646219"/>
                  </a:cubicBezTo>
                  <a:cubicBezTo>
                    <a:pt x="921640" y="645182"/>
                    <a:pt x="920949" y="644146"/>
                    <a:pt x="920258" y="643339"/>
                  </a:cubicBezTo>
                  <a:lnTo>
                    <a:pt x="917608" y="639423"/>
                  </a:lnTo>
                  <a:cubicBezTo>
                    <a:pt x="918299" y="639193"/>
                    <a:pt x="919221" y="639077"/>
                    <a:pt x="920488" y="638962"/>
                  </a:cubicBezTo>
                  <a:cubicBezTo>
                    <a:pt x="921640" y="638732"/>
                    <a:pt x="923137" y="638617"/>
                    <a:pt x="924635" y="638501"/>
                  </a:cubicBezTo>
                  <a:cubicBezTo>
                    <a:pt x="926247" y="638386"/>
                    <a:pt x="927975" y="638271"/>
                    <a:pt x="929703" y="638271"/>
                  </a:cubicBezTo>
                  <a:cubicBezTo>
                    <a:pt x="931431" y="638271"/>
                    <a:pt x="933274" y="638271"/>
                    <a:pt x="935117" y="638271"/>
                  </a:cubicBezTo>
                  <a:cubicBezTo>
                    <a:pt x="936269" y="638271"/>
                    <a:pt x="937536" y="638271"/>
                    <a:pt x="938688" y="638271"/>
                  </a:cubicBezTo>
                  <a:cubicBezTo>
                    <a:pt x="939840" y="638271"/>
                    <a:pt x="940992" y="638271"/>
                    <a:pt x="942144" y="638271"/>
                  </a:cubicBezTo>
                  <a:cubicBezTo>
                    <a:pt x="943296" y="638271"/>
                    <a:pt x="944332" y="638156"/>
                    <a:pt x="945484" y="638041"/>
                  </a:cubicBezTo>
                  <a:cubicBezTo>
                    <a:pt x="946521" y="637925"/>
                    <a:pt x="947558" y="637810"/>
                    <a:pt x="948479" y="637580"/>
                  </a:cubicBezTo>
                  <a:cubicBezTo>
                    <a:pt x="949401" y="637350"/>
                    <a:pt x="950437" y="637119"/>
                    <a:pt x="951359" y="636774"/>
                  </a:cubicBezTo>
                  <a:cubicBezTo>
                    <a:pt x="952280" y="636428"/>
                    <a:pt x="953202" y="635967"/>
                    <a:pt x="954124" y="635391"/>
                  </a:cubicBezTo>
                  <a:cubicBezTo>
                    <a:pt x="954930" y="634815"/>
                    <a:pt x="955736" y="634009"/>
                    <a:pt x="956312" y="632972"/>
                  </a:cubicBezTo>
                  <a:cubicBezTo>
                    <a:pt x="956888" y="631936"/>
                    <a:pt x="957349" y="630668"/>
                    <a:pt x="957464" y="628941"/>
                  </a:cubicBezTo>
                  <a:lnTo>
                    <a:pt x="957464" y="627098"/>
                  </a:lnTo>
                  <a:cubicBezTo>
                    <a:pt x="957118" y="625255"/>
                    <a:pt x="956658" y="623642"/>
                    <a:pt x="955967" y="622144"/>
                  </a:cubicBezTo>
                  <a:cubicBezTo>
                    <a:pt x="955275" y="620647"/>
                    <a:pt x="954584" y="619265"/>
                    <a:pt x="953778" y="617998"/>
                  </a:cubicBezTo>
                  <a:cubicBezTo>
                    <a:pt x="952972" y="616730"/>
                    <a:pt x="952050" y="615579"/>
                    <a:pt x="951129" y="614427"/>
                  </a:cubicBezTo>
                  <a:cubicBezTo>
                    <a:pt x="950207" y="613275"/>
                    <a:pt x="949286" y="612123"/>
                    <a:pt x="948249" y="611086"/>
                  </a:cubicBezTo>
                  <a:cubicBezTo>
                    <a:pt x="946751" y="609473"/>
                    <a:pt x="945254" y="607746"/>
                    <a:pt x="943526" y="606133"/>
                  </a:cubicBezTo>
                  <a:cubicBezTo>
                    <a:pt x="941913" y="604520"/>
                    <a:pt x="940185" y="602792"/>
                    <a:pt x="938573" y="601180"/>
                  </a:cubicBezTo>
                  <a:cubicBezTo>
                    <a:pt x="936845" y="599567"/>
                    <a:pt x="935232" y="597839"/>
                    <a:pt x="933504" y="596226"/>
                  </a:cubicBezTo>
                  <a:cubicBezTo>
                    <a:pt x="931892" y="594614"/>
                    <a:pt x="930164" y="593116"/>
                    <a:pt x="928666" y="591504"/>
                  </a:cubicBezTo>
                  <a:cubicBezTo>
                    <a:pt x="927860" y="590697"/>
                    <a:pt x="927169" y="590006"/>
                    <a:pt x="926478" y="589315"/>
                  </a:cubicBezTo>
                  <a:cubicBezTo>
                    <a:pt x="925787" y="588624"/>
                    <a:pt x="925096" y="587933"/>
                    <a:pt x="924520" y="587242"/>
                  </a:cubicBezTo>
                  <a:cubicBezTo>
                    <a:pt x="923944" y="586550"/>
                    <a:pt x="923368" y="585975"/>
                    <a:pt x="922907" y="585399"/>
                  </a:cubicBezTo>
                  <a:cubicBezTo>
                    <a:pt x="922446" y="584823"/>
                    <a:pt x="921985" y="584247"/>
                    <a:pt x="921525" y="583786"/>
                  </a:cubicBezTo>
                  <a:lnTo>
                    <a:pt x="920833" y="582864"/>
                  </a:lnTo>
                  <a:cubicBezTo>
                    <a:pt x="920833" y="582864"/>
                    <a:pt x="921294" y="582634"/>
                    <a:pt x="921525" y="582519"/>
                  </a:cubicBezTo>
                  <a:cubicBezTo>
                    <a:pt x="921870" y="582519"/>
                    <a:pt x="922101" y="582288"/>
                    <a:pt x="922446" y="582173"/>
                  </a:cubicBezTo>
                  <a:cubicBezTo>
                    <a:pt x="922792" y="582058"/>
                    <a:pt x="923137" y="581943"/>
                    <a:pt x="923483" y="581828"/>
                  </a:cubicBezTo>
                  <a:cubicBezTo>
                    <a:pt x="923944" y="581713"/>
                    <a:pt x="924404" y="581597"/>
                    <a:pt x="924865" y="581482"/>
                  </a:cubicBezTo>
                  <a:cubicBezTo>
                    <a:pt x="926132" y="581137"/>
                    <a:pt x="927399" y="580791"/>
                    <a:pt x="928897" y="580445"/>
                  </a:cubicBezTo>
                  <a:cubicBezTo>
                    <a:pt x="930394" y="580100"/>
                    <a:pt x="931892" y="579869"/>
                    <a:pt x="933504" y="579524"/>
                  </a:cubicBezTo>
                  <a:cubicBezTo>
                    <a:pt x="935002" y="579293"/>
                    <a:pt x="936615" y="578948"/>
                    <a:pt x="938227" y="578602"/>
                  </a:cubicBezTo>
                  <a:cubicBezTo>
                    <a:pt x="939840" y="578257"/>
                    <a:pt x="941337" y="577911"/>
                    <a:pt x="942835" y="577566"/>
                  </a:cubicBezTo>
                  <a:cubicBezTo>
                    <a:pt x="944217" y="577105"/>
                    <a:pt x="945715" y="576759"/>
                    <a:pt x="947097" y="576183"/>
                  </a:cubicBezTo>
                  <a:cubicBezTo>
                    <a:pt x="948479" y="575723"/>
                    <a:pt x="949862" y="575262"/>
                    <a:pt x="951013" y="574455"/>
                  </a:cubicBezTo>
                  <a:cubicBezTo>
                    <a:pt x="952165" y="573649"/>
                    <a:pt x="953202" y="572612"/>
                    <a:pt x="954008" y="571230"/>
                  </a:cubicBezTo>
                  <a:cubicBezTo>
                    <a:pt x="954699" y="569848"/>
                    <a:pt x="955160" y="567890"/>
                    <a:pt x="955275" y="565355"/>
                  </a:cubicBezTo>
                  <a:cubicBezTo>
                    <a:pt x="954930" y="563397"/>
                    <a:pt x="954354" y="561669"/>
                    <a:pt x="953663" y="560172"/>
                  </a:cubicBezTo>
                  <a:cubicBezTo>
                    <a:pt x="952972" y="558559"/>
                    <a:pt x="952165" y="557177"/>
                    <a:pt x="951129" y="555910"/>
                  </a:cubicBezTo>
                  <a:cubicBezTo>
                    <a:pt x="950207" y="554643"/>
                    <a:pt x="949170" y="553491"/>
                    <a:pt x="948134" y="552339"/>
                  </a:cubicBezTo>
                  <a:cubicBezTo>
                    <a:pt x="947097" y="551187"/>
                    <a:pt x="946060" y="550150"/>
                    <a:pt x="945024" y="549229"/>
                  </a:cubicBezTo>
                  <a:cubicBezTo>
                    <a:pt x="943296" y="547616"/>
                    <a:pt x="941568" y="546119"/>
                    <a:pt x="939840" y="544736"/>
                  </a:cubicBezTo>
                  <a:cubicBezTo>
                    <a:pt x="937997" y="543239"/>
                    <a:pt x="936154" y="541741"/>
                    <a:pt x="934311" y="540244"/>
                  </a:cubicBezTo>
                  <a:cubicBezTo>
                    <a:pt x="932468" y="538746"/>
                    <a:pt x="930625" y="537364"/>
                    <a:pt x="928782" y="535867"/>
                  </a:cubicBezTo>
                  <a:cubicBezTo>
                    <a:pt x="926939" y="534484"/>
                    <a:pt x="925211" y="533102"/>
                    <a:pt x="923483" y="531720"/>
                  </a:cubicBezTo>
                  <a:cubicBezTo>
                    <a:pt x="922677" y="531029"/>
                    <a:pt x="921870" y="530337"/>
                    <a:pt x="921064" y="529762"/>
                  </a:cubicBezTo>
                  <a:cubicBezTo>
                    <a:pt x="920258" y="529070"/>
                    <a:pt x="919566" y="528494"/>
                    <a:pt x="918875" y="527918"/>
                  </a:cubicBezTo>
                  <a:cubicBezTo>
                    <a:pt x="918184" y="527343"/>
                    <a:pt x="917608" y="526767"/>
                    <a:pt x="917032" y="526191"/>
                  </a:cubicBezTo>
                  <a:cubicBezTo>
                    <a:pt x="916456" y="525615"/>
                    <a:pt x="915995" y="525154"/>
                    <a:pt x="915650" y="524808"/>
                  </a:cubicBezTo>
                  <a:lnTo>
                    <a:pt x="914959" y="524232"/>
                  </a:lnTo>
                  <a:cubicBezTo>
                    <a:pt x="914959" y="524232"/>
                    <a:pt x="916111" y="523311"/>
                    <a:pt x="917032" y="522850"/>
                  </a:cubicBezTo>
                  <a:cubicBezTo>
                    <a:pt x="917954" y="522274"/>
                    <a:pt x="918990" y="521698"/>
                    <a:pt x="920258" y="521007"/>
                  </a:cubicBezTo>
                  <a:cubicBezTo>
                    <a:pt x="921409" y="520316"/>
                    <a:pt x="922792" y="519740"/>
                    <a:pt x="924174" y="519164"/>
                  </a:cubicBezTo>
                  <a:cubicBezTo>
                    <a:pt x="925556" y="518473"/>
                    <a:pt x="926939" y="517897"/>
                    <a:pt x="928436" y="517436"/>
                  </a:cubicBezTo>
                  <a:cubicBezTo>
                    <a:pt x="930164" y="516515"/>
                    <a:pt x="931892" y="515823"/>
                    <a:pt x="933735" y="515017"/>
                  </a:cubicBezTo>
                  <a:cubicBezTo>
                    <a:pt x="935463" y="514326"/>
                    <a:pt x="937191" y="513520"/>
                    <a:pt x="938688" y="512598"/>
                  </a:cubicBezTo>
                  <a:cubicBezTo>
                    <a:pt x="940185" y="511677"/>
                    <a:pt x="941453" y="510409"/>
                    <a:pt x="942374" y="508797"/>
                  </a:cubicBezTo>
                  <a:cubicBezTo>
                    <a:pt x="943296" y="507184"/>
                    <a:pt x="943872" y="505111"/>
                    <a:pt x="943987" y="502231"/>
                  </a:cubicBezTo>
                  <a:lnTo>
                    <a:pt x="943641" y="500849"/>
                  </a:lnTo>
                  <a:cubicBezTo>
                    <a:pt x="943065" y="498775"/>
                    <a:pt x="942259" y="497047"/>
                    <a:pt x="941337" y="495550"/>
                  </a:cubicBezTo>
                  <a:cubicBezTo>
                    <a:pt x="940416" y="493937"/>
                    <a:pt x="939379" y="492670"/>
                    <a:pt x="938342" y="491518"/>
                  </a:cubicBezTo>
                  <a:cubicBezTo>
                    <a:pt x="937306" y="490366"/>
                    <a:pt x="936154" y="489330"/>
                    <a:pt x="935002" y="488293"/>
                  </a:cubicBezTo>
                  <a:cubicBezTo>
                    <a:pt x="933965" y="487256"/>
                    <a:pt x="932813" y="486450"/>
                    <a:pt x="931661" y="485528"/>
                  </a:cubicBezTo>
                  <a:cubicBezTo>
                    <a:pt x="929933" y="484261"/>
                    <a:pt x="928090" y="482994"/>
                    <a:pt x="926247" y="481727"/>
                  </a:cubicBezTo>
                  <a:cubicBezTo>
                    <a:pt x="924404" y="480460"/>
                    <a:pt x="922446" y="479308"/>
                    <a:pt x="920488" y="478041"/>
                  </a:cubicBezTo>
                  <a:cubicBezTo>
                    <a:pt x="918530" y="476889"/>
                    <a:pt x="916687" y="475737"/>
                    <a:pt x="914728" y="474585"/>
                  </a:cubicBezTo>
                  <a:cubicBezTo>
                    <a:pt x="912885" y="473433"/>
                    <a:pt x="911042" y="472281"/>
                    <a:pt x="909314" y="471245"/>
                  </a:cubicBezTo>
                  <a:cubicBezTo>
                    <a:pt x="908508" y="470669"/>
                    <a:pt x="907587" y="470093"/>
                    <a:pt x="906895" y="469517"/>
                  </a:cubicBezTo>
                  <a:cubicBezTo>
                    <a:pt x="906089" y="469056"/>
                    <a:pt x="905398" y="468480"/>
                    <a:pt x="904592" y="468019"/>
                  </a:cubicBezTo>
                  <a:cubicBezTo>
                    <a:pt x="903900" y="467559"/>
                    <a:pt x="903209" y="467098"/>
                    <a:pt x="902633" y="466637"/>
                  </a:cubicBezTo>
                  <a:cubicBezTo>
                    <a:pt x="902057" y="466176"/>
                    <a:pt x="901481" y="465716"/>
                    <a:pt x="901021" y="465370"/>
                  </a:cubicBezTo>
                  <a:lnTo>
                    <a:pt x="900330" y="464794"/>
                  </a:lnTo>
                  <a:cubicBezTo>
                    <a:pt x="900330" y="464794"/>
                    <a:pt x="901251" y="463642"/>
                    <a:pt x="901942" y="462951"/>
                  </a:cubicBezTo>
                  <a:cubicBezTo>
                    <a:pt x="902633" y="462260"/>
                    <a:pt x="903555" y="461453"/>
                    <a:pt x="904592" y="460647"/>
                  </a:cubicBezTo>
                  <a:cubicBezTo>
                    <a:pt x="905513" y="459841"/>
                    <a:pt x="906665" y="458919"/>
                    <a:pt x="907817" y="458113"/>
                  </a:cubicBezTo>
                  <a:cubicBezTo>
                    <a:pt x="908969" y="457191"/>
                    <a:pt x="910121" y="456385"/>
                    <a:pt x="911388" y="455579"/>
                  </a:cubicBezTo>
                  <a:cubicBezTo>
                    <a:pt x="912770" y="454427"/>
                    <a:pt x="914152" y="453390"/>
                    <a:pt x="915535" y="452353"/>
                  </a:cubicBezTo>
                  <a:cubicBezTo>
                    <a:pt x="916917" y="451317"/>
                    <a:pt x="918299" y="450395"/>
                    <a:pt x="919451" y="449128"/>
                  </a:cubicBezTo>
                  <a:cubicBezTo>
                    <a:pt x="920603" y="447976"/>
                    <a:pt x="921640" y="446594"/>
                    <a:pt x="922331" y="444981"/>
                  </a:cubicBezTo>
                  <a:cubicBezTo>
                    <a:pt x="923022" y="443369"/>
                    <a:pt x="923483" y="441410"/>
                    <a:pt x="923483" y="438991"/>
                  </a:cubicBezTo>
                  <a:lnTo>
                    <a:pt x="922677" y="435651"/>
                  </a:lnTo>
                  <a:cubicBezTo>
                    <a:pt x="921755" y="433693"/>
                    <a:pt x="920718" y="432080"/>
                    <a:pt x="919682" y="430582"/>
                  </a:cubicBezTo>
                  <a:cubicBezTo>
                    <a:pt x="918645" y="429200"/>
                    <a:pt x="917493" y="428048"/>
                    <a:pt x="916341" y="426896"/>
                  </a:cubicBezTo>
                  <a:cubicBezTo>
                    <a:pt x="915189" y="425860"/>
                    <a:pt x="914037" y="424938"/>
                    <a:pt x="912770" y="424132"/>
                  </a:cubicBezTo>
                  <a:cubicBezTo>
                    <a:pt x="911618" y="423325"/>
                    <a:pt x="910466" y="422634"/>
                    <a:pt x="909314" y="421943"/>
                  </a:cubicBezTo>
                  <a:cubicBezTo>
                    <a:pt x="907471" y="420906"/>
                    <a:pt x="905628" y="419870"/>
                    <a:pt x="903670" y="418948"/>
                  </a:cubicBezTo>
                  <a:cubicBezTo>
                    <a:pt x="901712" y="418027"/>
                    <a:pt x="899869" y="416990"/>
                    <a:pt x="897911" y="416184"/>
                  </a:cubicBezTo>
                  <a:cubicBezTo>
                    <a:pt x="895952" y="415262"/>
                    <a:pt x="893994" y="414341"/>
                    <a:pt x="892036" y="413534"/>
                  </a:cubicBezTo>
                  <a:cubicBezTo>
                    <a:pt x="890193" y="412613"/>
                    <a:pt x="888235" y="411806"/>
                    <a:pt x="886507" y="410885"/>
                  </a:cubicBezTo>
                  <a:cubicBezTo>
                    <a:pt x="885700" y="410424"/>
                    <a:pt x="884779" y="410078"/>
                    <a:pt x="883972" y="409618"/>
                  </a:cubicBezTo>
                  <a:cubicBezTo>
                    <a:pt x="883166" y="409157"/>
                    <a:pt x="882360" y="408811"/>
                    <a:pt x="881669" y="408466"/>
                  </a:cubicBezTo>
                  <a:cubicBezTo>
                    <a:pt x="880862" y="408005"/>
                    <a:pt x="880286" y="407660"/>
                    <a:pt x="879595" y="407314"/>
                  </a:cubicBezTo>
                  <a:cubicBezTo>
                    <a:pt x="878904" y="406853"/>
                    <a:pt x="878443" y="406623"/>
                    <a:pt x="877867" y="406162"/>
                  </a:cubicBezTo>
                  <a:lnTo>
                    <a:pt x="877176" y="405816"/>
                  </a:lnTo>
                  <a:cubicBezTo>
                    <a:pt x="877176" y="405816"/>
                    <a:pt x="877752" y="404549"/>
                    <a:pt x="878213" y="403743"/>
                  </a:cubicBezTo>
                  <a:cubicBezTo>
                    <a:pt x="878674" y="402937"/>
                    <a:pt x="879250" y="402015"/>
                    <a:pt x="879941" y="401094"/>
                  </a:cubicBezTo>
                  <a:cubicBezTo>
                    <a:pt x="880632" y="400172"/>
                    <a:pt x="881323" y="399135"/>
                    <a:pt x="882129" y="398099"/>
                  </a:cubicBezTo>
                  <a:cubicBezTo>
                    <a:pt x="882936" y="397177"/>
                    <a:pt x="883742" y="396140"/>
                    <a:pt x="884779" y="395219"/>
                  </a:cubicBezTo>
                  <a:cubicBezTo>
                    <a:pt x="885931" y="393837"/>
                    <a:pt x="887083" y="392454"/>
                    <a:pt x="888235" y="391302"/>
                  </a:cubicBezTo>
                  <a:cubicBezTo>
                    <a:pt x="889386" y="390035"/>
                    <a:pt x="890423" y="388768"/>
                    <a:pt x="891460" y="387271"/>
                  </a:cubicBezTo>
                  <a:cubicBezTo>
                    <a:pt x="892381" y="385888"/>
                    <a:pt x="893188" y="384391"/>
                    <a:pt x="893764" y="382663"/>
                  </a:cubicBezTo>
                  <a:cubicBezTo>
                    <a:pt x="894224" y="381050"/>
                    <a:pt x="894570" y="379092"/>
                    <a:pt x="894455" y="376904"/>
                  </a:cubicBezTo>
                  <a:cubicBezTo>
                    <a:pt x="894455" y="376558"/>
                    <a:pt x="894455" y="376097"/>
                    <a:pt x="894224" y="375752"/>
                  </a:cubicBezTo>
                  <a:cubicBezTo>
                    <a:pt x="894224" y="375291"/>
                    <a:pt x="894109" y="374830"/>
                    <a:pt x="893994" y="374369"/>
                  </a:cubicBezTo>
                  <a:cubicBezTo>
                    <a:pt x="893879" y="373909"/>
                    <a:pt x="893648" y="373448"/>
                    <a:pt x="893533" y="372987"/>
                  </a:cubicBezTo>
                  <a:cubicBezTo>
                    <a:pt x="893303" y="372526"/>
                    <a:pt x="893073" y="371950"/>
                    <a:pt x="892842" y="371490"/>
                  </a:cubicBezTo>
                  <a:cubicBezTo>
                    <a:pt x="891345" y="369186"/>
                    <a:pt x="889847" y="367228"/>
                    <a:pt x="888350" y="365730"/>
                  </a:cubicBezTo>
                  <a:cubicBezTo>
                    <a:pt x="886852" y="364233"/>
                    <a:pt x="885240" y="363081"/>
                    <a:pt x="883742" y="362159"/>
                  </a:cubicBezTo>
                  <a:cubicBezTo>
                    <a:pt x="882129" y="361238"/>
                    <a:pt x="880632" y="360431"/>
                    <a:pt x="879019" y="359740"/>
                  </a:cubicBezTo>
                  <a:cubicBezTo>
                    <a:pt x="877407" y="359049"/>
                    <a:pt x="875909" y="358473"/>
                    <a:pt x="874297" y="357782"/>
                  </a:cubicBezTo>
                  <a:cubicBezTo>
                    <a:pt x="872569" y="357206"/>
                    <a:pt x="870841" y="356515"/>
                    <a:pt x="869113" y="355939"/>
                  </a:cubicBezTo>
                  <a:cubicBezTo>
                    <a:pt x="867385" y="355363"/>
                    <a:pt x="865542" y="354787"/>
                    <a:pt x="863814" y="354211"/>
                  </a:cubicBezTo>
                  <a:cubicBezTo>
                    <a:pt x="862086" y="353635"/>
                    <a:pt x="860243" y="353059"/>
                    <a:pt x="858631" y="352483"/>
                  </a:cubicBezTo>
                  <a:cubicBezTo>
                    <a:pt x="856903" y="352022"/>
                    <a:pt x="855290" y="351331"/>
                    <a:pt x="853793" y="350871"/>
                  </a:cubicBezTo>
                  <a:cubicBezTo>
                    <a:pt x="853793" y="350871"/>
                    <a:pt x="853562" y="350871"/>
                    <a:pt x="853562" y="350755"/>
                  </a:cubicBezTo>
                  <a:cubicBezTo>
                    <a:pt x="853447" y="350755"/>
                    <a:pt x="853332" y="350755"/>
                    <a:pt x="853217" y="350755"/>
                  </a:cubicBezTo>
                  <a:cubicBezTo>
                    <a:pt x="853101" y="350755"/>
                    <a:pt x="853101" y="350755"/>
                    <a:pt x="852871" y="350640"/>
                  </a:cubicBezTo>
                  <a:cubicBezTo>
                    <a:pt x="852871" y="350640"/>
                    <a:pt x="852641" y="350640"/>
                    <a:pt x="852641" y="350640"/>
                  </a:cubicBezTo>
                  <a:cubicBezTo>
                    <a:pt x="852065" y="350410"/>
                    <a:pt x="851489" y="350179"/>
                    <a:pt x="850913" y="349949"/>
                  </a:cubicBezTo>
                  <a:cubicBezTo>
                    <a:pt x="850337" y="349719"/>
                    <a:pt x="849761" y="349488"/>
                    <a:pt x="849300" y="349258"/>
                  </a:cubicBezTo>
                  <a:cubicBezTo>
                    <a:pt x="848839" y="349027"/>
                    <a:pt x="848263" y="348797"/>
                    <a:pt x="847918" y="348567"/>
                  </a:cubicBezTo>
                  <a:cubicBezTo>
                    <a:pt x="847572" y="348336"/>
                    <a:pt x="847112" y="348221"/>
                    <a:pt x="846766" y="347991"/>
                  </a:cubicBezTo>
                  <a:cubicBezTo>
                    <a:pt x="846766" y="347300"/>
                    <a:pt x="847112" y="346608"/>
                    <a:pt x="847457" y="345687"/>
                  </a:cubicBezTo>
                  <a:cubicBezTo>
                    <a:pt x="847687" y="344765"/>
                    <a:pt x="848148" y="343729"/>
                    <a:pt x="848609" y="342692"/>
                  </a:cubicBezTo>
                  <a:cubicBezTo>
                    <a:pt x="849070" y="341540"/>
                    <a:pt x="849646" y="340503"/>
                    <a:pt x="850222" y="339351"/>
                  </a:cubicBezTo>
                  <a:cubicBezTo>
                    <a:pt x="850798" y="338200"/>
                    <a:pt x="851489" y="337048"/>
                    <a:pt x="852180" y="335781"/>
                  </a:cubicBezTo>
                  <a:cubicBezTo>
                    <a:pt x="852871" y="334283"/>
                    <a:pt x="853677" y="332901"/>
                    <a:pt x="854484" y="331403"/>
                  </a:cubicBezTo>
                  <a:cubicBezTo>
                    <a:pt x="855290" y="330021"/>
                    <a:pt x="855981" y="328524"/>
                    <a:pt x="856557" y="327141"/>
                  </a:cubicBezTo>
                  <a:cubicBezTo>
                    <a:pt x="857133" y="325644"/>
                    <a:pt x="857709" y="324146"/>
                    <a:pt x="857939" y="322534"/>
                  </a:cubicBezTo>
                  <a:cubicBezTo>
                    <a:pt x="858285" y="320921"/>
                    <a:pt x="858400" y="319193"/>
                    <a:pt x="858285" y="317350"/>
                  </a:cubicBezTo>
                  <a:cubicBezTo>
                    <a:pt x="858285" y="316774"/>
                    <a:pt x="858170" y="316313"/>
                    <a:pt x="858055" y="315622"/>
                  </a:cubicBezTo>
                  <a:cubicBezTo>
                    <a:pt x="857939" y="315046"/>
                    <a:pt x="857709" y="314470"/>
                    <a:pt x="857479" y="313779"/>
                  </a:cubicBezTo>
                  <a:cubicBezTo>
                    <a:pt x="857248" y="313088"/>
                    <a:pt x="857018" y="312512"/>
                    <a:pt x="856672" y="311706"/>
                  </a:cubicBezTo>
                  <a:cubicBezTo>
                    <a:pt x="856327" y="311015"/>
                    <a:pt x="855866" y="310323"/>
                    <a:pt x="855520" y="309517"/>
                  </a:cubicBezTo>
                  <a:cubicBezTo>
                    <a:pt x="854484" y="308135"/>
                    <a:pt x="853447" y="306983"/>
                    <a:pt x="852410" y="306061"/>
                  </a:cubicBezTo>
                  <a:cubicBezTo>
                    <a:pt x="851374" y="305025"/>
                    <a:pt x="850337" y="304334"/>
                    <a:pt x="849300" y="303642"/>
                  </a:cubicBezTo>
                  <a:cubicBezTo>
                    <a:pt x="848263" y="302951"/>
                    <a:pt x="847342" y="302375"/>
                    <a:pt x="846305" y="301915"/>
                  </a:cubicBezTo>
                  <a:cubicBezTo>
                    <a:pt x="845384" y="301454"/>
                    <a:pt x="844347" y="300993"/>
                    <a:pt x="843541" y="300647"/>
                  </a:cubicBezTo>
                  <a:cubicBezTo>
                    <a:pt x="840776" y="299611"/>
                    <a:pt x="837781" y="298804"/>
                    <a:pt x="834671" y="298113"/>
                  </a:cubicBezTo>
                  <a:cubicBezTo>
                    <a:pt x="831561" y="297422"/>
                    <a:pt x="828451" y="296846"/>
                    <a:pt x="825341" y="296270"/>
                  </a:cubicBezTo>
                  <a:cubicBezTo>
                    <a:pt x="822230" y="295694"/>
                    <a:pt x="819351" y="295233"/>
                    <a:pt x="816701" y="294658"/>
                  </a:cubicBezTo>
                  <a:cubicBezTo>
                    <a:pt x="814052" y="294082"/>
                    <a:pt x="811748" y="293621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905" y="292814"/>
                  </a:cubicBezTo>
                  <a:cubicBezTo>
                    <a:pt x="809905" y="292814"/>
                    <a:pt x="809905" y="292814"/>
                    <a:pt x="809790" y="292814"/>
                  </a:cubicBezTo>
                  <a:cubicBezTo>
                    <a:pt x="809790" y="292814"/>
                    <a:pt x="809790" y="292814"/>
                    <a:pt x="809790" y="292814"/>
                  </a:cubicBezTo>
                  <a:lnTo>
                    <a:pt x="809329" y="292584"/>
                  </a:lnTo>
                  <a:cubicBezTo>
                    <a:pt x="809214" y="290971"/>
                    <a:pt x="809559" y="288783"/>
                    <a:pt x="810135" y="286479"/>
                  </a:cubicBezTo>
                  <a:cubicBezTo>
                    <a:pt x="810711" y="284060"/>
                    <a:pt x="811518" y="281411"/>
                    <a:pt x="812324" y="278646"/>
                  </a:cubicBezTo>
                  <a:cubicBezTo>
                    <a:pt x="813130" y="275881"/>
                    <a:pt x="813937" y="272887"/>
                    <a:pt x="814513" y="269892"/>
                  </a:cubicBezTo>
                  <a:cubicBezTo>
                    <a:pt x="815088" y="267012"/>
                    <a:pt x="815434" y="264017"/>
                    <a:pt x="815319" y="261252"/>
                  </a:cubicBezTo>
                  <a:cubicBezTo>
                    <a:pt x="815319" y="260561"/>
                    <a:pt x="815088" y="259755"/>
                    <a:pt x="814973" y="258948"/>
                  </a:cubicBezTo>
                  <a:cubicBezTo>
                    <a:pt x="814858" y="258142"/>
                    <a:pt x="814628" y="257221"/>
                    <a:pt x="814282" y="256414"/>
                  </a:cubicBezTo>
                  <a:cubicBezTo>
                    <a:pt x="813937" y="255493"/>
                    <a:pt x="813476" y="254571"/>
                    <a:pt x="812900" y="253650"/>
                  </a:cubicBezTo>
                  <a:cubicBezTo>
                    <a:pt x="812324" y="252613"/>
                    <a:pt x="811633" y="251576"/>
                    <a:pt x="810711" y="250540"/>
                  </a:cubicBezTo>
                  <a:cubicBezTo>
                    <a:pt x="810020" y="249733"/>
                    <a:pt x="809214" y="248927"/>
                    <a:pt x="808523" y="248236"/>
                  </a:cubicBezTo>
                  <a:cubicBezTo>
                    <a:pt x="807716" y="247545"/>
                    <a:pt x="807025" y="246969"/>
                    <a:pt x="806334" y="246393"/>
                  </a:cubicBezTo>
                  <a:cubicBezTo>
                    <a:pt x="805643" y="245932"/>
                    <a:pt x="804837" y="245471"/>
                    <a:pt x="804145" y="245126"/>
                  </a:cubicBezTo>
                  <a:cubicBezTo>
                    <a:pt x="803454" y="244780"/>
                    <a:pt x="802763" y="244434"/>
                    <a:pt x="802072" y="244204"/>
                  </a:cubicBezTo>
                  <a:cubicBezTo>
                    <a:pt x="798962" y="243052"/>
                    <a:pt x="795621" y="242476"/>
                    <a:pt x="792050" y="242015"/>
                  </a:cubicBezTo>
                  <a:cubicBezTo>
                    <a:pt x="788479" y="241670"/>
                    <a:pt x="784909" y="241555"/>
                    <a:pt x="781453" y="241439"/>
                  </a:cubicBezTo>
                  <a:cubicBezTo>
                    <a:pt x="777997" y="241439"/>
                    <a:pt x="774772" y="241439"/>
                    <a:pt x="772007" y="241209"/>
                  </a:cubicBezTo>
                  <a:cubicBezTo>
                    <a:pt x="769243" y="241209"/>
                    <a:pt x="766824" y="240864"/>
                    <a:pt x="765096" y="240288"/>
                  </a:cubicBezTo>
                  <a:lnTo>
                    <a:pt x="764750" y="238099"/>
                  </a:lnTo>
                  <a:cubicBezTo>
                    <a:pt x="764635" y="236371"/>
                    <a:pt x="764635" y="234298"/>
                    <a:pt x="764750" y="232224"/>
                  </a:cubicBezTo>
                  <a:cubicBezTo>
                    <a:pt x="764865" y="230036"/>
                    <a:pt x="765096" y="227732"/>
                    <a:pt x="765326" y="225313"/>
                  </a:cubicBezTo>
                  <a:cubicBezTo>
                    <a:pt x="765557" y="222894"/>
                    <a:pt x="765787" y="220475"/>
                    <a:pt x="765902" y="218056"/>
                  </a:cubicBezTo>
                  <a:cubicBezTo>
                    <a:pt x="766017" y="215637"/>
                    <a:pt x="766017" y="213103"/>
                    <a:pt x="765902" y="210799"/>
                  </a:cubicBezTo>
                  <a:cubicBezTo>
                    <a:pt x="765902" y="209647"/>
                    <a:pt x="765672" y="208610"/>
                    <a:pt x="765557" y="207458"/>
                  </a:cubicBezTo>
                  <a:cubicBezTo>
                    <a:pt x="765441" y="206306"/>
                    <a:pt x="765096" y="205039"/>
                    <a:pt x="764750" y="203887"/>
                  </a:cubicBezTo>
                  <a:cubicBezTo>
                    <a:pt x="764289" y="202620"/>
                    <a:pt x="763713" y="201238"/>
                    <a:pt x="762792" y="199856"/>
                  </a:cubicBezTo>
                  <a:cubicBezTo>
                    <a:pt x="761870" y="198473"/>
                    <a:pt x="760834" y="196976"/>
                    <a:pt x="759336" y="195363"/>
                  </a:cubicBezTo>
                  <a:cubicBezTo>
                    <a:pt x="758876" y="194787"/>
                    <a:pt x="758300" y="194327"/>
                    <a:pt x="757724" y="193866"/>
                  </a:cubicBezTo>
                  <a:cubicBezTo>
                    <a:pt x="757148" y="193405"/>
                    <a:pt x="756572" y="193059"/>
                    <a:pt x="755996" y="192599"/>
                  </a:cubicBezTo>
                  <a:cubicBezTo>
                    <a:pt x="755420" y="192253"/>
                    <a:pt x="754844" y="191908"/>
                    <a:pt x="754383" y="191677"/>
                  </a:cubicBezTo>
                  <a:cubicBezTo>
                    <a:pt x="753807" y="191447"/>
                    <a:pt x="753231" y="191101"/>
                    <a:pt x="752770" y="190986"/>
                  </a:cubicBezTo>
                  <a:cubicBezTo>
                    <a:pt x="750582" y="190180"/>
                    <a:pt x="748508" y="189719"/>
                    <a:pt x="746550" y="189489"/>
                  </a:cubicBezTo>
                  <a:cubicBezTo>
                    <a:pt x="744592" y="189258"/>
                    <a:pt x="742749" y="189258"/>
                    <a:pt x="740906" y="189373"/>
                  </a:cubicBezTo>
                  <a:cubicBezTo>
                    <a:pt x="739063" y="189489"/>
                    <a:pt x="737220" y="189719"/>
                    <a:pt x="735377" y="189949"/>
                  </a:cubicBezTo>
                  <a:cubicBezTo>
                    <a:pt x="733534" y="190180"/>
                    <a:pt x="731691" y="190525"/>
                    <a:pt x="729732" y="190756"/>
                  </a:cubicBezTo>
                  <a:cubicBezTo>
                    <a:pt x="728350" y="191101"/>
                    <a:pt x="726853" y="191216"/>
                    <a:pt x="725470" y="191447"/>
                  </a:cubicBezTo>
                  <a:cubicBezTo>
                    <a:pt x="724088" y="191677"/>
                    <a:pt x="722706" y="191792"/>
                    <a:pt x="721323" y="191792"/>
                  </a:cubicBezTo>
                  <a:cubicBezTo>
                    <a:pt x="720056" y="191792"/>
                    <a:pt x="718789" y="192023"/>
                    <a:pt x="717752" y="192023"/>
                  </a:cubicBezTo>
                  <a:cubicBezTo>
                    <a:pt x="716716" y="192023"/>
                    <a:pt x="715794" y="192023"/>
                    <a:pt x="715103" y="192023"/>
                  </a:cubicBezTo>
                  <a:cubicBezTo>
                    <a:pt x="714873" y="191216"/>
                    <a:pt x="714642" y="190064"/>
                    <a:pt x="714412" y="188797"/>
                  </a:cubicBezTo>
                  <a:cubicBezTo>
                    <a:pt x="714182" y="187530"/>
                    <a:pt x="713951" y="185918"/>
                    <a:pt x="713721" y="184305"/>
                  </a:cubicBezTo>
                  <a:cubicBezTo>
                    <a:pt x="713490" y="182692"/>
                    <a:pt x="713260" y="180849"/>
                    <a:pt x="713030" y="179121"/>
                  </a:cubicBezTo>
                  <a:cubicBezTo>
                    <a:pt x="712799" y="177278"/>
                    <a:pt x="712799" y="175435"/>
                    <a:pt x="712684" y="173707"/>
                  </a:cubicBezTo>
                  <a:cubicBezTo>
                    <a:pt x="712684" y="172556"/>
                    <a:pt x="712454" y="171404"/>
                    <a:pt x="712339" y="170252"/>
                  </a:cubicBezTo>
                  <a:cubicBezTo>
                    <a:pt x="712339" y="169100"/>
                    <a:pt x="712108" y="167948"/>
                    <a:pt x="711993" y="166796"/>
                  </a:cubicBezTo>
                  <a:cubicBezTo>
                    <a:pt x="711878" y="165644"/>
                    <a:pt x="711647" y="164492"/>
                    <a:pt x="711417" y="163340"/>
                  </a:cubicBezTo>
                  <a:cubicBezTo>
                    <a:pt x="711187" y="162188"/>
                    <a:pt x="710956" y="161036"/>
                    <a:pt x="710726" y="159885"/>
                  </a:cubicBezTo>
                  <a:cubicBezTo>
                    <a:pt x="710495" y="158848"/>
                    <a:pt x="710150" y="157696"/>
                    <a:pt x="709804" y="156544"/>
                  </a:cubicBezTo>
                  <a:cubicBezTo>
                    <a:pt x="709459" y="155392"/>
                    <a:pt x="708998" y="154125"/>
                    <a:pt x="708422" y="152973"/>
                  </a:cubicBezTo>
                  <a:cubicBezTo>
                    <a:pt x="707846" y="151821"/>
                    <a:pt x="707040" y="150439"/>
                    <a:pt x="706003" y="149057"/>
                  </a:cubicBezTo>
                  <a:cubicBezTo>
                    <a:pt x="704966" y="147790"/>
                    <a:pt x="703699" y="146407"/>
                    <a:pt x="702087" y="145025"/>
                  </a:cubicBezTo>
                  <a:cubicBezTo>
                    <a:pt x="701741" y="144679"/>
                    <a:pt x="701280" y="144449"/>
                    <a:pt x="700935" y="144219"/>
                  </a:cubicBezTo>
                  <a:cubicBezTo>
                    <a:pt x="700589" y="143988"/>
                    <a:pt x="700128" y="143643"/>
                    <a:pt x="699783" y="143412"/>
                  </a:cubicBezTo>
                  <a:cubicBezTo>
                    <a:pt x="699437" y="143182"/>
                    <a:pt x="698976" y="142952"/>
                    <a:pt x="698631" y="142721"/>
                  </a:cubicBezTo>
                  <a:cubicBezTo>
                    <a:pt x="698285" y="142606"/>
                    <a:pt x="697825" y="142376"/>
                    <a:pt x="697479" y="142260"/>
                  </a:cubicBezTo>
                  <a:cubicBezTo>
                    <a:pt x="694830" y="141339"/>
                    <a:pt x="692526" y="140878"/>
                    <a:pt x="690452" y="140878"/>
                  </a:cubicBezTo>
                  <a:cubicBezTo>
                    <a:pt x="688264" y="140878"/>
                    <a:pt x="686421" y="140993"/>
                    <a:pt x="684578" y="141454"/>
                  </a:cubicBezTo>
                  <a:cubicBezTo>
                    <a:pt x="682735" y="141915"/>
                    <a:pt x="681007" y="142491"/>
                    <a:pt x="679164" y="143182"/>
                  </a:cubicBezTo>
                  <a:cubicBezTo>
                    <a:pt x="677436" y="143873"/>
                    <a:pt x="675593" y="144564"/>
                    <a:pt x="673635" y="145140"/>
                  </a:cubicBezTo>
                  <a:cubicBezTo>
                    <a:pt x="672713" y="145486"/>
                    <a:pt x="671907" y="145831"/>
                    <a:pt x="670985" y="146062"/>
                  </a:cubicBezTo>
                  <a:cubicBezTo>
                    <a:pt x="670064" y="146407"/>
                    <a:pt x="669257" y="146638"/>
                    <a:pt x="668451" y="146983"/>
                  </a:cubicBezTo>
                  <a:cubicBezTo>
                    <a:pt x="667645" y="147214"/>
                    <a:pt x="666838" y="147559"/>
                    <a:pt x="666032" y="147790"/>
                  </a:cubicBezTo>
                  <a:cubicBezTo>
                    <a:pt x="665226" y="148020"/>
                    <a:pt x="664534" y="148250"/>
                    <a:pt x="663843" y="148365"/>
                  </a:cubicBezTo>
                  <a:cubicBezTo>
                    <a:pt x="663498" y="148365"/>
                    <a:pt x="663152" y="148481"/>
                    <a:pt x="662807" y="148596"/>
                  </a:cubicBezTo>
                  <a:cubicBezTo>
                    <a:pt x="662461" y="148596"/>
                    <a:pt x="662115" y="148596"/>
                    <a:pt x="661885" y="148596"/>
                  </a:cubicBezTo>
                  <a:cubicBezTo>
                    <a:pt x="661539" y="148596"/>
                    <a:pt x="661309" y="148596"/>
                    <a:pt x="660964" y="148596"/>
                  </a:cubicBezTo>
                  <a:cubicBezTo>
                    <a:pt x="660733" y="148596"/>
                    <a:pt x="660503" y="148596"/>
                    <a:pt x="660272" y="148596"/>
                  </a:cubicBezTo>
                  <a:cubicBezTo>
                    <a:pt x="659927" y="147790"/>
                    <a:pt x="659466" y="146638"/>
                    <a:pt x="659120" y="145371"/>
                  </a:cubicBezTo>
                  <a:cubicBezTo>
                    <a:pt x="658660" y="143988"/>
                    <a:pt x="658199" y="142376"/>
                    <a:pt x="657623" y="140763"/>
                  </a:cubicBezTo>
                  <a:cubicBezTo>
                    <a:pt x="657162" y="139035"/>
                    <a:pt x="656586" y="137192"/>
                    <a:pt x="656126" y="135234"/>
                  </a:cubicBezTo>
                  <a:cubicBezTo>
                    <a:pt x="655665" y="133276"/>
                    <a:pt x="655204" y="131432"/>
                    <a:pt x="654743" y="129474"/>
                  </a:cubicBezTo>
                  <a:cubicBezTo>
                    <a:pt x="654513" y="128207"/>
                    <a:pt x="654282" y="127055"/>
                    <a:pt x="653937" y="125788"/>
                  </a:cubicBezTo>
                  <a:cubicBezTo>
                    <a:pt x="653591" y="124521"/>
                    <a:pt x="653246" y="123254"/>
                    <a:pt x="653015" y="122102"/>
                  </a:cubicBezTo>
                  <a:cubicBezTo>
                    <a:pt x="652670" y="120835"/>
                    <a:pt x="652324" y="119683"/>
                    <a:pt x="651863" y="118416"/>
                  </a:cubicBezTo>
                  <a:cubicBezTo>
                    <a:pt x="651518" y="117264"/>
                    <a:pt x="651057" y="115997"/>
                    <a:pt x="650596" y="114845"/>
                  </a:cubicBezTo>
                  <a:cubicBezTo>
                    <a:pt x="650136" y="113693"/>
                    <a:pt x="649675" y="112541"/>
                    <a:pt x="649099" y="111389"/>
                  </a:cubicBezTo>
                  <a:cubicBezTo>
                    <a:pt x="648523" y="110122"/>
                    <a:pt x="647832" y="108970"/>
                    <a:pt x="647141" y="107703"/>
                  </a:cubicBezTo>
                  <a:cubicBezTo>
                    <a:pt x="646334" y="106436"/>
                    <a:pt x="645413" y="105284"/>
                    <a:pt x="644146" y="104017"/>
                  </a:cubicBezTo>
                  <a:cubicBezTo>
                    <a:pt x="642994" y="102750"/>
                    <a:pt x="641496" y="101598"/>
                    <a:pt x="639768" y="100331"/>
                  </a:cubicBezTo>
                  <a:lnTo>
                    <a:pt x="636889" y="98834"/>
                  </a:lnTo>
                  <a:cubicBezTo>
                    <a:pt x="633894" y="97912"/>
                    <a:pt x="631244" y="97566"/>
                    <a:pt x="629056" y="97682"/>
                  </a:cubicBezTo>
                  <a:cubicBezTo>
                    <a:pt x="626867" y="97682"/>
                    <a:pt x="624909" y="98373"/>
                    <a:pt x="623181" y="99179"/>
                  </a:cubicBezTo>
                  <a:cubicBezTo>
                    <a:pt x="621453" y="99985"/>
                    <a:pt x="619840" y="101022"/>
                    <a:pt x="618228" y="102059"/>
                  </a:cubicBezTo>
                  <a:cubicBezTo>
                    <a:pt x="616615" y="103096"/>
                    <a:pt x="615003" y="104247"/>
                    <a:pt x="613044" y="105169"/>
                  </a:cubicBezTo>
                  <a:cubicBezTo>
                    <a:pt x="612238" y="105630"/>
                    <a:pt x="611432" y="106206"/>
                    <a:pt x="610625" y="106666"/>
                  </a:cubicBezTo>
                  <a:cubicBezTo>
                    <a:pt x="609819" y="107127"/>
                    <a:pt x="609013" y="107588"/>
                    <a:pt x="608206" y="108049"/>
                  </a:cubicBezTo>
                  <a:cubicBezTo>
                    <a:pt x="607400" y="108510"/>
                    <a:pt x="606709" y="108970"/>
                    <a:pt x="605902" y="109316"/>
                  </a:cubicBezTo>
                  <a:cubicBezTo>
                    <a:pt x="605211" y="109777"/>
                    <a:pt x="604520" y="110007"/>
                    <a:pt x="603829" y="110353"/>
                  </a:cubicBezTo>
                  <a:lnTo>
                    <a:pt x="601064" y="111274"/>
                  </a:lnTo>
                  <a:cubicBezTo>
                    <a:pt x="600604" y="110468"/>
                    <a:pt x="600028" y="109316"/>
                    <a:pt x="599337" y="107934"/>
                  </a:cubicBezTo>
                  <a:cubicBezTo>
                    <a:pt x="598645" y="106551"/>
                    <a:pt x="597954" y="104939"/>
                    <a:pt x="597148" y="103096"/>
                  </a:cubicBezTo>
                  <a:cubicBezTo>
                    <a:pt x="596342" y="101368"/>
                    <a:pt x="595535" y="99409"/>
                    <a:pt x="594729" y="97451"/>
                  </a:cubicBezTo>
                  <a:cubicBezTo>
                    <a:pt x="593923" y="95493"/>
                    <a:pt x="593231" y="93420"/>
                    <a:pt x="592540" y="91461"/>
                  </a:cubicBezTo>
                  <a:cubicBezTo>
                    <a:pt x="592080" y="90194"/>
                    <a:pt x="591504" y="88927"/>
                    <a:pt x="591043" y="87660"/>
                  </a:cubicBezTo>
                  <a:cubicBezTo>
                    <a:pt x="590467" y="86393"/>
                    <a:pt x="590006" y="85126"/>
                    <a:pt x="589430" y="83859"/>
                  </a:cubicBezTo>
                  <a:cubicBezTo>
                    <a:pt x="588854" y="82592"/>
                    <a:pt x="588393" y="81325"/>
                    <a:pt x="587702" y="80173"/>
                  </a:cubicBezTo>
                  <a:cubicBezTo>
                    <a:pt x="587126" y="78906"/>
                    <a:pt x="586435" y="77754"/>
                    <a:pt x="585744" y="76487"/>
                  </a:cubicBezTo>
                  <a:cubicBezTo>
                    <a:pt x="585168" y="75335"/>
                    <a:pt x="584477" y="74183"/>
                    <a:pt x="583671" y="72916"/>
                  </a:cubicBezTo>
                  <a:cubicBezTo>
                    <a:pt x="582980" y="71649"/>
                    <a:pt x="582058" y="70497"/>
                    <a:pt x="581136" y="69230"/>
                  </a:cubicBezTo>
                  <a:cubicBezTo>
                    <a:pt x="580100" y="67962"/>
                    <a:pt x="578948" y="66811"/>
                    <a:pt x="577681" y="65659"/>
                  </a:cubicBezTo>
                  <a:cubicBezTo>
                    <a:pt x="576298" y="64507"/>
                    <a:pt x="574801" y="63470"/>
                    <a:pt x="572843" y="62318"/>
                  </a:cubicBezTo>
                  <a:lnTo>
                    <a:pt x="572728" y="62318"/>
                  </a:lnTo>
                  <a:cubicBezTo>
                    <a:pt x="572728" y="62318"/>
                    <a:pt x="571921" y="61857"/>
                    <a:pt x="571921" y="61857"/>
                  </a:cubicBezTo>
                  <a:cubicBezTo>
                    <a:pt x="569963" y="61166"/>
                    <a:pt x="568350" y="60821"/>
                    <a:pt x="566853" y="60590"/>
                  </a:cubicBezTo>
                  <a:cubicBezTo>
                    <a:pt x="565355" y="60475"/>
                    <a:pt x="564203" y="60590"/>
                    <a:pt x="563052" y="60821"/>
                  </a:cubicBezTo>
                  <a:cubicBezTo>
                    <a:pt x="561900" y="61051"/>
                    <a:pt x="560978" y="61512"/>
                    <a:pt x="560172" y="61973"/>
                  </a:cubicBezTo>
                  <a:cubicBezTo>
                    <a:pt x="559250" y="62433"/>
                    <a:pt x="558444" y="63009"/>
                    <a:pt x="557638" y="63470"/>
                  </a:cubicBezTo>
                  <a:cubicBezTo>
                    <a:pt x="556486" y="64392"/>
                    <a:pt x="555334" y="65313"/>
                    <a:pt x="554182" y="66350"/>
                  </a:cubicBezTo>
                  <a:cubicBezTo>
                    <a:pt x="553030" y="67386"/>
                    <a:pt x="551993" y="68538"/>
                    <a:pt x="550841" y="69690"/>
                  </a:cubicBezTo>
                  <a:cubicBezTo>
                    <a:pt x="549805" y="70842"/>
                    <a:pt x="548653" y="71994"/>
                    <a:pt x="547616" y="73146"/>
                  </a:cubicBezTo>
                  <a:cubicBezTo>
                    <a:pt x="546464" y="74298"/>
                    <a:pt x="545543" y="75335"/>
                    <a:pt x="544506" y="76371"/>
                  </a:cubicBezTo>
                  <a:cubicBezTo>
                    <a:pt x="544045" y="76832"/>
                    <a:pt x="543469" y="77293"/>
                    <a:pt x="543008" y="77754"/>
                  </a:cubicBezTo>
                  <a:cubicBezTo>
                    <a:pt x="542548" y="78214"/>
                    <a:pt x="541972" y="78560"/>
                    <a:pt x="541511" y="79021"/>
                  </a:cubicBezTo>
                  <a:cubicBezTo>
                    <a:pt x="541050" y="79366"/>
                    <a:pt x="540589" y="79712"/>
                    <a:pt x="540129" y="79942"/>
                  </a:cubicBezTo>
                  <a:cubicBezTo>
                    <a:pt x="539668" y="80173"/>
                    <a:pt x="539322" y="80518"/>
                    <a:pt x="538977" y="80633"/>
                  </a:cubicBezTo>
                  <a:lnTo>
                    <a:pt x="538401" y="80864"/>
                  </a:lnTo>
                  <a:cubicBezTo>
                    <a:pt x="537825" y="80057"/>
                    <a:pt x="537134" y="79021"/>
                    <a:pt x="536212" y="77638"/>
                  </a:cubicBezTo>
                  <a:cubicBezTo>
                    <a:pt x="535291" y="76256"/>
                    <a:pt x="534254" y="74644"/>
                    <a:pt x="533217" y="72916"/>
                  </a:cubicBezTo>
                  <a:cubicBezTo>
                    <a:pt x="532180" y="71188"/>
                    <a:pt x="531029" y="69230"/>
                    <a:pt x="529877" y="67271"/>
                  </a:cubicBezTo>
                  <a:cubicBezTo>
                    <a:pt x="528725" y="65313"/>
                    <a:pt x="527688" y="63240"/>
                    <a:pt x="526651" y="61281"/>
                  </a:cubicBezTo>
                  <a:cubicBezTo>
                    <a:pt x="525960" y="59899"/>
                    <a:pt x="525269" y="58747"/>
                    <a:pt x="524578" y="57365"/>
                  </a:cubicBezTo>
                  <a:cubicBezTo>
                    <a:pt x="523887" y="56098"/>
                    <a:pt x="523196" y="54716"/>
                    <a:pt x="522504" y="53564"/>
                  </a:cubicBezTo>
                  <a:cubicBezTo>
                    <a:pt x="521813" y="52297"/>
                    <a:pt x="521007" y="51029"/>
                    <a:pt x="520316" y="49762"/>
                  </a:cubicBezTo>
                  <a:cubicBezTo>
                    <a:pt x="519625" y="48495"/>
                    <a:pt x="518818" y="47343"/>
                    <a:pt x="518012" y="46191"/>
                  </a:cubicBezTo>
                  <a:cubicBezTo>
                    <a:pt x="517091" y="45040"/>
                    <a:pt x="516284" y="43888"/>
                    <a:pt x="515363" y="42621"/>
                  </a:cubicBezTo>
                  <a:cubicBezTo>
                    <a:pt x="514441" y="41469"/>
                    <a:pt x="513520" y="40317"/>
                    <a:pt x="512368" y="39165"/>
                  </a:cubicBezTo>
                  <a:cubicBezTo>
                    <a:pt x="511331" y="38013"/>
                    <a:pt x="510064" y="36861"/>
                    <a:pt x="508682" y="35824"/>
                  </a:cubicBezTo>
                  <a:cubicBezTo>
                    <a:pt x="507299" y="34788"/>
                    <a:pt x="505687" y="33751"/>
                    <a:pt x="503728" y="32829"/>
                  </a:cubicBezTo>
                  <a:lnTo>
                    <a:pt x="503498" y="32829"/>
                  </a:lnTo>
                  <a:cubicBezTo>
                    <a:pt x="503498" y="32829"/>
                    <a:pt x="503383" y="32714"/>
                    <a:pt x="503268" y="32599"/>
                  </a:cubicBezTo>
                  <a:cubicBezTo>
                    <a:pt x="503152" y="32599"/>
                    <a:pt x="502922" y="32599"/>
                    <a:pt x="502807" y="32369"/>
                  </a:cubicBezTo>
                  <a:cubicBezTo>
                    <a:pt x="502692" y="32369"/>
                    <a:pt x="502346" y="32253"/>
                    <a:pt x="502116" y="32138"/>
                  </a:cubicBezTo>
                  <a:cubicBezTo>
                    <a:pt x="501885" y="32138"/>
                    <a:pt x="501425" y="31908"/>
                    <a:pt x="501079" y="31908"/>
                  </a:cubicBezTo>
                  <a:cubicBezTo>
                    <a:pt x="499351" y="31447"/>
                    <a:pt x="497854" y="31447"/>
                    <a:pt x="496587" y="31447"/>
                  </a:cubicBezTo>
                  <a:cubicBezTo>
                    <a:pt x="495319" y="31562"/>
                    <a:pt x="494283" y="31908"/>
                    <a:pt x="493361" y="32369"/>
                  </a:cubicBezTo>
                  <a:cubicBezTo>
                    <a:pt x="492440" y="32829"/>
                    <a:pt x="491633" y="33405"/>
                    <a:pt x="490942" y="33981"/>
                  </a:cubicBezTo>
                  <a:cubicBezTo>
                    <a:pt x="490251" y="34672"/>
                    <a:pt x="489560" y="35248"/>
                    <a:pt x="488869" y="35824"/>
                  </a:cubicBezTo>
                  <a:cubicBezTo>
                    <a:pt x="487832" y="36976"/>
                    <a:pt x="486911" y="38128"/>
                    <a:pt x="485989" y="39510"/>
                  </a:cubicBezTo>
                  <a:cubicBezTo>
                    <a:pt x="485068" y="40777"/>
                    <a:pt x="484261" y="42275"/>
                    <a:pt x="483340" y="43657"/>
                  </a:cubicBezTo>
                  <a:cubicBezTo>
                    <a:pt x="482533" y="45040"/>
                    <a:pt x="481727" y="46537"/>
                    <a:pt x="480921" y="47919"/>
                  </a:cubicBezTo>
                  <a:cubicBezTo>
                    <a:pt x="480114" y="49302"/>
                    <a:pt x="479308" y="50684"/>
                    <a:pt x="478617" y="51951"/>
                  </a:cubicBezTo>
                  <a:cubicBezTo>
                    <a:pt x="478156" y="52642"/>
                    <a:pt x="477811" y="53218"/>
                    <a:pt x="477465" y="53794"/>
                  </a:cubicBezTo>
                  <a:cubicBezTo>
                    <a:pt x="477119" y="54370"/>
                    <a:pt x="476659" y="54946"/>
                    <a:pt x="476313" y="55407"/>
                  </a:cubicBezTo>
                  <a:cubicBezTo>
                    <a:pt x="475967" y="55867"/>
                    <a:pt x="475622" y="56328"/>
                    <a:pt x="475161" y="56789"/>
                  </a:cubicBezTo>
                  <a:cubicBezTo>
                    <a:pt x="474816" y="57135"/>
                    <a:pt x="474470" y="57480"/>
                    <a:pt x="474240" y="57710"/>
                  </a:cubicBezTo>
                  <a:lnTo>
                    <a:pt x="473779" y="58171"/>
                  </a:lnTo>
                  <a:cubicBezTo>
                    <a:pt x="473088" y="57480"/>
                    <a:pt x="472051" y="56328"/>
                    <a:pt x="471014" y="55061"/>
                  </a:cubicBezTo>
                  <a:cubicBezTo>
                    <a:pt x="469862" y="53679"/>
                    <a:pt x="468710" y="52181"/>
                    <a:pt x="467443" y="50338"/>
                  </a:cubicBezTo>
                  <a:cubicBezTo>
                    <a:pt x="466061" y="48610"/>
                    <a:pt x="464679" y="46652"/>
                    <a:pt x="463296" y="44809"/>
                  </a:cubicBezTo>
                  <a:cubicBezTo>
                    <a:pt x="461914" y="42851"/>
                    <a:pt x="460532" y="40777"/>
                    <a:pt x="459150" y="38819"/>
                  </a:cubicBezTo>
                  <a:cubicBezTo>
                    <a:pt x="457307" y="36400"/>
                    <a:pt x="455579" y="33866"/>
                    <a:pt x="453851" y="31447"/>
                  </a:cubicBezTo>
                  <a:cubicBezTo>
                    <a:pt x="452123" y="29028"/>
                    <a:pt x="450510" y="26724"/>
                    <a:pt x="448552" y="24420"/>
                  </a:cubicBezTo>
                  <a:cubicBezTo>
                    <a:pt x="446709" y="22117"/>
                    <a:pt x="444751" y="20043"/>
                    <a:pt x="442332" y="17970"/>
                  </a:cubicBezTo>
                  <a:cubicBezTo>
                    <a:pt x="440028" y="15896"/>
                    <a:pt x="437263" y="14053"/>
                    <a:pt x="434038" y="12325"/>
                  </a:cubicBezTo>
                  <a:lnTo>
                    <a:pt x="430122" y="11173"/>
                  </a:lnTo>
                  <a:cubicBezTo>
                    <a:pt x="428163" y="10828"/>
                    <a:pt x="426666" y="10943"/>
                    <a:pt x="425284" y="11173"/>
                  </a:cubicBezTo>
                  <a:cubicBezTo>
                    <a:pt x="424017" y="11404"/>
                    <a:pt x="422980" y="11980"/>
                    <a:pt x="422058" y="12556"/>
                  </a:cubicBezTo>
                  <a:cubicBezTo>
                    <a:pt x="421137" y="13247"/>
                    <a:pt x="420446" y="14053"/>
                    <a:pt x="419870" y="14860"/>
                  </a:cubicBezTo>
                  <a:cubicBezTo>
                    <a:pt x="419294" y="15666"/>
                    <a:pt x="418718" y="16587"/>
                    <a:pt x="418142" y="17394"/>
                  </a:cubicBezTo>
                  <a:cubicBezTo>
                    <a:pt x="417451" y="18776"/>
                    <a:pt x="416759" y="20274"/>
                    <a:pt x="416184" y="21886"/>
                  </a:cubicBezTo>
                  <a:cubicBezTo>
                    <a:pt x="415608" y="23499"/>
                    <a:pt x="415032" y="25112"/>
                    <a:pt x="414456" y="26839"/>
                  </a:cubicBezTo>
                  <a:cubicBezTo>
                    <a:pt x="413995" y="28567"/>
                    <a:pt x="413419" y="30295"/>
                    <a:pt x="412958" y="31908"/>
                  </a:cubicBezTo>
                  <a:cubicBezTo>
                    <a:pt x="412497" y="33636"/>
                    <a:pt x="412037" y="35248"/>
                    <a:pt x="411461" y="36631"/>
                  </a:cubicBezTo>
                  <a:cubicBezTo>
                    <a:pt x="411230" y="37437"/>
                    <a:pt x="411000" y="38128"/>
                    <a:pt x="410654" y="38819"/>
                  </a:cubicBezTo>
                  <a:cubicBezTo>
                    <a:pt x="410424" y="39510"/>
                    <a:pt x="410078" y="40202"/>
                    <a:pt x="409848" y="40777"/>
                  </a:cubicBezTo>
                  <a:cubicBezTo>
                    <a:pt x="409618" y="41353"/>
                    <a:pt x="409387" y="41929"/>
                    <a:pt x="409042" y="42390"/>
                  </a:cubicBezTo>
                  <a:cubicBezTo>
                    <a:pt x="408811" y="42851"/>
                    <a:pt x="408581" y="43312"/>
                    <a:pt x="408235" y="43657"/>
                  </a:cubicBezTo>
                  <a:lnTo>
                    <a:pt x="407890" y="44118"/>
                  </a:lnTo>
                  <a:cubicBezTo>
                    <a:pt x="406853" y="43312"/>
                    <a:pt x="405586" y="42160"/>
                    <a:pt x="404204" y="40777"/>
                  </a:cubicBezTo>
                  <a:cubicBezTo>
                    <a:pt x="402821" y="39395"/>
                    <a:pt x="401209" y="37783"/>
                    <a:pt x="399481" y="35824"/>
                  </a:cubicBezTo>
                  <a:cubicBezTo>
                    <a:pt x="397753" y="33981"/>
                    <a:pt x="396025" y="32023"/>
                    <a:pt x="394182" y="29950"/>
                  </a:cubicBezTo>
                  <a:cubicBezTo>
                    <a:pt x="392339" y="27876"/>
                    <a:pt x="390496" y="25803"/>
                    <a:pt x="388653" y="23729"/>
                  </a:cubicBezTo>
                  <a:cubicBezTo>
                    <a:pt x="386695" y="21541"/>
                    <a:pt x="384737" y="19467"/>
                    <a:pt x="382893" y="17394"/>
                  </a:cubicBezTo>
                  <a:cubicBezTo>
                    <a:pt x="381050" y="15320"/>
                    <a:pt x="379207" y="13362"/>
                    <a:pt x="377249" y="11404"/>
                  </a:cubicBezTo>
                  <a:cubicBezTo>
                    <a:pt x="375291" y="9446"/>
                    <a:pt x="373217" y="7718"/>
                    <a:pt x="371029" y="5990"/>
                  </a:cubicBezTo>
                  <a:cubicBezTo>
                    <a:pt x="368725" y="4377"/>
                    <a:pt x="366306" y="2765"/>
                    <a:pt x="363426" y="1382"/>
                  </a:cubicBezTo>
                  <a:cubicBezTo>
                    <a:pt x="362966" y="1267"/>
                    <a:pt x="362505" y="1037"/>
                    <a:pt x="362159" y="922"/>
                  </a:cubicBezTo>
                  <a:cubicBezTo>
                    <a:pt x="361698" y="806"/>
                    <a:pt x="361238" y="576"/>
                    <a:pt x="360662" y="461"/>
                  </a:cubicBezTo>
                  <a:cubicBezTo>
                    <a:pt x="360201" y="346"/>
                    <a:pt x="359625" y="230"/>
                    <a:pt x="359164" y="115"/>
                  </a:cubicBezTo>
                  <a:cubicBezTo>
                    <a:pt x="358588" y="115"/>
                    <a:pt x="358128" y="0"/>
                    <a:pt x="357552" y="0"/>
                  </a:cubicBezTo>
                  <a:cubicBezTo>
                    <a:pt x="355593" y="0"/>
                    <a:pt x="353981" y="346"/>
                    <a:pt x="352714" y="806"/>
                  </a:cubicBezTo>
                  <a:cubicBezTo>
                    <a:pt x="351562" y="1382"/>
                    <a:pt x="350525" y="2073"/>
                    <a:pt x="349834" y="2995"/>
                  </a:cubicBezTo>
                  <a:cubicBezTo>
                    <a:pt x="349143" y="3801"/>
                    <a:pt x="348682" y="4838"/>
                    <a:pt x="348221" y="5875"/>
                  </a:cubicBezTo>
                  <a:cubicBezTo>
                    <a:pt x="347760" y="6911"/>
                    <a:pt x="347530" y="7948"/>
                    <a:pt x="347069" y="8985"/>
                  </a:cubicBezTo>
                  <a:cubicBezTo>
                    <a:pt x="346608" y="10598"/>
                    <a:pt x="346263" y="12325"/>
                    <a:pt x="346032" y="14168"/>
                  </a:cubicBezTo>
                  <a:cubicBezTo>
                    <a:pt x="345802" y="16011"/>
                    <a:pt x="345572" y="17970"/>
                    <a:pt x="345457" y="19928"/>
                  </a:cubicBezTo>
                  <a:cubicBezTo>
                    <a:pt x="345226" y="21886"/>
                    <a:pt x="345111" y="23844"/>
                    <a:pt x="345111" y="25688"/>
                  </a:cubicBezTo>
                  <a:cubicBezTo>
                    <a:pt x="344996" y="27646"/>
                    <a:pt x="344881" y="29489"/>
                    <a:pt x="344650" y="31217"/>
                  </a:cubicBezTo>
                  <a:cubicBezTo>
                    <a:pt x="344535" y="32023"/>
                    <a:pt x="344420" y="32945"/>
                    <a:pt x="344305" y="33636"/>
                  </a:cubicBezTo>
                  <a:cubicBezTo>
                    <a:pt x="344189" y="34442"/>
                    <a:pt x="344074" y="35248"/>
                    <a:pt x="343959" y="35939"/>
                  </a:cubicBezTo>
                  <a:cubicBezTo>
                    <a:pt x="343844" y="36631"/>
                    <a:pt x="343729" y="37322"/>
                    <a:pt x="343498" y="37898"/>
                  </a:cubicBezTo>
                  <a:cubicBezTo>
                    <a:pt x="343383" y="38474"/>
                    <a:pt x="343153" y="38934"/>
                    <a:pt x="343038" y="39395"/>
                  </a:cubicBezTo>
                  <a:lnTo>
                    <a:pt x="342807" y="40086"/>
                  </a:lnTo>
                  <a:cubicBezTo>
                    <a:pt x="342001" y="39510"/>
                    <a:pt x="340849" y="38589"/>
                    <a:pt x="339467" y="37552"/>
                  </a:cubicBezTo>
                  <a:cubicBezTo>
                    <a:pt x="338200" y="36515"/>
                    <a:pt x="336587" y="35248"/>
                    <a:pt x="334974" y="33866"/>
                  </a:cubicBezTo>
                  <a:cubicBezTo>
                    <a:pt x="333362" y="32484"/>
                    <a:pt x="331634" y="30871"/>
                    <a:pt x="329791" y="29374"/>
                  </a:cubicBezTo>
                  <a:cubicBezTo>
                    <a:pt x="328063" y="27761"/>
                    <a:pt x="326220" y="26033"/>
                    <a:pt x="324492" y="24420"/>
                  </a:cubicBezTo>
                  <a:cubicBezTo>
                    <a:pt x="321958" y="22232"/>
                    <a:pt x="319654" y="20043"/>
                    <a:pt x="317350" y="17970"/>
                  </a:cubicBezTo>
                  <a:cubicBezTo>
                    <a:pt x="315046" y="15896"/>
                    <a:pt x="312627" y="13823"/>
                    <a:pt x="310323" y="11865"/>
                  </a:cubicBezTo>
                  <a:cubicBezTo>
                    <a:pt x="307904" y="9906"/>
                    <a:pt x="305601" y="7948"/>
                    <a:pt x="302951" y="6335"/>
                  </a:cubicBezTo>
                  <a:cubicBezTo>
                    <a:pt x="300417" y="4723"/>
                    <a:pt x="297768" y="3110"/>
                    <a:pt x="294888" y="1843"/>
                  </a:cubicBezTo>
                  <a:cubicBezTo>
                    <a:pt x="294197" y="1613"/>
                    <a:pt x="293621" y="1382"/>
                    <a:pt x="292930" y="1152"/>
                  </a:cubicBezTo>
                  <a:cubicBezTo>
                    <a:pt x="292238" y="922"/>
                    <a:pt x="291547" y="806"/>
                    <a:pt x="290741" y="576"/>
                  </a:cubicBezTo>
                  <a:cubicBezTo>
                    <a:pt x="290050" y="461"/>
                    <a:pt x="289244" y="346"/>
                    <a:pt x="288552" y="230"/>
                  </a:cubicBezTo>
                  <a:cubicBezTo>
                    <a:pt x="287746" y="230"/>
                    <a:pt x="287055" y="230"/>
                    <a:pt x="286364" y="230"/>
                  </a:cubicBezTo>
                  <a:cubicBezTo>
                    <a:pt x="284521" y="576"/>
                    <a:pt x="283023" y="1037"/>
                    <a:pt x="281871" y="1843"/>
                  </a:cubicBezTo>
                  <a:cubicBezTo>
                    <a:pt x="280835" y="2649"/>
                    <a:pt x="280028" y="3571"/>
                    <a:pt x="279452" y="4608"/>
                  </a:cubicBezTo>
                  <a:cubicBezTo>
                    <a:pt x="278876" y="5644"/>
                    <a:pt x="278646" y="6796"/>
                    <a:pt x="278416" y="7948"/>
                  </a:cubicBezTo>
                  <a:cubicBezTo>
                    <a:pt x="278185" y="9100"/>
                    <a:pt x="278185" y="10252"/>
                    <a:pt x="277955" y="11404"/>
                  </a:cubicBezTo>
                  <a:cubicBezTo>
                    <a:pt x="277840" y="13938"/>
                    <a:pt x="277955" y="16818"/>
                    <a:pt x="278070" y="19698"/>
                  </a:cubicBezTo>
                  <a:cubicBezTo>
                    <a:pt x="278300" y="22693"/>
                    <a:pt x="278531" y="25688"/>
                    <a:pt x="278876" y="28682"/>
                  </a:cubicBezTo>
                  <a:cubicBezTo>
                    <a:pt x="279222" y="31677"/>
                    <a:pt x="279568" y="34557"/>
                    <a:pt x="279798" y="37207"/>
                  </a:cubicBezTo>
                  <a:cubicBezTo>
                    <a:pt x="280028" y="39856"/>
                    <a:pt x="280143" y="42160"/>
                    <a:pt x="280028" y="44118"/>
                  </a:cubicBezTo>
                  <a:lnTo>
                    <a:pt x="279683" y="46422"/>
                  </a:lnTo>
                  <a:cubicBezTo>
                    <a:pt x="277494" y="45385"/>
                    <a:pt x="274269" y="43312"/>
                    <a:pt x="270583" y="40662"/>
                  </a:cubicBezTo>
                  <a:cubicBezTo>
                    <a:pt x="266781" y="38013"/>
                    <a:pt x="262519" y="34672"/>
                    <a:pt x="257797" y="31332"/>
                  </a:cubicBezTo>
                  <a:cubicBezTo>
                    <a:pt x="253189" y="27991"/>
                    <a:pt x="248351" y="24536"/>
                    <a:pt x="243513" y="21310"/>
                  </a:cubicBezTo>
                  <a:cubicBezTo>
                    <a:pt x="238675" y="18200"/>
                    <a:pt x="234067" y="15436"/>
                    <a:pt x="229805" y="13592"/>
                  </a:cubicBezTo>
                  <a:cubicBezTo>
                    <a:pt x="228999" y="13247"/>
                    <a:pt x="227962" y="12901"/>
                    <a:pt x="227041" y="12556"/>
                  </a:cubicBezTo>
                  <a:cubicBezTo>
                    <a:pt x="226004" y="12210"/>
                    <a:pt x="224967" y="11980"/>
                    <a:pt x="223930" y="11865"/>
                  </a:cubicBezTo>
                  <a:cubicBezTo>
                    <a:pt x="222894" y="11749"/>
                    <a:pt x="221857" y="11634"/>
                    <a:pt x="220705" y="11634"/>
                  </a:cubicBezTo>
                  <a:cubicBezTo>
                    <a:pt x="219668" y="11634"/>
                    <a:pt x="218632" y="11865"/>
                    <a:pt x="217595" y="12095"/>
                  </a:cubicBezTo>
                  <a:cubicBezTo>
                    <a:pt x="216443" y="12325"/>
                    <a:pt x="215522" y="12901"/>
                    <a:pt x="214715" y="13477"/>
                  </a:cubicBezTo>
                  <a:cubicBezTo>
                    <a:pt x="213909" y="14053"/>
                    <a:pt x="213333" y="14744"/>
                    <a:pt x="212987" y="15436"/>
                  </a:cubicBezTo>
                  <a:cubicBezTo>
                    <a:pt x="212527" y="16127"/>
                    <a:pt x="212181" y="16933"/>
                    <a:pt x="212066" y="17739"/>
                  </a:cubicBezTo>
                  <a:cubicBezTo>
                    <a:pt x="211835" y="18546"/>
                    <a:pt x="211720" y="19352"/>
                    <a:pt x="211720" y="20158"/>
                  </a:cubicBezTo>
                  <a:cubicBezTo>
                    <a:pt x="211605" y="23384"/>
                    <a:pt x="212066" y="27185"/>
                    <a:pt x="212987" y="31332"/>
                  </a:cubicBezTo>
                  <a:cubicBezTo>
                    <a:pt x="213794" y="35479"/>
                    <a:pt x="215061" y="39856"/>
                    <a:pt x="216213" y="44003"/>
                  </a:cubicBezTo>
                  <a:cubicBezTo>
                    <a:pt x="217480" y="48150"/>
                    <a:pt x="218632" y="52181"/>
                    <a:pt x="219553" y="55637"/>
                  </a:cubicBezTo>
                  <a:cubicBezTo>
                    <a:pt x="220360" y="58978"/>
                    <a:pt x="220936" y="61857"/>
                    <a:pt x="220820" y="63585"/>
                  </a:cubicBezTo>
                  <a:lnTo>
                    <a:pt x="220129" y="63355"/>
                  </a:lnTo>
                  <a:cubicBezTo>
                    <a:pt x="220129" y="63355"/>
                    <a:pt x="220014" y="63355"/>
                    <a:pt x="220014" y="63355"/>
                  </a:cubicBezTo>
                  <a:cubicBezTo>
                    <a:pt x="220014" y="63355"/>
                    <a:pt x="219899" y="63355"/>
                    <a:pt x="219899" y="63355"/>
                  </a:cubicBezTo>
                  <a:cubicBezTo>
                    <a:pt x="219899" y="63355"/>
                    <a:pt x="219899" y="63355"/>
                    <a:pt x="219784" y="63355"/>
                  </a:cubicBezTo>
                  <a:cubicBezTo>
                    <a:pt x="219784" y="63355"/>
                    <a:pt x="219784" y="63355"/>
                    <a:pt x="219668" y="63355"/>
                  </a:cubicBezTo>
                  <a:cubicBezTo>
                    <a:pt x="217019" y="62318"/>
                    <a:pt x="213794" y="60705"/>
                    <a:pt x="210108" y="58632"/>
                  </a:cubicBezTo>
                  <a:cubicBezTo>
                    <a:pt x="206422" y="56559"/>
                    <a:pt x="202159" y="54140"/>
                    <a:pt x="197897" y="51721"/>
                  </a:cubicBezTo>
                  <a:cubicBezTo>
                    <a:pt x="193520" y="49302"/>
                    <a:pt x="189028" y="46652"/>
                    <a:pt x="184651" y="44348"/>
                  </a:cubicBezTo>
                  <a:cubicBezTo>
                    <a:pt x="180158" y="42045"/>
                    <a:pt x="175896" y="39971"/>
                    <a:pt x="171864" y="38358"/>
                  </a:cubicBezTo>
                  <a:cubicBezTo>
                    <a:pt x="170597" y="37898"/>
                    <a:pt x="169215" y="37322"/>
                    <a:pt x="167833" y="36861"/>
                  </a:cubicBezTo>
                  <a:cubicBezTo>
                    <a:pt x="166450" y="36400"/>
                    <a:pt x="164953" y="36055"/>
                    <a:pt x="163455" y="35824"/>
                  </a:cubicBezTo>
                  <a:cubicBezTo>
                    <a:pt x="161958" y="35594"/>
                    <a:pt x="160460" y="35479"/>
                    <a:pt x="158963" y="35594"/>
                  </a:cubicBezTo>
                  <a:cubicBezTo>
                    <a:pt x="157466" y="35709"/>
                    <a:pt x="155968" y="36055"/>
                    <a:pt x="154471" y="36746"/>
                  </a:cubicBezTo>
                  <a:cubicBezTo>
                    <a:pt x="153779" y="37091"/>
                    <a:pt x="153203" y="37552"/>
                    <a:pt x="152743" y="38128"/>
                  </a:cubicBezTo>
                  <a:cubicBezTo>
                    <a:pt x="152282" y="38589"/>
                    <a:pt x="151821" y="39165"/>
                    <a:pt x="151476" y="39741"/>
                  </a:cubicBezTo>
                  <a:cubicBezTo>
                    <a:pt x="151130" y="40317"/>
                    <a:pt x="150900" y="40893"/>
                    <a:pt x="150784" y="41469"/>
                  </a:cubicBezTo>
                  <a:cubicBezTo>
                    <a:pt x="150669" y="42045"/>
                    <a:pt x="150554" y="42736"/>
                    <a:pt x="150554" y="43312"/>
                  </a:cubicBezTo>
                  <a:cubicBezTo>
                    <a:pt x="150439" y="45500"/>
                    <a:pt x="150669" y="47804"/>
                    <a:pt x="151245" y="50108"/>
                  </a:cubicBezTo>
                  <a:cubicBezTo>
                    <a:pt x="151821" y="52412"/>
                    <a:pt x="152512" y="54831"/>
                    <a:pt x="153549" y="57250"/>
                  </a:cubicBezTo>
                  <a:cubicBezTo>
                    <a:pt x="154471" y="59669"/>
                    <a:pt x="155622" y="62203"/>
                    <a:pt x="156774" y="64737"/>
                  </a:cubicBezTo>
                  <a:cubicBezTo>
                    <a:pt x="157926" y="67271"/>
                    <a:pt x="159193" y="69805"/>
                    <a:pt x="160345" y="72455"/>
                  </a:cubicBezTo>
                  <a:cubicBezTo>
                    <a:pt x="161382" y="74528"/>
                    <a:pt x="162304" y="76602"/>
                    <a:pt x="163225" y="78675"/>
                  </a:cubicBezTo>
                  <a:cubicBezTo>
                    <a:pt x="164147" y="80749"/>
                    <a:pt x="164953" y="82592"/>
                    <a:pt x="165644" y="84435"/>
                  </a:cubicBezTo>
                  <a:cubicBezTo>
                    <a:pt x="166335" y="86278"/>
                    <a:pt x="167026" y="87890"/>
                    <a:pt x="167487" y="89273"/>
                  </a:cubicBezTo>
                  <a:cubicBezTo>
                    <a:pt x="167948" y="90655"/>
                    <a:pt x="168293" y="91922"/>
                    <a:pt x="168409" y="92728"/>
                  </a:cubicBezTo>
                  <a:cubicBezTo>
                    <a:pt x="168063" y="92728"/>
                    <a:pt x="167602" y="92613"/>
                    <a:pt x="167142" y="92383"/>
                  </a:cubicBezTo>
                  <a:cubicBezTo>
                    <a:pt x="166681" y="92268"/>
                    <a:pt x="166105" y="92152"/>
                    <a:pt x="165529" y="91922"/>
                  </a:cubicBezTo>
                  <a:cubicBezTo>
                    <a:pt x="164953" y="91807"/>
                    <a:pt x="164377" y="91577"/>
                    <a:pt x="163686" y="91346"/>
                  </a:cubicBezTo>
                  <a:cubicBezTo>
                    <a:pt x="162995" y="91116"/>
                    <a:pt x="162419" y="90885"/>
                    <a:pt x="161612" y="90655"/>
                  </a:cubicBezTo>
                  <a:cubicBezTo>
                    <a:pt x="161497" y="90655"/>
                    <a:pt x="161267" y="90540"/>
                    <a:pt x="161152" y="90540"/>
                  </a:cubicBezTo>
                  <a:cubicBezTo>
                    <a:pt x="161036" y="90540"/>
                    <a:pt x="160806" y="90425"/>
                    <a:pt x="160691" y="90425"/>
                  </a:cubicBezTo>
                  <a:cubicBezTo>
                    <a:pt x="160576" y="90425"/>
                    <a:pt x="160345" y="90309"/>
                    <a:pt x="160230" y="90194"/>
                  </a:cubicBezTo>
                  <a:cubicBezTo>
                    <a:pt x="160115" y="90194"/>
                    <a:pt x="159885" y="90079"/>
                    <a:pt x="159769" y="89964"/>
                  </a:cubicBezTo>
                  <a:cubicBezTo>
                    <a:pt x="159654" y="89964"/>
                    <a:pt x="159424" y="89964"/>
                    <a:pt x="159309" y="89849"/>
                  </a:cubicBezTo>
                  <a:cubicBezTo>
                    <a:pt x="159193" y="89849"/>
                    <a:pt x="158963" y="89733"/>
                    <a:pt x="158848" y="89618"/>
                  </a:cubicBezTo>
                  <a:cubicBezTo>
                    <a:pt x="158733" y="89618"/>
                    <a:pt x="158502" y="89618"/>
                    <a:pt x="158502" y="89503"/>
                  </a:cubicBezTo>
                  <a:cubicBezTo>
                    <a:pt x="158387" y="89503"/>
                    <a:pt x="158272" y="89503"/>
                    <a:pt x="158041" y="89388"/>
                  </a:cubicBezTo>
                  <a:cubicBezTo>
                    <a:pt x="155738" y="88582"/>
                    <a:pt x="153434" y="87545"/>
                    <a:pt x="150900" y="86508"/>
                  </a:cubicBezTo>
                  <a:cubicBezTo>
                    <a:pt x="148365" y="85471"/>
                    <a:pt x="145831" y="84435"/>
                    <a:pt x="143182" y="83283"/>
                  </a:cubicBezTo>
                  <a:cubicBezTo>
                    <a:pt x="140533" y="82131"/>
                    <a:pt x="137883" y="80979"/>
                    <a:pt x="135234" y="79942"/>
                  </a:cubicBezTo>
                  <a:cubicBezTo>
                    <a:pt x="132584" y="78790"/>
                    <a:pt x="129935" y="77754"/>
                    <a:pt x="127401" y="76832"/>
                  </a:cubicBezTo>
                  <a:cubicBezTo>
                    <a:pt x="124982" y="76026"/>
                    <a:pt x="122678" y="75219"/>
                    <a:pt x="120259" y="74413"/>
                  </a:cubicBezTo>
                  <a:cubicBezTo>
                    <a:pt x="117840" y="73607"/>
                    <a:pt x="115421" y="72800"/>
                    <a:pt x="113117" y="72340"/>
                  </a:cubicBezTo>
                  <a:cubicBezTo>
                    <a:pt x="110698" y="71879"/>
                    <a:pt x="108279" y="71649"/>
                    <a:pt x="105975" y="71879"/>
                  </a:cubicBezTo>
                  <a:cubicBezTo>
                    <a:pt x="103672" y="72109"/>
                    <a:pt x="101253" y="72916"/>
                    <a:pt x="99064" y="74183"/>
                  </a:cubicBezTo>
                  <a:cubicBezTo>
                    <a:pt x="98718" y="74528"/>
                    <a:pt x="98258" y="74989"/>
                    <a:pt x="97912" y="75335"/>
                  </a:cubicBezTo>
                  <a:cubicBezTo>
                    <a:pt x="97566" y="75795"/>
                    <a:pt x="97336" y="76141"/>
                    <a:pt x="97106" y="76602"/>
                  </a:cubicBezTo>
                  <a:cubicBezTo>
                    <a:pt x="96875" y="77063"/>
                    <a:pt x="96760" y="77523"/>
                    <a:pt x="96530" y="77984"/>
                  </a:cubicBezTo>
                  <a:cubicBezTo>
                    <a:pt x="96415" y="78445"/>
                    <a:pt x="96299" y="78906"/>
                    <a:pt x="96299" y="79482"/>
                  </a:cubicBezTo>
                  <a:cubicBezTo>
                    <a:pt x="96299" y="82131"/>
                    <a:pt x="96760" y="84780"/>
                    <a:pt x="97682" y="87545"/>
                  </a:cubicBezTo>
                  <a:cubicBezTo>
                    <a:pt x="98603" y="90194"/>
                    <a:pt x="99870" y="92844"/>
                    <a:pt x="101368" y="95608"/>
                  </a:cubicBezTo>
                  <a:cubicBezTo>
                    <a:pt x="102865" y="98258"/>
                    <a:pt x="104593" y="101022"/>
                    <a:pt x="106321" y="103787"/>
                  </a:cubicBezTo>
                  <a:cubicBezTo>
                    <a:pt x="108164" y="106551"/>
                    <a:pt x="109892" y="109431"/>
                    <a:pt x="111735" y="112311"/>
                  </a:cubicBezTo>
                  <a:cubicBezTo>
                    <a:pt x="113232" y="114499"/>
                    <a:pt x="114615" y="116688"/>
                    <a:pt x="115997" y="118761"/>
                  </a:cubicBezTo>
                  <a:cubicBezTo>
                    <a:pt x="117264" y="120950"/>
                    <a:pt x="118531" y="122908"/>
                    <a:pt x="119568" y="124751"/>
                  </a:cubicBezTo>
                  <a:cubicBezTo>
                    <a:pt x="120605" y="126594"/>
                    <a:pt x="121526" y="128322"/>
                    <a:pt x="122217" y="129820"/>
                  </a:cubicBezTo>
                  <a:cubicBezTo>
                    <a:pt x="122908" y="131202"/>
                    <a:pt x="123484" y="132469"/>
                    <a:pt x="123830" y="133276"/>
                  </a:cubicBezTo>
                  <a:cubicBezTo>
                    <a:pt x="122678" y="133160"/>
                    <a:pt x="121065" y="132815"/>
                    <a:pt x="119107" y="132469"/>
                  </a:cubicBezTo>
                  <a:cubicBezTo>
                    <a:pt x="117149" y="132008"/>
                    <a:pt x="114730" y="131548"/>
                    <a:pt x="112196" y="130972"/>
                  </a:cubicBezTo>
                  <a:cubicBezTo>
                    <a:pt x="109661" y="130396"/>
                    <a:pt x="106782" y="129705"/>
                    <a:pt x="103902" y="128898"/>
                  </a:cubicBezTo>
                  <a:cubicBezTo>
                    <a:pt x="101022" y="128092"/>
                    <a:pt x="98027" y="127286"/>
                    <a:pt x="95147" y="126364"/>
                  </a:cubicBezTo>
                  <a:cubicBezTo>
                    <a:pt x="93189" y="125903"/>
                    <a:pt x="91346" y="125327"/>
                    <a:pt x="89388" y="124867"/>
                  </a:cubicBezTo>
                  <a:cubicBezTo>
                    <a:pt x="87545" y="124291"/>
                    <a:pt x="85587" y="123830"/>
                    <a:pt x="83744" y="123369"/>
                  </a:cubicBezTo>
                  <a:cubicBezTo>
                    <a:pt x="81900" y="122908"/>
                    <a:pt x="80057" y="122448"/>
                    <a:pt x="78214" y="122102"/>
                  </a:cubicBezTo>
                  <a:cubicBezTo>
                    <a:pt x="76371" y="121756"/>
                    <a:pt x="74528" y="121411"/>
                    <a:pt x="72800" y="121181"/>
                  </a:cubicBezTo>
                  <a:cubicBezTo>
                    <a:pt x="71188" y="120950"/>
                    <a:pt x="69460" y="120720"/>
                    <a:pt x="67732" y="120605"/>
                  </a:cubicBezTo>
                  <a:cubicBezTo>
                    <a:pt x="66004" y="120489"/>
                    <a:pt x="64161" y="120374"/>
                    <a:pt x="62548" y="120605"/>
                  </a:cubicBezTo>
                  <a:cubicBezTo>
                    <a:pt x="60821" y="120720"/>
                    <a:pt x="59093" y="121065"/>
                    <a:pt x="57595" y="121756"/>
                  </a:cubicBezTo>
                  <a:cubicBezTo>
                    <a:pt x="55983" y="122448"/>
                    <a:pt x="54600" y="123484"/>
                    <a:pt x="53333" y="124982"/>
                  </a:cubicBezTo>
                  <a:lnTo>
                    <a:pt x="51836" y="128668"/>
                  </a:lnTo>
                  <a:cubicBezTo>
                    <a:pt x="51836" y="132008"/>
                    <a:pt x="52757" y="135003"/>
                    <a:pt x="54024" y="138114"/>
                  </a:cubicBezTo>
                  <a:cubicBezTo>
                    <a:pt x="55291" y="141108"/>
                    <a:pt x="57135" y="143988"/>
                    <a:pt x="59208" y="146868"/>
                  </a:cubicBezTo>
                  <a:cubicBezTo>
                    <a:pt x="61281" y="149748"/>
                    <a:pt x="63700" y="152512"/>
                    <a:pt x="66119" y="155392"/>
                  </a:cubicBezTo>
                  <a:cubicBezTo>
                    <a:pt x="68538" y="158272"/>
                    <a:pt x="71073" y="161152"/>
                    <a:pt x="73376" y="164262"/>
                  </a:cubicBezTo>
                  <a:cubicBezTo>
                    <a:pt x="74643" y="165644"/>
                    <a:pt x="75911" y="167142"/>
                    <a:pt x="77062" y="168524"/>
                  </a:cubicBezTo>
                  <a:cubicBezTo>
                    <a:pt x="78214" y="169906"/>
                    <a:pt x="79366" y="171288"/>
                    <a:pt x="80518" y="172671"/>
                  </a:cubicBezTo>
                  <a:cubicBezTo>
                    <a:pt x="81555" y="173938"/>
                    <a:pt x="82707" y="175320"/>
                    <a:pt x="83628" y="176587"/>
                  </a:cubicBezTo>
                  <a:cubicBezTo>
                    <a:pt x="84550" y="177739"/>
                    <a:pt x="85471" y="179006"/>
                    <a:pt x="86278" y="180043"/>
                  </a:cubicBezTo>
                  <a:lnTo>
                    <a:pt x="89273" y="184766"/>
                  </a:lnTo>
                  <a:cubicBezTo>
                    <a:pt x="88121" y="184766"/>
                    <a:pt x="86508" y="184766"/>
                    <a:pt x="84550" y="184766"/>
                  </a:cubicBezTo>
                  <a:cubicBezTo>
                    <a:pt x="82592" y="184766"/>
                    <a:pt x="80288" y="184535"/>
                    <a:pt x="77754" y="184305"/>
                  </a:cubicBezTo>
                  <a:cubicBezTo>
                    <a:pt x="75104" y="184075"/>
                    <a:pt x="72340" y="183844"/>
                    <a:pt x="69460" y="183499"/>
                  </a:cubicBezTo>
                  <a:cubicBezTo>
                    <a:pt x="66465" y="183153"/>
                    <a:pt x="63470" y="182692"/>
                    <a:pt x="60360" y="182232"/>
                  </a:cubicBezTo>
                  <a:cubicBezTo>
                    <a:pt x="58517" y="182001"/>
                    <a:pt x="56559" y="181771"/>
                    <a:pt x="54600" y="181540"/>
                  </a:cubicBezTo>
                  <a:cubicBezTo>
                    <a:pt x="52642" y="181310"/>
                    <a:pt x="50799" y="181080"/>
                    <a:pt x="48956" y="180849"/>
                  </a:cubicBezTo>
                  <a:cubicBezTo>
                    <a:pt x="47113" y="180619"/>
                    <a:pt x="45270" y="180504"/>
                    <a:pt x="43427" y="180388"/>
                  </a:cubicBezTo>
                  <a:cubicBezTo>
                    <a:pt x="41584" y="180273"/>
                    <a:pt x="39856" y="180273"/>
                    <a:pt x="38128" y="180273"/>
                  </a:cubicBezTo>
                  <a:cubicBezTo>
                    <a:pt x="36400" y="180273"/>
                    <a:pt x="34672" y="180273"/>
                    <a:pt x="33060" y="180504"/>
                  </a:cubicBezTo>
                  <a:cubicBezTo>
                    <a:pt x="31332" y="180504"/>
                    <a:pt x="29604" y="180849"/>
                    <a:pt x="27991" y="181310"/>
                  </a:cubicBezTo>
                  <a:cubicBezTo>
                    <a:pt x="26379" y="181771"/>
                    <a:pt x="24881" y="182462"/>
                    <a:pt x="23499" y="183499"/>
                  </a:cubicBezTo>
                  <a:cubicBezTo>
                    <a:pt x="22117" y="184535"/>
                    <a:pt x="20965" y="185802"/>
                    <a:pt x="20043" y="187645"/>
                  </a:cubicBezTo>
                  <a:lnTo>
                    <a:pt x="19582" y="189719"/>
                  </a:lnTo>
                  <a:cubicBezTo>
                    <a:pt x="19582" y="191792"/>
                    <a:pt x="19813" y="193635"/>
                    <a:pt x="20389" y="195478"/>
                  </a:cubicBezTo>
                  <a:cubicBezTo>
                    <a:pt x="20965" y="197321"/>
                    <a:pt x="21771" y="198934"/>
                    <a:pt x="22693" y="200547"/>
                  </a:cubicBezTo>
                  <a:cubicBezTo>
                    <a:pt x="23614" y="202159"/>
                    <a:pt x="24766" y="203657"/>
                    <a:pt x="26033" y="205154"/>
                  </a:cubicBezTo>
                  <a:cubicBezTo>
                    <a:pt x="27185" y="206652"/>
                    <a:pt x="28567" y="208034"/>
                    <a:pt x="29719" y="209532"/>
                  </a:cubicBezTo>
                  <a:cubicBezTo>
                    <a:pt x="31677" y="211720"/>
                    <a:pt x="33866" y="213909"/>
                    <a:pt x="36170" y="216098"/>
                  </a:cubicBezTo>
                  <a:cubicBezTo>
                    <a:pt x="38474" y="218286"/>
                    <a:pt x="40777" y="220475"/>
                    <a:pt x="43196" y="222663"/>
                  </a:cubicBezTo>
                  <a:cubicBezTo>
                    <a:pt x="45500" y="224852"/>
                    <a:pt x="47919" y="227041"/>
                    <a:pt x="50223" y="229114"/>
                  </a:cubicBezTo>
                  <a:cubicBezTo>
                    <a:pt x="52527" y="231188"/>
                    <a:pt x="54831" y="233261"/>
                    <a:pt x="56904" y="235334"/>
                  </a:cubicBezTo>
                  <a:cubicBezTo>
                    <a:pt x="57941" y="236256"/>
                    <a:pt x="58862" y="237177"/>
                    <a:pt x="59899" y="238214"/>
                  </a:cubicBezTo>
                  <a:cubicBezTo>
                    <a:pt x="60821" y="239136"/>
                    <a:pt x="61742" y="240057"/>
                    <a:pt x="62548" y="240864"/>
                  </a:cubicBezTo>
                  <a:cubicBezTo>
                    <a:pt x="63355" y="241670"/>
                    <a:pt x="64161" y="242476"/>
                    <a:pt x="64852" y="243283"/>
                  </a:cubicBezTo>
                  <a:cubicBezTo>
                    <a:pt x="65543" y="244089"/>
                    <a:pt x="66119" y="244780"/>
                    <a:pt x="66580" y="245356"/>
                  </a:cubicBezTo>
                  <a:lnTo>
                    <a:pt x="67386" y="246623"/>
                  </a:lnTo>
                  <a:cubicBezTo>
                    <a:pt x="67386" y="246623"/>
                    <a:pt x="66580" y="246853"/>
                    <a:pt x="66119" y="246969"/>
                  </a:cubicBezTo>
                  <a:cubicBezTo>
                    <a:pt x="65659" y="246969"/>
                    <a:pt x="65083" y="247199"/>
                    <a:pt x="64392" y="247314"/>
                  </a:cubicBezTo>
                  <a:cubicBezTo>
                    <a:pt x="63700" y="247429"/>
                    <a:pt x="63009" y="247429"/>
                    <a:pt x="62318" y="247545"/>
                  </a:cubicBezTo>
                  <a:cubicBezTo>
                    <a:pt x="61512" y="247545"/>
                    <a:pt x="60705" y="247660"/>
                    <a:pt x="59899" y="247660"/>
                  </a:cubicBezTo>
                  <a:cubicBezTo>
                    <a:pt x="57710" y="247890"/>
                    <a:pt x="55407" y="248005"/>
                    <a:pt x="52872" y="248121"/>
                  </a:cubicBezTo>
                  <a:cubicBezTo>
                    <a:pt x="50338" y="248236"/>
                    <a:pt x="47689" y="248351"/>
                    <a:pt x="44809" y="248466"/>
                  </a:cubicBezTo>
                  <a:cubicBezTo>
                    <a:pt x="42045" y="248466"/>
                    <a:pt x="39165" y="248581"/>
                    <a:pt x="36285" y="248812"/>
                  </a:cubicBezTo>
                  <a:cubicBezTo>
                    <a:pt x="33520" y="248812"/>
                    <a:pt x="30641" y="249042"/>
                    <a:pt x="27876" y="249272"/>
                  </a:cubicBezTo>
                  <a:cubicBezTo>
                    <a:pt x="25227" y="249618"/>
                    <a:pt x="22577" y="249848"/>
                    <a:pt x="19928" y="250079"/>
                  </a:cubicBezTo>
                  <a:cubicBezTo>
                    <a:pt x="17279" y="250424"/>
                    <a:pt x="14629" y="250770"/>
                    <a:pt x="12325" y="251461"/>
                  </a:cubicBezTo>
                  <a:cubicBezTo>
                    <a:pt x="9906" y="252152"/>
                    <a:pt x="7718" y="253189"/>
                    <a:pt x="5990" y="254686"/>
                  </a:cubicBezTo>
                  <a:cubicBezTo>
                    <a:pt x="4147" y="256299"/>
                    <a:pt x="2765" y="258372"/>
                    <a:pt x="1843" y="261367"/>
                  </a:cubicBezTo>
                  <a:cubicBezTo>
                    <a:pt x="1728" y="263671"/>
                    <a:pt x="2073" y="265860"/>
                    <a:pt x="2880" y="267818"/>
                  </a:cubicBezTo>
                  <a:cubicBezTo>
                    <a:pt x="3571" y="269776"/>
                    <a:pt x="4608" y="271619"/>
                    <a:pt x="5875" y="273347"/>
                  </a:cubicBezTo>
                  <a:cubicBezTo>
                    <a:pt x="7142" y="275075"/>
                    <a:pt x="8639" y="276573"/>
                    <a:pt x="10137" y="278070"/>
                  </a:cubicBezTo>
                  <a:cubicBezTo>
                    <a:pt x="11634" y="279568"/>
                    <a:pt x="13247" y="280950"/>
                    <a:pt x="14744" y="282332"/>
                  </a:cubicBezTo>
                  <a:cubicBezTo>
                    <a:pt x="17163" y="284406"/>
                    <a:pt x="19698" y="286479"/>
                    <a:pt x="22462" y="288552"/>
                  </a:cubicBezTo>
                  <a:cubicBezTo>
                    <a:pt x="25112" y="290626"/>
                    <a:pt x="27876" y="292584"/>
                    <a:pt x="30756" y="294658"/>
                  </a:cubicBezTo>
                  <a:cubicBezTo>
                    <a:pt x="33520" y="296731"/>
                    <a:pt x="36285" y="298689"/>
                    <a:pt x="39050" y="300532"/>
                  </a:cubicBezTo>
                  <a:cubicBezTo>
                    <a:pt x="41814" y="302490"/>
                    <a:pt x="44464" y="304334"/>
                    <a:pt x="46998" y="306177"/>
                  </a:cubicBezTo>
                  <a:cubicBezTo>
                    <a:pt x="48265" y="307098"/>
                    <a:pt x="49532" y="308020"/>
                    <a:pt x="50569" y="308826"/>
                  </a:cubicBezTo>
                  <a:cubicBezTo>
                    <a:pt x="51721" y="309747"/>
                    <a:pt x="52872" y="310554"/>
                    <a:pt x="53794" y="311360"/>
                  </a:cubicBezTo>
                  <a:cubicBezTo>
                    <a:pt x="54831" y="312167"/>
                    <a:pt x="55752" y="312858"/>
                    <a:pt x="56559" y="313664"/>
                  </a:cubicBezTo>
                  <a:cubicBezTo>
                    <a:pt x="57365" y="314355"/>
                    <a:pt x="58056" y="314931"/>
                    <a:pt x="58632" y="315622"/>
                  </a:cubicBezTo>
                  <a:lnTo>
                    <a:pt x="59554" y="316544"/>
                  </a:lnTo>
                  <a:cubicBezTo>
                    <a:pt x="58632" y="316889"/>
                    <a:pt x="57135" y="317465"/>
                    <a:pt x="55407" y="317926"/>
                  </a:cubicBezTo>
                  <a:cubicBezTo>
                    <a:pt x="53679" y="318502"/>
                    <a:pt x="51605" y="319078"/>
                    <a:pt x="49302" y="319654"/>
                  </a:cubicBezTo>
                  <a:cubicBezTo>
                    <a:pt x="46998" y="320345"/>
                    <a:pt x="44464" y="320921"/>
                    <a:pt x="41814" y="321497"/>
                  </a:cubicBezTo>
                  <a:cubicBezTo>
                    <a:pt x="39165" y="322073"/>
                    <a:pt x="36400" y="322649"/>
                    <a:pt x="33751" y="323110"/>
                  </a:cubicBezTo>
                  <a:cubicBezTo>
                    <a:pt x="30295" y="324146"/>
                    <a:pt x="26839" y="324837"/>
                    <a:pt x="23384" y="325529"/>
                  </a:cubicBezTo>
                  <a:cubicBezTo>
                    <a:pt x="20043" y="326220"/>
                    <a:pt x="16587" y="327026"/>
                    <a:pt x="13592" y="328063"/>
                  </a:cubicBezTo>
                  <a:cubicBezTo>
                    <a:pt x="10482" y="329100"/>
                    <a:pt x="7718" y="330482"/>
                    <a:pt x="5414" y="332555"/>
                  </a:cubicBezTo>
                  <a:cubicBezTo>
                    <a:pt x="3110" y="334629"/>
                    <a:pt x="1267" y="337278"/>
                    <a:pt x="0" y="340734"/>
                  </a:cubicBezTo>
                  <a:lnTo>
                    <a:pt x="0" y="343844"/>
                  </a:lnTo>
                  <a:cubicBezTo>
                    <a:pt x="461" y="346263"/>
                    <a:pt x="1267" y="348336"/>
                    <a:pt x="2304" y="350179"/>
                  </a:cubicBezTo>
                  <a:cubicBezTo>
                    <a:pt x="3341" y="352022"/>
                    <a:pt x="4838" y="353750"/>
                    <a:pt x="6335" y="355248"/>
                  </a:cubicBezTo>
                  <a:cubicBezTo>
                    <a:pt x="7833" y="356745"/>
                    <a:pt x="9561" y="358128"/>
                    <a:pt x="11404" y="359510"/>
                  </a:cubicBezTo>
                  <a:cubicBezTo>
                    <a:pt x="13132" y="360777"/>
                    <a:pt x="14975" y="362044"/>
                    <a:pt x="16587" y="363311"/>
                  </a:cubicBezTo>
                  <a:cubicBezTo>
                    <a:pt x="19352" y="365039"/>
                    <a:pt x="22232" y="366767"/>
                    <a:pt x="25227" y="368610"/>
                  </a:cubicBezTo>
                  <a:cubicBezTo>
                    <a:pt x="28222" y="370338"/>
                    <a:pt x="31332" y="371950"/>
                    <a:pt x="34442" y="373678"/>
                  </a:cubicBezTo>
                  <a:cubicBezTo>
                    <a:pt x="37552" y="375291"/>
                    <a:pt x="40662" y="376904"/>
                    <a:pt x="43657" y="378516"/>
                  </a:cubicBezTo>
                  <a:cubicBezTo>
                    <a:pt x="46652" y="380129"/>
                    <a:pt x="49647" y="381626"/>
                    <a:pt x="52412" y="383239"/>
                  </a:cubicBezTo>
                  <a:cubicBezTo>
                    <a:pt x="53794" y="383930"/>
                    <a:pt x="55061" y="384621"/>
                    <a:pt x="56328" y="385428"/>
                  </a:cubicBezTo>
                  <a:cubicBezTo>
                    <a:pt x="57595" y="386119"/>
                    <a:pt x="58747" y="386810"/>
                    <a:pt x="59899" y="387501"/>
                  </a:cubicBezTo>
                  <a:cubicBezTo>
                    <a:pt x="61051" y="388192"/>
                    <a:pt x="62088" y="388883"/>
                    <a:pt x="63009" y="389459"/>
                  </a:cubicBezTo>
                  <a:cubicBezTo>
                    <a:pt x="63931" y="390151"/>
                    <a:pt x="64737" y="390611"/>
                    <a:pt x="65428" y="391187"/>
                  </a:cubicBezTo>
                  <a:lnTo>
                    <a:pt x="66350" y="391763"/>
                  </a:lnTo>
                  <a:cubicBezTo>
                    <a:pt x="65543" y="392454"/>
                    <a:pt x="64276" y="393261"/>
                    <a:pt x="62779" y="394182"/>
                  </a:cubicBezTo>
                  <a:cubicBezTo>
                    <a:pt x="61166" y="395104"/>
                    <a:pt x="59323" y="396140"/>
                    <a:pt x="57365" y="397177"/>
                  </a:cubicBezTo>
                  <a:cubicBezTo>
                    <a:pt x="55291" y="398214"/>
                    <a:pt x="52988" y="399366"/>
                    <a:pt x="50684" y="400402"/>
                  </a:cubicBezTo>
                  <a:cubicBezTo>
                    <a:pt x="48380" y="401439"/>
                    <a:pt x="45846" y="402476"/>
                    <a:pt x="43427" y="403513"/>
                  </a:cubicBezTo>
                  <a:cubicBezTo>
                    <a:pt x="40432" y="405125"/>
                    <a:pt x="37437" y="406392"/>
                    <a:pt x="34442" y="407660"/>
                  </a:cubicBezTo>
                  <a:cubicBezTo>
                    <a:pt x="31562" y="409042"/>
                    <a:pt x="28682" y="410309"/>
                    <a:pt x="26033" y="411806"/>
                  </a:cubicBezTo>
                  <a:cubicBezTo>
                    <a:pt x="23384" y="413419"/>
                    <a:pt x="21080" y="415147"/>
                    <a:pt x="19237" y="417336"/>
                  </a:cubicBezTo>
                  <a:cubicBezTo>
                    <a:pt x="17279" y="419524"/>
                    <a:pt x="15896" y="422174"/>
                    <a:pt x="14975" y="425514"/>
                  </a:cubicBezTo>
                  <a:lnTo>
                    <a:pt x="15436" y="430928"/>
                  </a:lnTo>
                  <a:cubicBezTo>
                    <a:pt x="16357" y="433462"/>
                    <a:pt x="17624" y="435651"/>
                    <a:pt x="19122" y="437609"/>
                  </a:cubicBezTo>
                  <a:cubicBezTo>
                    <a:pt x="20619" y="439567"/>
                    <a:pt x="22347" y="441065"/>
                    <a:pt x="24190" y="442562"/>
                  </a:cubicBezTo>
                  <a:cubicBezTo>
                    <a:pt x="26033" y="443945"/>
                    <a:pt x="27991" y="445096"/>
                    <a:pt x="29950" y="446248"/>
                  </a:cubicBezTo>
                  <a:cubicBezTo>
                    <a:pt x="31908" y="447285"/>
                    <a:pt x="33866" y="448322"/>
                    <a:pt x="35709" y="449358"/>
                  </a:cubicBezTo>
                  <a:cubicBezTo>
                    <a:pt x="38704" y="450741"/>
                    <a:pt x="41699" y="452123"/>
                    <a:pt x="44924" y="453390"/>
                  </a:cubicBezTo>
                  <a:cubicBezTo>
                    <a:pt x="48034" y="454657"/>
                    <a:pt x="51375" y="455924"/>
                    <a:pt x="54716" y="457191"/>
                  </a:cubicBezTo>
                  <a:cubicBezTo>
                    <a:pt x="58056" y="458459"/>
                    <a:pt x="61281" y="459610"/>
                    <a:pt x="64507" y="460762"/>
                  </a:cubicBezTo>
                  <a:cubicBezTo>
                    <a:pt x="67732" y="462029"/>
                    <a:pt x="70842" y="463181"/>
                    <a:pt x="73837" y="464333"/>
                  </a:cubicBezTo>
                  <a:cubicBezTo>
                    <a:pt x="75219" y="464794"/>
                    <a:pt x="76717" y="465370"/>
                    <a:pt x="77984" y="465946"/>
                  </a:cubicBezTo>
                  <a:cubicBezTo>
                    <a:pt x="79251" y="466522"/>
                    <a:pt x="80633" y="466983"/>
                    <a:pt x="81785" y="467559"/>
                  </a:cubicBezTo>
                  <a:cubicBezTo>
                    <a:pt x="83052" y="468135"/>
                    <a:pt x="84089" y="468595"/>
                    <a:pt x="85126" y="469056"/>
                  </a:cubicBezTo>
                  <a:cubicBezTo>
                    <a:pt x="86163" y="469517"/>
                    <a:pt x="86969" y="469978"/>
                    <a:pt x="87775" y="470438"/>
                  </a:cubicBezTo>
                  <a:lnTo>
                    <a:pt x="88697" y="471014"/>
                  </a:lnTo>
                  <a:cubicBezTo>
                    <a:pt x="88121" y="471705"/>
                    <a:pt x="87199" y="472627"/>
                    <a:pt x="86163" y="473779"/>
                  </a:cubicBezTo>
                  <a:cubicBezTo>
                    <a:pt x="85011" y="474931"/>
                    <a:pt x="83744" y="476083"/>
                    <a:pt x="82246" y="477465"/>
                  </a:cubicBezTo>
                  <a:cubicBezTo>
                    <a:pt x="80749" y="478732"/>
                    <a:pt x="79021" y="480230"/>
                    <a:pt x="77178" y="481612"/>
                  </a:cubicBezTo>
                  <a:cubicBezTo>
                    <a:pt x="75335" y="482994"/>
                    <a:pt x="73492" y="484376"/>
                    <a:pt x="71418" y="485759"/>
                  </a:cubicBezTo>
                  <a:cubicBezTo>
                    <a:pt x="68999" y="487832"/>
                    <a:pt x="66350" y="489675"/>
                    <a:pt x="63931" y="491633"/>
                  </a:cubicBezTo>
                  <a:cubicBezTo>
                    <a:pt x="61397" y="493476"/>
                    <a:pt x="58978" y="495435"/>
                    <a:pt x="56789" y="497508"/>
                  </a:cubicBezTo>
                  <a:cubicBezTo>
                    <a:pt x="54600" y="499582"/>
                    <a:pt x="52527" y="501770"/>
                    <a:pt x="50914" y="504189"/>
                  </a:cubicBezTo>
                  <a:cubicBezTo>
                    <a:pt x="49302" y="506608"/>
                    <a:pt x="48034" y="509373"/>
                    <a:pt x="47343" y="512483"/>
                  </a:cubicBezTo>
                  <a:cubicBezTo>
                    <a:pt x="47343" y="513174"/>
                    <a:pt x="47343" y="513750"/>
                    <a:pt x="47343" y="514441"/>
                  </a:cubicBezTo>
                  <a:cubicBezTo>
                    <a:pt x="47343" y="515132"/>
                    <a:pt x="47343" y="515708"/>
                    <a:pt x="47574" y="516515"/>
                  </a:cubicBezTo>
                  <a:cubicBezTo>
                    <a:pt x="47574" y="517206"/>
                    <a:pt x="47804" y="517897"/>
                    <a:pt x="48150" y="518703"/>
                  </a:cubicBezTo>
                  <a:cubicBezTo>
                    <a:pt x="48380" y="519394"/>
                    <a:pt x="48726" y="520201"/>
                    <a:pt x="49186" y="521007"/>
                  </a:cubicBezTo>
                  <a:cubicBezTo>
                    <a:pt x="51029" y="524232"/>
                    <a:pt x="53218" y="526767"/>
                    <a:pt x="55637" y="528840"/>
                  </a:cubicBezTo>
                  <a:cubicBezTo>
                    <a:pt x="57941" y="530913"/>
                    <a:pt x="60475" y="532411"/>
                    <a:pt x="63124" y="533563"/>
                  </a:cubicBezTo>
                  <a:cubicBezTo>
                    <a:pt x="65774" y="534715"/>
                    <a:pt x="68423" y="535636"/>
                    <a:pt x="71188" y="536558"/>
                  </a:cubicBezTo>
                  <a:cubicBezTo>
                    <a:pt x="73952" y="537364"/>
                    <a:pt x="76602" y="538170"/>
                    <a:pt x="79251" y="538977"/>
                  </a:cubicBezTo>
                  <a:cubicBezTo>
                    <a:pt x="82361" y="539783"/>
                    <a:pt x="85702" y="540474"/>
                    <a:pt x="88927" y="541165"/>
                  </a:cubicBezTo>
                  <a:cubicBezTo>
                    <a:pt x="92152" y="541857"/>
                    <a:pt x="95493" y="542548"/>
                    <a:pt x="98718" y="543239"/>
                  </a:cubicBezTo>
                  <a:cubicBezTo>
                    <a:pt x="101944" y="543930"/>
                    <a:pt x="105054" y="544506"/>
                    <a:pt x="108049" y="545197"/>
                  </a:cubicBezTo>
                  <a:cubicBezTo>
                    <a:pt x="111044" y="545888"/>
                    <a:pt x="113923" y="546464"/>
                    <a:pt x="116458" y="547155"/>
                  </a:cubicBezTo>
                  <a:cubicBezTo>
                    <a:pt x="117494" y="547386"/>
                    <a:pt x="118531" y="547731"/>
                    <a:pt x="119453" y="547962"/>
                  </a:cubicBezTo>
                  <a:cubicBezTo>
                    <a:pt x="120489" y="548192"/>
                    <a:pt x="121411" y="548538"/>
                    <a:pt x="122217" y="548768"/>
                  </a:cubicBezTo>
                  <a:cubicBezTo>
                    <a:pt x="123024" y="548998"/>
                    <a:pt x="123830" y="549229"/>
                    <a:pt x="124521" y="549459"/>
                  </a:cubicBezTo>
                  <a:cubicBezTo>
                    <a:pt x="125212" y="549689"/>
                    <a:pt x="125788" y="549920"/>
                    <a:pt x="126249" y="550150"/>
                  </a:cubicBezTo>
                  <a:cubicBezTo>
                    <a:pt x="125903" y="551072"/>
                    <a:pt x="125327" y="552224"/>
                    <a:pt x="124521" y="553606"/>
                  </a:cubicBezTo>
                  <a:cubicBezTo>
                    <a:pt x="123715" y="554988"/>
                    <a:pt x="122678" y="556486"/>
                    <a:pt x="121526" y="558098"/>
                  </a:cubicBezTo>
                  <a:cubicBezTo>
                    <a:pt x="120374" y="559711"/>
                    <a:pt x="119107" y="561554"/>
                    <a:pt x="117610" y="563282"/>
                  </a:cubicBezTo>
                  <a:cubicBezTo>
                    <a:pt x="116227" y="565125"/>
                    <a:pt x="114730" y="566853"/>
                    <a:pt x="113117" y="568581"/>
                  </a:cubicBezTo>
                  <a:cubicBezTo>
                    <a:pt x="111274" y="570885"/>
                    <a:pt x="109431" y="573073"/>
                    <a:pt x="107588" y="575377"/>
                  </a:cubicBezTo>
                  <a:cubicBezTo>
                    <a:pt x="105745" y="577566"/>
                    <a:pt x="104017" y="579869"/>
                    <a:pt x="102404" y="582058"/>
                  </a:cubicBezTo>
                  <a:cubicBezTo>
                    <a:pt x="100792" y="584362"/>
                    <a:pt x="99409" y="586666"/>
                    <a:pt x="98258" y="589200"/>
                  </a:cubicBezTo>
                  <a:cubicBezTo>
                    <a:pt x="97106" y="591734"/>
                    <a:pt x="96299" y="594383"/>
                    <a:pt x="95839" y="597148"/>
                  </a:cubicBezTo>
                  <a:cubicBezTo>
                    <a:pt x="95839" y="597954"/>
                    <a:pt x="95839" y="598876"/>
                    <a:pt x="95839" y="599797"/>
                  </a:cubicBezTo>
                  <a:cubicBezTo>
                    <a:pt x="95839" y="600719"/>
                    <a:pt x="96069" y="601640"/>
                    <a:pt x="96299" y="602677"/>
                  </a:cubicBezTo>
                  <a:cubicBezTo>
                    <a:pt x="96530" y="603599"/>
                    <a:pt x="96875" y="604751"/>
                    <a:pt x="97336" y="605672"/>
                  </a:cubicBezTo>
                  <a:cubicBezTo>
                    <a:pt x="97797" y="606709"/>
                    <a:pt x="98373" y="607746"/>
                    <a:pt x="99064" y="608782"/>
                  </a:cubicBezTo>
                  <a:cubicBezTo>
                    <a:pt x="100446" y="610740"/>
                    <a:pt x="101828" y="612353"/>
                    <a:pt x="103441" y="613620"/>
                  </a:cubicBezTo>
                  <a:cubicBezTo>
                    <a:pt x="104939" y="614887"/>
                    <a:pt x="106666" y="615924"/>
                    <a:pt x="108279" y="616846"/>
                  </a:cubicBezTo>
                  <a:cubicBezTo>
                    <a:pt x="110007" y="617652"/>
                    <a:pt x="111620" y="618343"/>
                    <a:pt x="113232" y="618919"/>
                  </a:cubicBezTo>
                  <a:cubicBezTo>
                    <a:pt x="114845" y="619495"/>
                    <a:pt x="116458" y="619956"/>
                    <a:pt x="117955" y="620301"/>
                  </a:cubicBezTo>
                  <a:cubicBezTo>
                    <a:pt x="122678" y="621338"/>
                    <a:pt x="127862" y="622029"/>
                    <a:pt x="133160" y="622490"/>
                  </a:cubicBezTo>
                  <a:cubicBezTo>
                    <a:pt x="138459" y="622951"/>
                    <a:pt x="143988" y="623181"/>
                    <a:pt x="149287" y="623411"/>
                  </a:cubicBezTo>
                  <a:cubicBezTo>
                    <a:pt x="154586" y="623642"/>
                    <a:pt x="159539" y="623872"/>
                    <a:pt x="164031" y="624103"/>
                  </a:cubicBezTo>
                  <a:cubicBezTo>
                    <a:pt x="168524" y="624448"/>
                    <a:pt x="172440" y="624794"/>
                    <a:pt x="175435" y="625485"/>
                  </a:cubicBezTo>
                  <a:cubicBezTo>
                    <a:pt x="175435" y="625485"/>
                    <a:pt x="175550" y="625485"/>
                    <a:pt x="175666" y="625485"/>
                  </a:cubicBezTo>
                  <a:cubicBezTo>
                    <a:pt x="175666" y="625485"/>
                    <a:pt x="175781" y="625485"/>
                    <a:pt x="175896" y="625485"/>
                  </a:cubicBezTo>
                  <a:cubicBezTo>
                    <a:pt x="175896" y="625485"/>
                    <a:pt x="176011" y="625485"/>
                    <a:pt x="176126" y="625485"/>
                  </a:cubicBezTo>
                  <a:cubicBezTo>
                    <a:pt x="176126" y="625485"/>
                    <a:pt x="176242" y="625485"/>
                    <a:pt x="176357" y="625485"/>
                  </a:cubicBezTo>
                  <a:lnTo>
                    <a:pt x="177163" y="625715"/>
                  </a:lnTo>
                  <a:cubicBezTo>
                    <a:pt x="176933" y="628134"/>
                    <a:pt x="175896" y="631360"/>
                    <a:pt x="174168" y="635046"/>
                  </a:cubicBezTo>
                  <a:cubicBezTo>
                    <a:pt x="172555" y="638732"/>
                    <a:pt x="170367" y="642994"/>
                    <a:pt x="168178" y="647371"/>
                  </a:cubicBezTo>
                  <a:cubicBezTo>
                    <a:pt x="165990" y="651864"/>
                    <a:pt x="163801" y="656586"/>
                    <a:pt x="161958" y="661194"/>
                  </a:cubicBezTo>
                  <a:cubicBezTo>
                    <a:pt x="160230" y="665917"/>
                    <a:pt x="158733" y="670640"/>
                    <a:pt x="158272" y="674902"/>
                  </a:cubicBezTo>
                  <a:cubicBezTo>
                    <a:pt x="158272" y="676054"/>
                    <a:pt x="158157" y="677205"/>
                    <a:pt x="158272" y="678473"/>
                  </a:cubicBezTo>
                  <a:cubicBezTo>
                    <a:pt x="158272" y="679740"/>
                    <a:pt x="158502" y="681122"/>
                    <a:pt x="158848" y="682389"/>
                  </a:cubicBezTo>
                  <a:cubicBezTo>
                    <a:pt x="159193" y="683771"/>
                    <a:pt x="159654" y="685154"/>
                    <a:pt x="160345" y="686536"/>
                  </a:cubicBezTo>
                  <a:cubicBezTo>
                    <a:pt x="161036" y="687918"/>
                    <a:pt x="162073" y="689416"/>
                    <a:pt x="163340" y="690913"/>
                  </a:cubicBezTo>
                  <a:cubicBezTo>
                    <a:pt x="164492" y="692065"/>
                    <a:pt x="165644" y="693102"/>
                    <a:pt x="166796" y="693908"/>
                  </a:cubicBezTo>
                  <a:cubicBezTo>
                    <a:pt x="168063" y="694714"/>
                    <a:pt x="169215" y="695521"/>
                    <a:pt x="170367" y="696097"/>
                  </a:cubicBezTo>
                  <a:cubicBezTo>
                    <a:pt x="171519" y="696673"/>
                    <a:pt x="172786" y="697133"/>
                    <a:pt x="173938" y="697479"/>
                  </a:cubicBezTo>
                  <a:cubicBezTo>
                    <a:pt x="175090" y="697825"/>
                    <a:pt x="176242" y="698170"/>
                    <a:pt x="177278" y="698401"/>
                  </a:cubicBezTo>
                  <a:cubicBezTo>
                    <a:pt x="182462" y="699322"/>
                    <a:pt x="188337" y="699437"/>
                    <a:pt x="194326" y="699207"/>
                  </a:cubicBezTo>
                  <a:cubicBezTo>
                    <a:pt x="200316" y="698861"/>
                    <a:pt x="206422" y="698170"/>
                    <a:pt x="212296" y="697364"/>
                  </a:cubicBezTo>
                  <a:cubicBezTo>
                    <a:pt x="218056" y="696557"/>
                    <a:pt x="223585" y="695751"/>
                    <a:pt x="228308" y="695175"/>
                  </a:cubicBezTo>
                  <a:cubicBezTo>
                    <a:pt x="232915" y="694599"/>
                    <a:pt x="236832" y="694369"/>
                    <a:pt x="239481" y="694830"/>
                  </a:cubicBezTo>
                  <a:lnTo>
                    <a:pt x="239481" y="698285"/>
                  </a:lnTo>
                  <a:cubicBezTo>
                    <a:pt x="239366" y="700935"/>
                    <a:pt x="238905" y="703930"/>
                    <a:pt x="238214" y="707385"/>
                  </a:cubicBezTo>
                  <a:cubicBezTo>
                    <a:pt x="237523" y="710726"/>
                    <a:pt x="236717" y="714412"/>
                    <a:pt x="235795" y="718328"/>
                  </a:cubicBezTo>
                  <a:cubicBezTo>
                    <a:pt x="234874" y="722130"/>
                    <a:pt x="233952" y="726161"/>
                    <a:pt x="233261" y="730078"/>
                  </a:cubicBezTo>
                  <a:cubicBezTo>
                    <a:pt x="232455" y="733994"/>
                    <a:pt x="231879" y="737911"/>
                    <a:pt x="231533" y="741597"/>
                  </a:cubicBezTo>
                  <a:cubicBezTo>
                    <a:pt x="231533" y="743325"/>
                    <a:pt x="231533" y="745053"/>
                    <a:pt x="231533" y="746896"/>
                  </a:cubicBezTo>
                  <a:cubicBezTo>
                    <a:pt x="231533" y="748739"/>
                    <a:pt x="231763" y="750582"/>
                    <a:pt x="232224" y="752540"/>
                  </a:cubicBezTo>
                  <a:cubicBezTo>
                    <a:pt x="232685" y="754383"/>
                    <a:pt x="233376" y="756341"/>
                    <a:pt x="234643" y="758415"/>
                  </a:cubicBezTo>
                  <a:cubicBezTo>
                    <a:pt x="235795" y="760373"/>
                    <a:pt x="237408" y="762446"/>
                    <a:pt x="239596" y="764405"/>
                  </a:cubicBezTo>
                  <a:cubicBezTo>
                    <a:pt x="240403" y="765096"/>
                    <a:pt x="241209" y="765672"/>
                    <a:pt x="242015" y="766133"/>
                  </a:cubicBezTo>
                  <a:cubicBezTo>
                    <a:pt x="242822" y="766709"/>
                    <a:pt x="243743" y="767054"/>
                    <a:pt x="244550" y="767400"/>
                  </a:cubicBezTo>
                  <a:cubicBezTo>
                    <a:pt x="245356" y="767745"/>
                    <a:pt x="246277" y="768091"/>
                    <a:pt x="247084" y="768321"/>
                  </a:cubicBezTo>
                  <a:cubicBezTo>
                    <a:pt x="247890" y="768552"/>
                    <a:pt x="248581" y="768782"/>
                    <a:pt x="249388" y="768897"/>
                  </a:cubicBezTo>
                  <a:lnTo>
                    <a:pt x="249733" y="768897"/>
                  </a:lnTo>
                  <a:cubicBezTo>
                    <a:pt x="253189" y="769588"/>
                    <a:pt x="256529" y="769704"/>
                    <a:pt x="259755" y="769358"/>
                  </a:cubicBezTo>
                  <a:cubicBezTo>
                    <a:pt x="262980" y="769128"/>
                    <a:pt x="266090" y="768552"/>
                    <a:pt x="269085" y="767745"/>
                  </a:cubicBezTo>
                  <a:cubicBezTo>
                    <a:pt x="272080" y="766939"/>
                    <a:pt x="275075" y="765902"/>
                    <a:pt x="278070" y="764981"/>
                  </a:cubicBezTo>
                  <a:cubicBezTo>
                    <a:pt x="281065" y="763944"/>
                    <a:pt x="284060" y="762907"/>
                    <a:pt x="287285" y="761871"/>
                  </a:cubicBezTo>
                  <a:cubicBezTo>
                    <a:pt x="290050" y="760834"/>
                    <a:pt x="292814" y="759797"/>
                    <a:pt x="295464" y="758991"/>
                  </a:cubicBezTo>
                  <a:cubicBezTo>
                    <a:pt x="298113" y="758184"/>
                    <a:pt x="300647" y="757378"/>
                    <a:pt x="303066" y="756802"/>
                  </a:cubicBezTo>
                  <a:cubicBezTo>
                    <a:pt x="305370" y="756226"/>
                    <a:pt x="307444" y="755765"/>
                    <a:pt x="309056" y="755535"/>
                  </a:cubicBezTo>
                  <a:cubicBezTo>
                    <a:pt x="310669" y="755305"/>
                    <a:pt x="311936" y="755189"/>
                    <a:pt x="312512" y="755305"/>
                  </a:cubicBezTo>
                  <a:lnTo>
                    <a:pt x="312742" y="755305"/>
                  </a:lnTo>
                  <a:cubicBezTo>
                    <a:pt x="312742" y="755305"/>
                    <a:pt x="312858" y="752425"/>
                    <a:pt x="312858" y="752425"/>
                  </a:cubicBezTo>
                  <a:lnTo>
                    <a:pt x="322534" y="739524"/>
                  </a:lnTo>
                  <a:cubicBezTo>
                    <a:pt x="321842" y="738948"/>
                    <a:pt x="321036" y="738487"/>
                    <a:pt x="320345" y="738141"/>
                  </a:cubicBezTo>
                  <a:cubicBezTo>
                    <a:pt x="319654" y="737681"/>
                    <a:pt x="318848" y="737335"/>
                    <a:pt x="318041" y="736989"/>
                  </a:cubicBezTo>
                  <a:cubicBezTo>
                    <a:pt x="317350" y="736644"/>
                    <a:pt x="316544" y="736413"/>
                    <a:pt x="315853" y="736183"/>
                  </a:cubicBezTo>
                  <a:cubicBezTo>
                    <a:pt x="315161" y="735953"/>
                    <a:pt x="314355" y="735722"/>
                    <a:pt x="313664" y="735607"/>
                  </a:cubicBezTo>
                  <a:cubicBezTo>
                    <a:pt x="310323" y="735031"/>
                    <a:pt x="307098" y="735031"/>
                    <a:pt x="303988" y="735146"/>
                  </a:cubicBezTo>
                  <a:cubicBezTo>
                    <a:pt x="300878" y="735377"/>
                    <a:pt x="297883" y="735953"/>
                    <a:pt x="294888" y="736644"/>
                  </a:cubicBezTo>
                  <a:cubicBezTo>
                    <a:pt x="291893" y="737450"/>
                    <a:pt x="289013" y="738372"/>
                    <a:pt x="286018" y="739408"/>
                  </a:cubicBezTo>
                  <a:cubicBezTo>
                    <a:pt x="283023" y="740330"/>
                    <a:pt x="280028" y="741482"/>
                    <a:pt x="276918" y="742403"/>
                  </a:cubicBezTo>
                  <a:cubicBezTo>
                    <a:pt x="274730" y="743210"/>
                    <a:pt x="272541" y="744016"/>
                    <a:pt x="270352" y="744707"/>
                  </a:cubicBezTo>
                  <a:cubicBezTo>
                    <a:pt x="268164" y="745398"/>
                    <a:pt x="265975" y="745974"/>
                    <a:pt x="263902" y="746550"/>
                  </a:cubicBezTo>
                  <a:cubicBezTo>
                    <a:pt x="261828" y="747126"/>
                    <a:pt x="259870" y="747587"/>
                    <a:pt x="258257" y="747933"/>
                  </a:cubicBezTo>
                  <a:cubicBezTo>
                    <a:pt x="256529" y="748278"/>
                    <a:pt x="255032" y="748624"/>
                    <a:pt x="253880" y="748739"/>
                  </a:cubicBezTo>
                  <a:lnTo>
                    <a:pt x="253880" y="746205"/>
                  </a:lnTo>
                  <a:cubicBezTo>
                    <a:pt x="253995" y="743555"/>
                    <a:pt x="254571" y="740445"/>
                    <a:pt x="255147" y="736989"/>
                  </a:cubicBezTo>
                  <a:cubicBezTo>
                    <a:pt x="255838" y="733534"/>
                    <a:pt x="256645" y="729848"/>
                    <a:pt x="257566" y="726046"/>
                  </a:cubicBezTo>
                  <a:cubicBezTo>
                    <a:pt x="258372" y="722245"/>
                    <a:pt x="259294" y="718328"/>
                    <a:pt x="259985" y="714412"/>
                  </a:cubicBezTo>
                  <a:cubicBezTo>
                    <a:pt x="260791" y="710611"/>
                    <a:pt x="261367" y="706809"/>
                    <a:pt x="261598" y="703239"/>
                  </a:cubicBezTo>
                  <a:cubicBezTo>
                    <a:pt x="261598" y="701626"/>
                    <a:pt x="261598" y="700128"/>
                    <a:pt x="261598" y="698401"/>
                  </a:cubicBezTo>
                  <a:cubicBezTo>
                    <a:pt x="261598" y="696788"/>
                    <a:pt x="261367" y="695060"/>
                    <a:pt x="261022" y="693332"/>
                  </a:cubicBezTo>
                  <a:cubicBezTo>
                    <a:pt x="260676" y="691604"/>
                    <a:pt x="259985" y="689761"/>
                    <a:pt x="259064" y="687918"/>
                  </a:cubicBezTo>
                  <a:cubicBezTo>
                    <a:pt x="258027" y="686075"/>
                    <a:pt x="256760" y="684117"/>
                    <a:pt x="254917" y="682043"/>
                  </a:cubicBezTo>
                  <a:cubicBezTo>
                    <a:pt x="253880" y="681122"/>
                    <a:pt x="252843" y="680316"/>
                    <a:pt x="251807" y="679624"/>
                  </a:cubicBezTo>
                  <a:cubicBezTo>
                    <a:pt x="250770" y="678933"/>
                    <a:pt x="249733" y="678242"/>
                    <a:pt x="248581" y="677781"/>
                  </a:cubicBezTo>
                  <a:cubicBezTo>
                    <a:pt x="247545" y="677321"/>
                    <a:pt x="246508" y="676860"/>
                    <a:pt x="245471" y="676514"/>
                  </a:cubicBezTo>
                  <a:cubicBezTo>
                    <a:pt x="244434" y="676169"/>
                    <a:pt x="243513" y="675823"/>
                    <a:pt x="242476" y="675593"/>
                  </a:cubicBezTo>
                  <a:cubicBezTo>
                    <a:pt x="237523" y="674671"/>
                    <a:pt x="231994" y="674556"/>
                    <a:pt x="226234" y="674786"/>
                  </a:cubicBezTo>
                  <a:cubicBezTo>
                    <a:pt x="220475" y="675017"/>
                    <a:pt x="214600" y="675593"/>
                    <a:pt x="208841" y="676399"/>
                  </a:cubicBezTo>
                  <a:cubicBezTo>
                    <a:pt x="203081" y="677090"/>
                    <a:pt x="197667" y="677897"/>
                    <a:pt x="192944" y="678473"/>
                  </a:cubicBezTo>
                  <a:cubicBezTo>
                    <a:pt x="188221" y="678933"/>
                    <a:pt x="184190" y="679279"/>
                    <a:pt x="181310" y="678933"/>
                  </a:cubicBezTo>
                  <a:cubicBezTo>
                    <a:pt x="181656" y="676399"/>
                    <a:pt x="182807" y="673059"/>
                    <a:pt x="184420" y="669372"/>
                  </a:cubicBezTo>
                  <a:cubicBezTo>
                    <a:pt x="186033" y="665571"/>
                    <a:pt x="188106" y="661424"/>
                    <a:pt x="190295" y="657047"/>
                  </a:cubicBezTo>
                  <a:cubicBezTo>
                    <a:pt x="192368" y="652670"/>
                    <a:pt x="194442" y="648062"/>
                    <a:pt x="196170" y="643570"/>
                  </a:cubicBezTo>
                  <a:cubicBezTo>
                    <a:pt x="197897" y="639077"/>
                    <a:pt x="199164" y="634585"/>
                    <a:pt x="199625" y="630438"/>
                  </a:cubicBezTo>
                  <a:cubicBezTo>
                    <a:pt x="199625" y="629401"/>
                    <a:pt x="199740" y="628365"/>
                    <a:pt x="199625" y="627213"/>
                  </a:cubicBezTo>
                  <a:cubicBezTo>
                    <a:pt x="199625" y="626061"/>
                    <a:pt x="199510" y="624909"/>
                    <a:pt x="199164" y="623757"/>
                  </a:cubicBezTo>
                  <a:cubicBezTo>
                    <a:pt x="198934" y="622605"/>
                    <a:pt x="198473" y="621338"/>
                    <a:pt x="197897" y="620071"/>
                  </a:cubicBezTo>
                  <a:cubicBezTo>
                    <a:pt x="197321" y="618804"/>
                    <a:pt x="196515" y="617537"/>
                    <a:pt x="195594" y="616154"/>
                  </a:cubicBezTo>
                  <a:cubicBezTo>
                    <a:pt x="194211" y="614542"/>
                    <a:pt x="192829" y="613160"/>
                    <a:pt x="191332" y="612008"/>
                  </a:cubicBezTo>
                  <a:cubicBezTo>
                    <a:pt x="189834" y="610856"/>
                    <a:pt x="188337" y="609934"/>
                    <a:pt x="186839" y="609243"/>
                  </a:cubicBezTo>
                  <a:cubicBezTo>
                    <a:pt x="185342" y="608437"/>
                    <a:pt x="183844" y="607861"/>
                    <a:pt x="182347" y="607400"/>
                  </a:cubicBezTo>
                  <a:cubicBezTo>
                    <a:pt x="180849" y="606824"/>
                    <a:pt x="179467" y="606478"/>
                    <a:pt x="177969" y="606018"/>
                  </a:cubicBezTo>
                  <a:cubicBezTo>
                    <a:pt x="173362" y="604981"/>
                    <a:pt x="168293" y="604290"/>
                    <a:pt x="162995" y="603829"/>
                  </a:cubicBezTo>
                  <a:cubicBezTo>
                    <a:pt x="157696" y="603368"/>
                    <a:pt x="152282" y="603023"/>
                    <a:pt x="147098" y="602792"/>
                  </a:cubicBezTo>
                  <a:cubicBezTo>
                    <a:pt x="141800" y="602562"/>
                    <a:pt x="136731" y="602332"/>
                    <a:pt x="132239" y="601986"/>
                  </a:cubicBezTo>
                  <a:cubicBezTo>
                    <a:pt x="127746" y="601640"/>
                    <a:pt x="123830" y="601180"/>
                    <a:pt x="120720" y="600489"/>
                  </a:cubicBezTo>
                  <a:cubicBezTo>
                    <a:pt x="120720" y="600489"/>
                    <a:pt x="120605" y="600489"/>
                    <a:pt x="120489" y="600489"/>
                  </a:cubicBezTo>
                  <a:cubicBezTo>
                    <a:pt x="120489" y="600489"/>
                    <a:pt x="120374" y="600489"/>
                    <a:pt x="120259" y="600489"/>
                  </a:cubicBezTo>
                  <a:cubicBezTo>
                    <a:pt x="120259" y="600489"/>
                    <a:pt x="120144" y="600489"/>
                    <a:pt x="120029" y="600489"/>
                  </a:cubicBezTo>
                  <a:cubicBezTo>
                    <a:pt x="120029" y="600489"/>
                    <a:pt x="119913" y="600489"/>
                    <a:pt x="119798" y="600489"/>
                  </a:cubicBezTo>
                  <a:cubicBezTo>
                    <a:pt x="120259" y="599567"/>
                    <a:pt x="120835" y="598300"/>
                    <a:pt x="121641" y="596918"/>
                  </a:cubicBezTo>
                  <a:cubicBezTo>
                    <a:pt x="122448" y="595535"/>
                    <a:pt x="123484" y="594038"/>
                    <a:pt x="124636" y="592425"/>
                  </a:cubicBezTo>
                  <a:cubicBezTo>
                    <a:pt x="125788" y="590813"/>
                    <a:pt x="127055" y="589200"/>
                    <a:pt x="128437" y="587472"/>
                  </a:cubicBezTo>
                  <a:cubicBezTo>
                    <a:pt x="129820" y="585744"/>
                    <a:pt x="131202" y="584016"/>
                    <a:pt x="132700" y="582404"/>
                  </a:cubicBezTo>
                  <a:cubicBezTo>
                    <a:pt x="134427" y="580100"/>
                    <a:pt x="136270" y="577911"/>
                    <a:pt x="137998" y="575607"/>
                  </a:cubicBezTo>
                  <a:cubicBezTo>
                    <a:pt x="139726" y="573419"/>
                    <a:pt x="141454" y="571230"/>
                    <a:pt x="142952" y="568926"/>
                  </a:cubicBezTo>
                  <a:cubicBezTo>
                    <a:pt x="144449" y="566738"/>
                    <a:pt x="145831" y="564319"/>
                    <a:pt x="146868" y="561900"/>
                  </a:cubicBezTo>
                  <a:cubicBezTo>
                    <a:pt x="147905" y="559481"/>
                    <a:pt x="148711" y="556947"/>
                    <a:pt x="149172" y="554182"/>
                  </a:cubicBezTo>
                  <a:cubicBezTo>
                    <a:pt x="149172" y="553491"/>
                    <a:pt x="149172" y="552800"/>
                    <a:pt x="149172" y="551993"/>
                  </a:cubicBezTo>
                  <a:cubicBezTo>
                    <a:pt x="149172" y="551187"/>
                    <a:pt x="149172" y="550381"/>
                    <a:pt x="148941" y="549574"/>
                  </a:cubicBezTo>
                  <a:cubicBezTo>
                    <a:pt x="148826" y="548768"/>
                    <a:pt x="148596" y="547846"/>
                    <a:pt x="148250" y="546925"/>
                  </a:cubicBezTo>
                  <a:cubicBezTo>
                    <a:pt x="147905" y="546003"/>
                    <a:pt x="147559" y="545082"/>
                    <a:pt x="146983" y="544160"/>
                  </a:cubicBezTo>
                  <a:cubicBezTo>
                    <a:pt x="144910" y="541281"/>
                    <a:pt x="142836" y="538977"/>
                    <a:pt x="140533" y="537134"/>
                  </a:cubicBezTo>
                  <a:cubicBezTo>
                    <a:pt x="138344" y="535291"/>
                    <a:pt x="135925" y="533908"/>
                    <a:pt x="133506" y="532757"/>
                  </a:cubicBezTo>
                  <a:cubicBezTo>
                    <a:pt x="131087" y="531605"/>
                    <a:pt x="128553" y="530798"/>
                    <a:pt x="126018" y="529992"/>
                  </a:cubicBezTo>
                  <a:cubicBezTo>
                    <a:pt x="123484" y="529301"/>
                    <a:pt x="120950" y="528610"/>
                    <a:pt x="118416" y="527688"/>
                  </a:cubicBezTo>
                  <a:cubicBezTo>
                    <a:pt x="115306" y="526882"/>
                    <a:pt x="112196" y="526191"/>
                    <a:pt x="108970" y="525384"/>
                  </a:cubicBezTo>
                  <a:cubicBezTo>
                    <a:pt x="105745" y="524693"/>
                    <a:pt x="102520" y="524002"/>
                    <a:pt x="99294" y="523311"/>
                  </a:cubicBezTo>
                  <a:cubicBezTo>
                    <a:pt x="96069" y="522620"/>
                    <a:pt x="92959" y="522044"/>
                    <a:pt x="89964" y="521353"/>
                  </a:cubicBezTo>
                  <a:cubicBezTo>
                    <a:pt x="86969" y="520661"/>
                    <a:pt x="84089" y="520085"/>
                    <a:pt x="81440" y="519279"/>
                  </a:cubicBezTo>
                  <a:cubicBezTo>
                    <a:pt x="80518" y="519049"/>
                    <a:pt x="79597" y="518818"/>
                    <a:pt x="78675" y="518588"/>
                  </a:cubicBezTo>
                  <a:cubicBezTo>
                    <a:pt x="77754" y="518358"/>
                    <a:pt x="76947" y="518012"/>
                    <a:pt x="76141" y="517782"/>
                  </a:cubicBezTo>
                  <a:cubicBezTo>
                    <a:pt x="75335" y="517551"/>
                    <a:pt x="74643" y="517321"/>
                    <a:pt x="73952" y="517091"/>
                  </a:cubicBezTo>
                  <a:cubicBezTo>
                    <a:pt x="73261" y="516860"/>
                    <a:pt x="72685" y="516630"/>
                    <a:pt x="72224" y="516399"/>
                  </a:cubicBezTo>
                  <a:cubicBezTo>
                    <a:pt x="72916" y="515593"/>
                    <a:pt x="73837" y="514556"/>
                    <a:pt x="74874" y="513404"/>
                  </a:cubicBezTo>
                  <a:cubicBezTo>
                    <a:pt x="76026" y="512253"/>
                    <a:pt x="77293" y="511101"/>
                    <a:pt x="78790" y="509718"/>
                  </a:cubicBezTo>
                  <a:cubicBezTo>
                    <a:pt x="80173" y="508336"/>
                    <a:pt x="81785" y="506954"/>
                    <a:pt x="83513" y="505572"/>
                  </a:cubicBezTo>
                  <a:cubicBezTo>
                    <a:pt x="85241" y="504189"/>
                    <a:pt x="86969" y="502807"/>
                    <a:pt x="88927" y="501540"/>
                  </a:cubicBezTo>
                  <a:cubicBezTo>
                    <a:pt x="91461" y="499466"/>
                    <a:pt x="93996" y="497623"/>
                    <a:pt x="96415" y="495780"/>
                  </a:cubicBezTo>
                  <a:cubicBezTo>
                    <a:pt x="98834" y="493937"/>
                    <a:pt x="101253" y="492094"/>
                    <a:pt x="103441" y="490021"/>
                  </a:cubicBezTo>
                  <a:cubicBezTo>
                    <a:pt x="105630" y="487947"/>
                    <a:pt x="107588" y="485874"/>
                    <a:pt x="109085" y="483570"/>
                  </a:cubicBezTo>
                  <a:cubicBezTo>
                    <a:pt x="110583" y="481151"/>
                    <a:pt x="111735" y="478502"/>
                    <a:pt x="112426" y="475392"/>
                  </a:cubicBezTo>
                  <a:cubicBezTo>
                    <a:pt x="112426" y="474931"/>
                    <a:pt x="112426" y="474470"/>
                    <a:pt x="112426" y="473894"/>
                  </a:cubicBezTo>
                  <a:cubicBezTo>
                    <a:pt x="112426" y="473433"/>
                    <a:pt x="112426" y="472857"/>
                    <a:pt x="112426" y="472281"/>
                  </a:cubicBezTo>
                  <a:cubicBezTo>
                    <a:pt x="112426" y="471705"/>
                    <a:pt x="112196" y="471129"/>
                    <a:pt x="112080" y="470554"/>
                  </a:cubicBezTo>
                  <a:cubicBezTo>
                    <a:pt x="111965" y="469978"/>
                    <a:pt x="111735" y="469402"/>
                    <a:pt x="111504" y="468826"/>
                  </a:cubicBezTo>
                  <a:cubicBezTo>
                    <a:pt x="110468" y="466292"/>
                    <a:pt x="109085" y="464218"/>
                    <a:pt x="107588" y="462375"/>
                  </a:cubicBezTo>
                  <a:cubicBezTo>
                    <a:pt x="106091" y="460532"/>
                    <a:pt x="104363" y="459034"/>
                    <a:pt x="102635" y="457767"/>
                  </a:cubicBezTo>
                  <a:cubicBezTo>
                    <a:pt x="100907" y="456385"/>
                    <a:pt x="98949" y="455348"/>
                    <a:pt x="97106" y="454312"/>
                  </a:cubicBezTo>
                  <a:cubicBezTo>
                    <a:pt x="95147" y="453275"/>
                    <a:pt x="93304" y="452353"/>
                    <a:pt x="91461" y="451432"/>
                  </a:cubicBezTo>
                  <a:cubicBezTo>
                    <a:pt x="88582" y="450050"/>
                    <a:pt x="85471" y="448783"/>
                    <a:pt x="82361" y="447515"/>
                  </a:cubicBezTo>
                  <a:cubicBezTo>
                    <a:pt x="79251" y="446248"/>
                    <a:pt x="75911" y="444981"/>
                    <a:pt x="72685" y="443829"/>
                  </a:cubicBezTo>
                  <a:cubicBezTo>
                    <a:pt x="69460" y="442562"/>
                    <a:pt x="66235" y="441410"/>
                    <a:pt x="63009" y="440258"/>
                  </a:cubicBezTo>
                  <a:cubicBezTo>
                    <a:pt x="59784" y="439107"/>
                    <a:pt x="56789" y="437955"/>
                    <a:pt x="53909" y="436688"/>
                  </a:cubicBezTo>
                  <a:cubicBezTo>
                    <a:pt x="52527" y="436112"/>
                    <a:pt x="51145" y="435651"/>
                    <a:pt x="49878" y="435075"/>
                  </a:cubicBezTo>
                  <a:cubicBezTo>
                    <a:pt x="48610" y="434614"/>
                    <a:pt x="47343" y="434038"/>
                    <a:pt x="46191" y="433462"/>
                  </a:cubicBezTo>
                  <a:cubicBezTo>
                    <a:pt x="45040" y="433001"/>
                    <a:pt x="44003" y="432425"/>
                    <a:pt x="42966" y="431965"/>
                  </a:cubicBezTo>
                  <a:cubicBezTo>
                    <a:pt x="41929" y="431504"/>
                    <a:pt x="41123" y="431043"/>
                    <a:pt x="40317" y="430582"/>
                  </a:cubicBezTo>
                  <a:cubicBezTo>
                    <a:pt x="41238" y="429891"/>
                    <a:pt x="42621" y="429085"/>
                    <a:pt x="44118" y="428163"/>
                  </a:cubicBezTo>
                  <a:cubicBezTo>
                    <a:pt x="45731" y="427242"/>
                    <a:pt x="47574" y="426205"/>
                    <a:pt x="49532" y="425168"/>
                  </a:cubicBezTo>
                  <a:cubicBezTo>
                    <a:pt x="51605" y="424132"/>
                    <a:pt x="53794" y="423095"/>
                    <a:pt x="55983" y="422058"/>
                  </a:cubicBezTo>
                  <a:cubicBezTo>
                    <a:pt x="58286" y="421022"/>
                    <a:pt x="60590" y="419985"/>
                    <a:pt x="62894" y="419063"/>
                  </a:cubicBezTo>
                  <a:cubicBezTo>
                    <a:pt x="65774" y="417451"/>
                    <a:pt x="68769" y="416184"/>
                    <a:pt x="71533" y="414916"/>
                  </a:cubicBezTo>
                  <a:cubicBezTo>
                    <a:pt x="74413" y="413649"/>
                    <a:pt x="77178" y="412267"/>
                    <a:pt x="79597" y="410770"/>
                  </a:cubicBezTo>
                  <a:cubicBezTo>
                    <a:pt x="82131" y="409272"/>
                    <a:pt x="84320" y="407544"/>
                    <a:pt x="86163" y="405356"/>
                  </a:cubicBezTo>
                  <a:cubicBezTo>
                    <a:pt x="88006" y="403167"/>
                    <a:pt x="89388" y="400633"/>
                    <a:pt x="90194" y="397408"/>
                  </a:cubicBezTo>
                  <a:lnTo>
                    <a:pt x="89964" y="393837"/>
                  </a:lnTo>
                  <a:cubicBezTo>
                    <a:pt x="89273" y="391302"/>
                    <a:pt x="88351" y="389229"/>
                    <a:pt x="87084" y="387271"/>
                  </a:cubicBezTo>
                  <a:cubicBezTo>
                    <a:pt x="85932" y="385428"/>
                    <a:pt x="84550" y="383700"/>
                    <a:pt x="82937" y="382318"/>
                  </a:cubicBezTo>
                  <a:cubicBezTo>
                    <a:pt x="81325" y="380820"/>
                    <a:pt x="79712" y="379553"/>
                    <a:pt x="77984" y="378286"/>
                  </a:cubicBezTo>
                  <a:cubicBezTo>
                    <a:pt x="76256" y="377019"/>
                    <a:pt x="74528" y="375867"/>
                    <a:pt x="72800" y="374600"/>
                  </a:cubicBezTo>
                  <a:cubicBezTo>
                    <a:pt x="70151" y="372872"/>
                    <a:pt x="67271" y="371259"/>
                    <a:pt x="64276" y="369531"/>
                  </a:cubicBezTo>
                  <a:cubicBezTo>
                    <a:pt x="61281" y="367804"/>
                    <a:pt x="58286" y="366191"/>
                    <a:pt x="55176" y="364463"/>
                  </a:cubicBezTo>
                  <a:cubicBezTo>
                    <a:pt x="52066" y="362850"/>
                    <a:pt x="49071" y="361122"/>
                    <a:pt x="46076" y="359510"/>
                  </a:cubicBezTo>
                  <a:cubicBezTo>
                    <a:pt x="43081" y="357897"/>
                    <a:pt x="40086" y="356284"/>
                    <a:pt x="37322" y="354672"/>
                  </a:cubicBezTo>
                  <a:cubicBezTo>
                    <a:pt x="36055" y="353981"/>
                    <a:pt x="34788" y="353290"/>
                    <a:pt x="33636" y="352598"/>
                  </a:cubicBezTo>
                  <a:cubicBezTo>
                    <a:pt x="32484" y="351907"/>
                    <a:pt x="31332" y="351216"/>
                    <a:pt x="30295" y="350640"/>
                  </a:cubicBezTo>
                  <a:cubicBezTo>
                    <a:pt x="29258" y="349949"/>
                    <a:pt x="28337" y="349373"/>
                    <a:pt x="27415" y="348797"/>
                  </a:cubicBezTo>
                  <a:cubicBezTo>
                    <a:pt x="26494" y="348221"/>
                    <a:pt x="25803" y="347645"/>
                    <a:pt x="25112" y="347069"/>
                  </a:cubicBezTo>
                  <a:cubicBezTo>
                    <a:pt x="26148" y="346608"/>
                    <a:pt x="27646" y="346148"/>
                    <a:pt x="29489" y="345457"/>
                  </a:cubicBezTo>
                  <a:cubicBezTo>
                    <a:pt x="31217" y="344881"/>
                    <a:pt x="33405" y="344305"/>
                    <a:pt x="35594" y="343614"/>
                  </a:cubicBezTo>
                  <a:cubicBezTo>
                    <a:pt x="37898" y="343038"/>
                    <a:pt x="40317" y="342346"/>
                    <a:pt x="42851" y="341886"/>
                  </a:cubicBezTo>
                  <a:cubicBezTo>
                    <a:pt x="45385" y="341310"/>
                    <a:pt x="48034" y="340734"/>
                    <a:pt x="50569" y="340273"/>
                  </a:cubicBezTo>
                  <a:cubicBezTo>
                    <a:pt x="53909" y="339236"/>
                    <a:pt x="57365" y="338430"/>
                    <a:pt x="60705" y="337739"/>
                  </a:cubicBezTo>
                  <a:cubicBezTo>
                    <a:pt x="64046" y="336932"/>
                    <a:pt x="67271" y="336241"/>
                    <a:pt x="70266" y="335205"/>
                  </a:cubicBezTo>
                  <a:cubicBezTo>
                    <a:pt x="73261" y="334168"/>
                    <a:pt x="75911" y="332786"/>
                    <a:pt x="78099" y="330827"/>
                  </a:cubicBezTo>
                  <a:cubicBezTo>
                    <a:pt x="80288" y="328869"/>
                    <a:pt x="82016" y="326335"/>
                    <a:pt x="83168" y="322879"/>
                  </a:cubicBezTo>
                  <a:lnTo>
                    <a:pt x="83168" y="321843"/>
                  </a:lnTo>
                  <a:cubicBezTo>
                    <a:pt x="82937" y="319423"/>
                    <a:pt x="82361" y="317235"/>
                    <a:pt x="81555" y="315392"/>
                  </a:cubicBezTo>
                  <a:cubicBezTo>
                    <a:pt x="80749" y="313434"/>
                    <a:pt x="79597" y="311706"/>
                    <a:pt x="78330" y="310093"/>
                  </a:cubicBezTo>
                  <a:cubicBezTo>
                    <a:pt x="77062" y="308480"/>
                    <a:pt x="75565" y="306983"/>
                    <a:pt x="74068" y="305601"/>
                  </a:cubicBezTo>
                  <a:cubicBezTo>
                    <a:pt x="72570" y="304218"/>
                    <a:pt x="70957" y="302836"/>
                    <a:pt x="69460" y="301454"/>
                  </a:cubicBezTo>
                  <a:cubicBezTo>
                    <a:pt x="67156" y="299496"/>
                    <a:pt x="64622" y="297422"/>
                    <a:pt x="61857" y="295464"/>
                  </a:cubicBezTo>
                  <a:cubicBezTo>
                    <a:pt x="59208" y="293506"/>
                    <a:pt x="56443" y="291432"/>
                    <a:pt x="53679" y="289474"/>
                  </a:cubicBezTo>
                  <a:cubicBezTo>
                    <a:pt x="50914" y="287516"/>
                    <a:pt x="48034" y="285557"/>
                    <a:pt x="45385" y="283599"/>
                  </a:cubicBezTo>
                  <a:cubicBezTo>
                    <a:pt x="42736" y="281641"/>
                    <a:pt x="40086" y="279798"/>
                    <a:pt x="37552" y="277955"/>
                  </a:cubicBezTo>
                  <a:cubicBezTo>
                    <a:pt x="36285" y="277033"/>
                    <a:pt x="35133" y="276112"/>
                    <a:pt x="33981" y="275306"/>
                  </a:cubicBezTo>
                  <a:cubicBezTo>
                    <a:pt x="32829" y="274499"/>
                    <a:pt x="31793" y="273578"/>
                    <a:pt x="30871" y="272887"/>
                  </a:cubicBezTo>
                  <a:cubicBezTo>
                    <a:pt x="29950" y="272080"/>
                    <a:pt x="29028" y="271274"/>
                    <a:pt x="28222" y="270698"/>
                  </a:cubicBezTo>
                  <a:cubicBezTo>
                    <a:pt x="27415" y="270007"/>
                    <a:pt x="26724" y="269316"/>
                    <a:pt x="26263" y="268740"/>
                  </a:cubicBezTo>
                  <a:cubicBezTo>
                    <a:pt x="27646" y="268394"/>
                    <a:pt x="29604" y="268049"/>
                    <a:pt x="32023" y="267818"/>
                  </a:cubicBezTo>
                  <a:cubicBezTo>
                    <a:pt x="34327" y="267588"/>
                    <a:pt x="37091" y="267357"/>
                    <a:pt x="39971" y="267242"/>
                  </a:cubicBezTo>
                  <a:cubicBezTo>
                    <a:pt x="42966" y="267127"/>
                    <a:pt x="46076" y="267012"/>
                    <a:pt x="49302" y="266897"/>
                  </a:cubicBezTo>
                  <a:cubicBezTo>
                    <a:pt x="52527" y="266781"/>
                    <a:pt x="55752" y="266666"/>
                    <a:pt x="58978" y="266551"/>
                  </a:cubicBezTo>
                  <a:cubicBezTo>
                    <a:pt x="62088" y="266205"/>
                    <a:pt x="65313" y="266090"/>
                    <a:pt x="68423" y="265860"/>
                  </a:cubicBezTo>
                  <a:cubicBezTo>
                    <a:pt x="71533" y="265745"/>
                    <a:pt x="74528" y="265399"/>
                    <a:pt x="77408" y="264823"/>
                  </a:cubicBezTo>
                  <a:cubicBezTo>
                    <a:pt x="80173" y="264247"/>
                    <a:pt x="82822" y="263441"/>
                    <a:pt x="85011" y="261828"/>
                  </a:cubicBezTo>
                  <a:cubicBezTo>
                    <a:pt x="87199" y="260331"/>
                    <a:pt x="89042" y="258257"/>
                    <a:pt x="90425" y="255262"/>
                  </a:cubicBezTo>
                  <a:lnTo>
                    <a:pt x="90770" y="254571"/>
                  </a:lnTo>
                  <a:lnTo>
                    <a:pt x="90770" y="253765"/>
                  </a:lnTo>
                  <a:cubicBezTo>
                    <a:pt x="90770" y="251807"/>
                    <a:pt x="90309" y="249964"/>
                    <a:pt x="89733" y="248236"/>
                  </a:cubicBezTo>
                  <a:cubicBezTo>
                    <a:pt x="89158" y="246508"/>
                    <a:pt x="88351" y="244895"/>
                    <a:pt x="87430" y="243283"/>
                  </a:cubicBezTo>
                  <a:cubicBezTo>
                    <a:pt x="86393" y="241670"/>
                    <a:pt x="85356" y="240288"/>
                    <a:pt x="84089" y="238790"/>
                  </a:cubicBezTo>
                  <a:cubicBezTo>
                    <a:pt x="82937" y="237408"/>
                    <a:pt x="81670" y="235910"/>
                    <a:pt x="80403" y="234528"/>
                  </a:cubicBezTo>
                  <a:cubicBezTo>
                    <a:pt x="78445" y="232455"/>
                    <a:pt x="76371" y="230381"/>
                    <a:pt x="74183" y="228077"/>
                  </a:cubicBezTo>
                  <a:cubicBezTo>
                    <a:pt x="71994" y="225889"/>
                    <a:pt x="69575" y="223815"/>
                    <a:pt x="67271" y="221627"/>
                  </a:cubicBezTo>
                  <a:cubicBezTo>
                    <a:pt x="64967" y="219438"/>
                    <a:pt x="62548" y="217249"/>
                    <a:pt x="60245" y="215176"/>
                  </a:cubicBezTo>
                  <a:cubicBezTo>
                    <a:pt x="57941" y="213103"/>
                    <a:pt x="55752" y="211029"/>
                    <a:pt x="53679" y="209071"/>
                  </a:cubicBezTo>
                  <a:cubicBezTo>
                    <a:pt x="52642" y="208149"/>
                    <a:pt x="51605" y="207113"/>
                    <a:pt x="50684" y="206191"/>
                  </a:cubicBezTo>
                  <a:cubicBezTo>
                    <a:pt x="49762" y="205270"/>
                    <a:pt x="48841" y="204348"/>
                    <a:pt x="48034" y="203542"/>
                  </a:cubicBezTo>
                  <a:cubicBezTo>
                    <a:pt x="47113" y="202735"/>
                    <a:pt x="46422" y="201929"/>
                    <a:pt x="45731" y="201123"/>
                  </a:cubicBezTo>
                  <a:cubicBezTo>
                    <a:pt x="45040" y="200432"/>
                    <a:pt x="44464" y="199625"/>
                    <a:pt x="44003" y="199049"/>
                  </a:cubicBezTo>
                  <a:lnTo>
                    <a:pt x="43657" y="198589"/>
                  </a:lnTo>
                  <a:cubicBezTo>
                    <a:pt x="45270" y="198589"/>
                    <a:pt x="47343" y="198589"/>
                    <a:pt x="49762" y="198704"/>
                  </a:cubicBezTo>
                  <a:cubicBezTo>
                    <a:pt x="52181" y="198819"/>
                    <a:pt x="54946" y="199049"/>
                    <a:pt x="57941" y="199395"/>
                  </a:cubicBezTo>
                  <a:cubicBezTo>
                    <a:pt x="60936" y="199625"/>
                    <a:pt x="64161" y="200086"/>
                    <a:pt x="67386" y="200432"/>
                  </a:cubicBezTo>
                  <a:cubicBezTo>
                    <a:pt x="70612" y="200777"/>
                    <a:pt x="73952" y="201238"/>
                    <a:pt x="77062" y="201699"/>
                  </a:cubicBezTo>
                  <a:cubicBezTo>
                    <a:pt x="80288" y="201814"/>
                    <a:pt x="83628" y="202159"/>
                    <a:pt x="86854" y="202505"/>
                  </a:cubicBezTo>
                  <a:cubicBezTo>
                    <a:pt x="90079" y="202851"/>
                    <a:pt x="93189" y="203081"/>
                    <a:pt x="96184" y="203081"/>
                  </a:cubicBezTo>
                  <a:cubicBezTo>
                    <a:pt x="99179" y="203081"/>
                    <a:pt x="101944" y="202620"/>
                    <a:pt x="104478" y="201699"/>
                  </a:cubicBezTo>
                  <a:cubicBezTo>
                    <a:pt x="107012" y="200662"/>
                    <a:pt x="109316" y="199165"/>
                    <a:pt x="111274" y="196630"/>
                  </a:cubicBezTo>
                  <a:lnTo>
                    <a:pt x="112196" y="193635"/>
                  </a:lnTo>
                  <a:cubicBezTo>
                    <a:pt x="112080" y="190295"/>
                    <a:pt x="111159" y="187185"/>
                    <a:pt x="109892" y="184190"/>
                  </a:cubicBezTo>
                  <a:cubicBezTo>
                    <a:pt x="108510" y="181195"/>
                    <a:pt x="106782" y="178315"/>
                    <a:pt x="104593" y="175435"/>
                  </a:cubicBezTo>
                  <a:cubicBezTo>
                    <a:pt x="102520" y="172556"/>
                    <a:pt x="100101" y="169791"/>
                    <a:pt x="97682" y="166911"/>
                  </a:cubicBezTo>
                  <a:cubicBezTo>
                    <a:pt x="95263" y="164031"/>
                    <a:pt x="92728" y="161152"/>
                    <a:pt x="90309" y="158041"/>
                  </a:cubicBezTo>
                  <a:cubicBezTo>
                    <a:pt x="89042" y="156659"/>
                    <a:pt x="87890" y="155162"/>
                    <a:pt x="86623" y="153779"/>
                  </a:cubicBezTo>
                  <a:cubicBezTo>
                    <a:pt x="85471" y="152397"/>
                    <a:pt x="84320" y="151015"/>
                    <a:pt x="83168" y="149748"/>
                  </a:cubicBezTo>
                  <a:cubicBezTo>
                    <a:pt x="82131" y="148365"/>
                    <a:pt x="81094" y="147098"/>
                    <a:pt x="80057" y="145831"/>
                  </a:cubicBezTo>
                  <a:cubicBezTo>
                    <a:pt x="79136" y="144679"/>
                    <a:pt x="78214" y="143412"/>
                    <a:pt x="77408" y="142376"/>
                  </a:cubicBezTo>
                  <a:lnTo>
                    <a:pt x="74874" y="138574"/>
                  </a:lnTo>
                  <a:cubicBezTo>
                    <a:pt x="76487" y="138574"/>
                    <a:pt x="78560" y="139035"/>
                    <a:pt x="80979" y="139496"/>
                  </a:cubicBezTo>
                  <a:cubicBezTo>
                    <a:pt x="83398" y="139957"/>
                    <a:pt x="86047" y="140648"/>
                    <a:pt x="89042" y="141454"/>
                  </a:cubicBezTo>
                  <a:cubicBezTo>
                    <a:pt x="92037" y="142260"/>
                    <a:pt x="95147" y="143067"/>
                    <a:pt x="98258" y="143873"/>
                  </a:cubicBezTo>
                  <a:cubicBezTo>
                    <a:pt x="101483" y="144679"/>
                    <a:pt x="104708" y="145601"/>
                    <a:pt x="107818" y="146407"/>
                  </a:cubicBezTo>
                  <a:cubicBezTo>
                    <a:pt x="111159" y="147098"/>
                    <a:pt x="114384" y="147905"/>
                    <a:pt x="117610" y="148711"/>
                  </a:cubicBezTo>
                  <a:cubicBezTo>
                    <a:pt x="120835" y="149517"/>
                    <a:pt x="123945" y="150324"/>
                    <a:pt x="126940" y="150669"/>
                  </a:cubicBezTo>
                  <a:cubicBezTo>
                    <a:pt x="129935" y="151130"/>
                    <a:pt x="132815" y="151245"/>
                    <a:pt x="135579" y="150669"/>
                  </a:cubicBezTo>
                  <a:cubicBezTo>
                    <a:pt x="138344" y="150209"/>
                    <a:pt x="140993" y="149057"/>
                    <a:pt x="143412" y="147214"/>
                  </a:cubicBezTo>
                  <a:cubicBezTo>
                    <a:pt x="143643" y="146868"/>
                    <a:pt x="143988" y="146522"/>
                    <a:pt x="144103" y="146062"/>
                  </a:cubicBezTo>
                  <a:cubicBezTo>
                    <a:pt x="144334" y="145716"/>
                    <a:pt x="144564" y="145371"/>
                    <a:pt x="144679" y="144910"/>
                  </a:cubicBezTo>
                  <a:cubicBezTo>
                    <a:pt x="144910" y="144564"/>
                    <a:pt x="145025" y="144103"/>
                    <a:pt x="145140" y="143758"/>
                  </a:cubicBezTo>
                  <a:cubicBezTo>
                    <a:pt x="145140" y="143412"/>
                    <a:pt x="145371" y="142952"/>
                    <a:pt x="145371" y="142491"/>
                  </a:cubicBezTo>
                  <a:cubicBezTo>
                    <a:pt x="145371" y="139726"/>
                    <a:pt x="144795" y="137077"/>
                    <a:pt x="143873" y="134312"/>
                  </a:cubicBezTo>
                  <a:cubicBezTo>
                    <a:pt x="142952" y="131663"/>
                    <a:pt x="141684" y="128898"/>
                    <a:pt x="140187" y="126249"/>
                  </a:cubicBezTo>
                  <a:cubicBezTo>
                    <a:pt x="138689" y="123600"/>
                    <a:pt x="137077" y="120835"/>
                    <a:pt x="135234" y="118070"/>
                  </a:cubicBezTo>
                  <a:cubicBezTo>
                    <a:pt x="133506" y="115306"/>
                    <a:pt x="131663" y="112426"/>
                    <a:pt x="129935" y="109661"/>
                  </a:cubicBezTo>
                  <a:cubicBezTo>
                    <a:pt x="128553" y="107703"/>
                    <a:pt x="127286" y="105745"/>
                    <a:pt x="126018" y="103787"/>
                  </a:cubicBezTo>
                  <a:cubicBezTo>
                    <a:pt x="124867" y="101828"/>
                    <a:pt x="123715" y="99985"/>
                    <a:pt x="122678" y="98258"/>
                  </a:cubicBezTo>
                  <a:cubicBezTo>
                    <a:pt x="121641" y="96530"/>
                    <a:pt x="120835" y="94917"/>
                    <a:pt x="120029" y="93420"/>
                  </a:cubicBezTo>
                  <a:cubicBezTo>
                    <a:pt x="119222" y="92037"/>
                    <a:pt x="118646" y="90770"/>
                    <a:pt x="118301" y="89849"/>
                  </a:cubicBezTo>
                  <a:cubicBezTo>
                    <a:pt x="118761" y="89964"/>
                    <a:pt x="119222" y="90079"/>
                    <a:pt x="119683" y="90194"/>
                  </a:cubicBezTo>
                  <a:cubicBezTo>
                    <a:pt x="120144" y="90425"/>
                    <a:pt x="120720" y="90425"/>
                    <a:pt x="121180" y="90655"/>
                  </a:cubicBezTo>
                  <a:cubicBezTo>
                    <a:pt x="121641" y="90770"/>
                    <a:pt x="122217" y="90885"/>
                    <a:pt x="122908" y="91116"/>
                  </a:cubicBezTo>
                  <a:cubicBezTo>
                    <a:pt x="123484" y="91231"/>
                    <a:pt x="124060" y="91461"/>
                    <a:pt x="124751" y="91692"/>
                  </a:cubicBezTo>
                  <a:cubicBezTo>
                    <a:pt x="124867" y="91692"/>
                    <a:pt x="124982" y="91807"/>
                    <a:pt x="125212" y="91807"/>
                  </a:cubicBezTo>
                  <a:cubicBezTo>
                    <a:pt x="125327" y="91807"/>
                    <a:pt x="125558" y="91922"/>
                    <a:pt x="125673" y="91922"/>
                  </a:cubicBezTo>
                  <a:cubicBezTo>
                    <a:pt x="125788" y="91922"/>
                    <a:pt x="126018" y="92037"/>
                    <a:pt x="126134" y="92152"/>
                  </a:cubicBezTo>
                  <a:cubicBezTo>
                    <a:pt x="126249" y="92152"/>
                    <a:pt x="126364" y="92268"/>
                    <a:pt x="126594" y="92268"/>
                  </a:cubicBezTo>
                  <a:cubicBezTo>
                    <a:pt x="128898" y="93189"/>
                    <a:pt x="131548" y="94111"/>
                    <a:pt x="134197" y="95263"/>
                  </a:cubicBezTo>
                  <a:cubicBezTo>
                    <a:pt x="136846" y="96299"/>
                    <a:pt x="139611" y="97451"/>
                    <a:pt x="142376" y="98718"/>
                  </a:cubicBezTo>
                  <a:cubicBezTo>
                    <a:pt x="145140" y="99870"/>
                    <a:pt x="148020" y="101137"/>
                    <a:pt x="150784" y="102289"/>
                  </a:cubicBezTo>
                  <a:cubicBezTo>
                    <a:pt x="153664" y="103441"/>
                    <a:pt x="156429" y="104593"/>
                    <a:pt x="159193" y="105630"/>
                  </a:cubicBezTo>
                  <a:cubicBezTo>
                    <a:pt x="161497" y="106321"/>
                    <a:pt x="163686" y="107127"/>
                    <a:pt x="165990" y="107934"/>
                  </a:cubicBezTo>
                  <a:cubicBezTo>
                    <a:pt x="168293" y="108625"/>
                    <a:pt x="170482" y="109316"/>
                    <a:pt x="172786" y="109777"/>
                  </a:cubicBezTo>
                  <a:cubicBezTo>
                    <a:pt x="174974" y="110237"/>
                    <a:pt x="177278" y="110468"/>
                    <a:pt x="179352" y="110353"/>
                  </a:cubicBezTo>
                  <a:cubicBezTo>
                    <a:pt x="181540" y="110237"/>
                    <a:pt x="183729" y="109661"/>
                    <a:pt x="185802" y="108394"/>
                  </a:cubicBezTo>
                  <a:cubicBezTo>
                    <a:pt x="186378" y="107934"/>
                    <a:pt x="186839" y="107473"/>
                    <a:pt x="187300" y="107012"/>
                  </a:cubicBezTo>
                  <a:cubicBezTo>
                    <a:pt x="187645" y="106436"/>
                    <a:pt x="187991" y="105975"/>
                    <a:pt x="188337" y="105399"/>
                  </a:cubicBezTo>
                  <a:cubicBezTo>
                    <a:pt x="188567" y="104823"/>
                    <a:pt x="188682" y="104363"/>
                    <a:pt x="188913" y="103787"/>
                  </a:cubicBezTo>
                  <a:cubicBezTo>
                    <a:pt x="189028" y="103211"/>
                    <a:pt x="189143" y="102635"/>
                    <a:pt x="189143" y="102174"/>
                  </a:cubicBezTo>
                  <a:cubicBezTo>
                    <a:pt x="189143" y="99870"/>
                    <a:pt x="188913" y="97682"/>
                    <a:pt x="188337" y="95263"/>
                  </a:cubicBezTo>
                  <a:cubicBezTo>
                    <a:pt x="187761" y="92959"/>
                    <a:pt x="186954" y="90540"/>
                    <a:pt x="186148" y="88121"/>
                  </a:cubicBezTo>
                  <a:cubicBezTo>
                    <a:pt x="185226" y="85702"/>
                    <a:pt x="184075" y="83168"/>
                    <a:pt x="182923" y="80633"/>
                  </a:cubicBezTo>
                  <a:cubicBezTo>
                    <a:pt x="181771" y="78099"/>
                    <a:pt x="180619" y="75565"/>
                    <a:pt x="179467" y="73031"/>
                  </a:cubicBezTo>
                  <a:cubicBezTo>
                    <a:pt x="178430" y="71073"/>
                    <a:pt x="177509" y="69114"/>
                    <a:pt x="176702" y="67156"/>
                  </a:cubicBezTo>
                  <a:cubicBezTo>
                    <a:pt x="175896" y="65198"/>
                    <a:pt x="174974" y="63355"/>
                    <a:pt x="174283" y="61742"/>
                  </a:cubicBezTo>
                  <a:cubicBezTo>
                    <a:pt x="173592" y="60014"/>
                    <a:pt x="173016" y="58402"/>
                    <a:pt x="172555" y="57019"/>
                  </a:cubicBezTo>
                  <a:cubicBezTo>
                    <a:pt x="172095" y="55637"/>
                    <a:pt x="171749" y="54485"/>
                    <a:pt x="171519" y="53564"/>
                  </a:cubicBezTo>
                  <a:cubicBezTo>
                    <a:pt x="171519" y="53564"/>
                    <a:pt x="171519" y="53564"/>
                    <a:pt x="171749" y="53564"/>
                  </a:cubicBezTo>
                  <a:cubicBezTo>
                    <a:pt x="171749" y="53564"/>
                    <a:pt x="171749" y="53564"/>
                    <a:pt x="171864" y="53564"/>
                  </a:cubicBezTo>
                  <a:cubicBezTo>
                    <a:pt x="171864" y="53564"/>
                    <a:pt x="171864" y="53564"/>
                    <a:pt x="171980" y="53564"/>
                  </a:cubicBezTo>
                  <a:cubicBezTo>
                    <a:pt x="171980" y="53564"/>
                    <a:pt x="172095" y="53564"/>
                    <a:pt x="172095" y="53564"/>
                  </a:cubicBezTo>
                  <a:cubicBezTo>
                    <a:pt x="174744" y="54600"/>
                    <a:pt x="178085" y="56328"/>
                    <a:pt x="181771" y="58286"/>
                  </a:cubicBezTo>
                  <a:cubicBezTo>
                    <a:pt x="185572" y="60360"/>
                    <a:pt x="189834" y="62779"/>
                    <a:pt x="194211" y="65198"/>
                  </a:cubicBezTo>
                  <a:cubicBezTo>
                    <a:pt x="198589" y="67617"/>
                    <a:pt x="203196" y="70266"/>
                    <a:pt x="207573" y="72570"/>
                  </a:cubicBezTo>
                  <a:cubicBezTo>
                    <a:pt x="212066" y="74874"/>
                    <a:pt x="216328" y="76947"/>
                    <a:pt x="220244" y="78560"/>
                  </a:cubicBezTo>
                  <a:cubicBezTo>
                    <a:pt x="221511" y="79021"/>
                    <a:pt x="222779" y="79482"/>
                    <a:pt x="224046" y="79942"/>
                  </a:cubicBezTo>
                  <a:cubicBezTo>
                    <a:pt x="225313" y="80403"/>
                    <a:pt x="226695" y="80633"/>
                    <a:pt x="227962" y="80864"/>
                  </a:cubicBezTo>
                  <a:cubicBezTo>
                    <a:pt x="229344" y="81094"/>
                    <a:pt x="230612" y="81209"/>
                    <a:pt x="231994" y="81094"/>
                  </a:cubicBezTo>
                  <a:cubicBezTo>
                    <a:pt x="233376" y="81094"/>
                    <a:pt x="234758" y="80864"/>
                    <a:pt x="236025" y="80288"/>
                  </a:cubicBezTo>
                  <a:cubicBezTo>
                    <a:pt x="237062" y="79827"/>
                    <a:pt x="237869" y="79251"/>
                    <a:pt x="238444" y="78560"/>
                  </a:cubicBezTo>
                  <a:cubicBezTo>
                    <a:pt x="239136" y="77984"/>
                    <a:pt x="239596" y="77293"/>
                    <a:pt x="239942" y="76487"/>
                  </a:cubicBezTo>
                  <a:cubicBezTo>
                    <a:pt x="240288" y="75795"/>
                    <a:pt x="240518" y="74989"/>
                    <a:pt x="240748" y="74298"/>
                  </a:cubicBezTo>
                  <a:cubicBezTo>
                    <a:pt x="240863" y="73492"/>
                    <a:pt x="240979" y="72800"/>
                    <a:pt x="240979" y="72109"/>
                  </a:cubicBezTo>
                  <a:cubicBezTo>
                    <a:pt x="241094" y="68884"/>
                    <a:pt x="240518" y="65083"/>
                    <a:pt x="239712" y="61051"/>
                  </a:cubicBezTo>
                  <a:cubicBezTo>
                    <a:pt x="238790" y="57019"/>
                    <a:pt x="237638" y="52757"/>
                    <a:pt x="236486" y="48610"/>
                  </a:cubicBezTo>
                  <a:cubicBezTo>
                    <a:pt x="235334" y="44579"/>
                    <a:pt x="234067" y="40547"/>
                    <a:pt x="233261" y="37207"/>
                  </a:cubicBezTo>
                  <a:cubicBezTo>
                    <a:pt x="232339" y="33866"/>
                    <a:pt x="231763" y="31101"/>
                    <a:pt x="231879" y="29143"/>
                  </a:cubicBezTo>
                  <a:cubicBezTo>
                    <a:pt x="234298" y="30295"/>
                    <a:pt x="237523" y="32484"/>
                    <a:pt x="241324" y="35248"/>
                  </a:cubicBezTo>
                  <a:cubicBezTo>
                    <a:pt x="245126" y="37898"/>
                    <a:pt x="249503" y="41123"/>
                    <a:pt x="253995" y="44464"/>
                  </a:cubicBezTo>
                  <a:cubicBezTo>
                    <a:pt x="258488" y="47804"/>
                    <a:pt x="263326" y="51145"/>
                    <a:pt x="267933" y="54140"/>
                  </a:cubicBezTo>
                  <a:cubicBezTo>
                    <a:pt x="272541" y="57135"/>
                    <a:pt x="277149" y="59784"/>
                    <a:pt x="281295" y="61627"/>
                  </a:cubicBezTo>
                  <a:cubicBezTo>
                    <a:pt x="282102" y="61973"/>
                    <a:pt x="282908" y="62203"/>
                    <a:pt x="283830" y="62548"/>
                  </a:cubicBezTo>
                  <a:cubicBezTo>
                    <a:pt x="284751" y="62779"/>
                    <a:pt x="285557" y="63009"/>
                    <a:pt x="286479" y="63240"/>
                  </a:cubicBezTo>
                  <a:cubicBezTo>
                    <a:pt x="287400" y="63355"/>
                    <a:pt x="288322" y="63470"/>
                    <a:pt x="289244" y="63585"/>
                  </a:cubicBezTo>
                  <a:cubicBezTo>
                    <a:pt x="290165" y="63585"/>
                    <a:pt x="291202" y="63585"/>
                    <a:pt x="292123" y="63355"/>
                  </a:cubicBezTo>
                  <a:cubicBezTo>
                    <a:pt x="293851" y="62894"/>
                    <a:pt x="295003" y="62203"/>
                    <a:pt x="296040" y="61397"/>
                  </a:cubicBezTo>
                  <a:cubicBezTo>
                    <a:pt x="297076" y="60590"/>
                    <a:pt x="297652" y="59669"/>
                    <a:pt x="298113" y="58632"/>
                  </a:cubicBezTo>
                  <a:cubicBezTo>
                    <a:pt x="298574" y="57595"/>
                    <a:pt x="298920" y="56559"/>
                    <a:pt x="299035" y="55407"/>
                  </a:cubicBezTo>
                  <a:cubicBezTo>
                    <a:pt x="299265" y="54255"/>
                    <a:pt x="299380" y="53103"/>
                    <a:pt x="299496" y="51951"/>
                  </a:cubicBezTo>
                  <a:cubicBezTo>
                    <a:pt x="299496" y="49417"/>
                    <a:pt x="299496" y="46537"/>
                    <a:pt x="299265" y="43542"/>
                  </a:cubicBezTo>
                  <a:cubicBezTo>
                    <a:pt x="299035" y="40547"/>
                    <a:pt x="298689" y="37437"/>
                    <a:pt x="298344" y="34557"/>
                  </a:cubicBezTo>
                  <a:cubicBezTo>
                    <a:pt x="297998" y="31562"/>
                    <a:pt x="297652" y="28682"/>
                    <a:pt x="297422" y="26148"/>
                  </a:cubicBezTo>
                  <a:cubicBezTo>
                    <a:pt x="297192" y="23614"/>
                    <a:pt x="297192" y="21310"/>
                    <a:pt x="297307" y="19467"/>
                  </a:cubicBezTo>
                  <a:lnTo>
                    <a:pt x="297307" y="17624"/>
                  </a:lnTo>
                  <a:cubicBezTo>
                    <a:pt x="298344" y="18315"/>
                    <a:pt x="299496" y="19122"/>
                    <a:pt x="300878" y="20274"/>
                  </a:cubicBezTo>
                </a:path>
              </a:pathLst>
            </a:custGeom>
            <a:solidFill>
              <a:srgbClr val="FFFFFF"/>
            </a:solidFill>
            <a:ln w="114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52701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11F8A-E144-A5E6-8B21-235F07DF5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390" y="365125"/>
            <a:ext cx="939740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2AF644-B23B-8C01-65C1-F0463D842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56390" y="1825625"/>
            <a:ext cx="939740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560A1-F3F6-DA13-B85C-5CCA9B1943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482F7C-70B2-478F-9552-358285C1A509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0ACB5-B387-C7F2-575D-FC229A14CB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3122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C969EB-F972-8711-4A21-13E1E19D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F45C3-C7C0-40ED-8882-EC0630FFE4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 with low confidence">
            <a:extLst>
              <a:ext uri="{FF2B5EF4-FFF2-40B4-BE49-F238E27FC236}">
                <a16:creationId xmlns:a16="http://schemas.microsoft.com/office/drawing/2014/main" id="{160771A7-8ED2-5E24-D87E-F6A78EA8E6A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29" y="163631"/>
            <a:ext cx="1328491" cy="71441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18A2DAC-47B0-393D-8308-CE8F1C660A76}"/>
              </a:ext>
            </a:extLst>
          </p:cNvPr>
          <p:cNvGrpSpPr/>
          <p:nvPr userDrawn="1"/>
        </p:nvGrpSpPr>
        <p:grpSpPr>
          <a:xfrm>
            <a:off x="9765647" y="6477383"/>
            <a:ext cx="2635903" cy="272074"/>
            <a:chOff x="9765647" y="6477383"/>
            <a:chExt cx="2635903" cy="2720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031BBD8-3E53-3765-7ADE-BD74248D425E}"/>
                </a:ext>
              </a:extLst>
            </p:cNvPr>
            <p:cNvSpPr/>
            <p:nvPr/>
          </p:nvSpPr>
          <p:spPr>
            <a:xfrm flipH="1">
              <a:off x="9765647" y="6477588"/>
              <a:ext cx="2635903" cy="27186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9462D03-3FED-04BB-2D0A-32067C2A35D6}"/>
                </a:ext>
              </a:extLst>
            </p:cNvPr>
            <p:cNvSpPr txBox="1"/>
            <p:nvPr/>
          </p:nvSpPr>
          <p:spPr>
            <a:xfrm>
              <a:off x="9889433" y="6477383"/>
              <a:ext cx="2114550" cy="2598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00"/>
                </a:lnSpc>
              </a:pPr>
              <a:r>
                <a:rPr lang="en-US" sz="1000" spc="100">
                  <a:solidFill>
                    <a:schemeClr val="bg1"/>
                  </a:solidFill>
                  <a:latin typeface="PT Sans" panose="020B0503020203020204" pitchFamily="34" charset="0"/>
                  <a:ea typeface="PT Sans" panose="020B0503020203020204" pitchFamily="34" charset="0"/>
                </a:rPr>
                <a:t>MEDICINESPATENTPOOL.OR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7105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09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283583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583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283583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283583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8358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FD5044-21DE-0A41-91EF-CC6755AB1B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006" y="1825303"/>
            <a:ext cx="10515989" cy="4351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5183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</p:sldLayoutIdLst>
  <p:txStyles>
    <p:titleStyle>
      <a:lvl1pPr algn="r" defTabSz="914310" rtl="0" eaLnBrk="1" latinLnBrk="0" hangingPunct="1">
        <a:lnSpc>
          <a:spcPct val="90000"/>
        </a:lnSpc>
        <a:spcBef>
          <a:spcPct val="0"/>
        </a:spcBef>
        <a:buNone/>
        <a:defRPr sz="140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250" kern="1200">
          <a:solidFill>
            <a:srgbClr val="283A8A"/>
          </a:solidFill>
          <a:latin typeface="+mn-lt"/>
          <a:ea typeface="+mn-ea"/>
          <a:cs typeface="+mn-cs"/>
        </a:defRPr>
      </a:lvl1pPr>
      <a:lvl2pPr marL="788090" indent="-330418" algn="l" defTabSz="914310" rtl="0" eaLnBrk="1" latinLnBrk="0" hangingPunct="1">
        <a:lnSpc>
          <a:spcPct val="90000"/>
        </a:lnSpc>
        <a:spcBef>
          <a:spcPts val="500"/>
        </a:spcBef>
        <a:buFont typeface="System Font Regular"/>
        <a:buChar char="●"/>
        <a:tabLst/>
        <a:defRPr sz="1969" kern="1200">
          <a:solidFill>
            <a:srgbClr val="283A8A"/>
          </a:solidFill>
          <a:latin typeface="+mn-lt"/>
          <a:ea typeface="+mn-ea"/>
          <a:cs typeface="+mn-cs"/>
        </a:defRPr>
      </a:lvl2pPr>
      <a:lvl3pPr marL="1100647" indent="-338231" algn="l" defTabSz="914310" rtl="0" eaLnBrk="1" latinLnBrk="0" hangingPunct="1">
        <a:lnSpc>
          <a:spcPct val="90000"/>
        </a:lnSpc>
        <a:spcBef>
          <a:spcPts val="500"/>
        </a:spcBef>
        <a:buFont typeface="System Font Regular"/>
        <a:buChar char="▸"/>
        <a:tabLst/>
        <a:defRPr sz="1828" kern="1200">
          <a:solidFill>
            <a:srgbClr val="283A8A"/>
          </a:solidFill>
          <a:latin typeface="+mn-lt"/>
          <a:ea typeface="+mn-ea"/>
          <a:cs typeface="+mn-cs"/>
        </a:defRPr>
      </a:lvl3pPr>
      <a:lvl4pPr marL="1438879" indent="-338231" algn="l" defTabSz="91431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tabLst/>
        <a:defRPr sz="1688" kern="1200">
          <a:solidFill>
            <a:srgbClr val="283A8A"/>
          </a:solidFill>
          <a:latin typeface="+mn-lt"/>
          <a:ea typeface="+mn-ea"/>
          <a:cs typeface="+mn-cs"/>
        </a:defRPr>
      </a:lvl4pPr>
      <a:lvl5pPr marL="1786039" indent="-312556" algn="l" defTabSz="914310" rtl="0" eaLnBrk="1" latinLnBrk="0" hangingPunct="1">
        <a:lnSpc>
          <a:spcPct val="90000"/>
        </a:lnSpc>
        <a:spcBef>
          <a:spcPts val="500"/>
        </a:spcBef>
        <a:buFont typeface=".Lucida Grande UI Regular"/>
        <a:buChar char="▪"/>
        <a:tabLst/>
        <a:defRPr sz="1617" kern="1200">
          <a:solidFill>
            <a:srgbClr val="283A8A"/>
          </a:solidFill>
          <a:latin typeface="+mn-lt"/>
          <a:ea typeface="+mn-ea"/>
          <a:cs typeface="+mn-cs"/>
        </a:defRPr>
      </a:lvl5pPr>
      <a:lvl6pPr marL="2132084" indent="-311440" algn="l" defTabSz="914310" rtl="0" eaLnBrk="1" latinLnBrk="0" hangingPunct="1">
        <a:lnSpc>
          <a:spcPct val="90000"/>
        </a:lnSpc>
        <a:spcBef>
          <a:spcPts val="500"/>
        </a:spcBef>
        <a:buFont typeface=".Lucida Grande UI Regular"/>
        <a:buChar char="▹"/>
        <a:tabLst/>
        <a:defRPr sz="1547" kern="1200">
          <a:solidFill>
            <a:srgbClr val="283A8A"/>
          </a:solidFill>
          <a:latin typeface="+mn-lt"/>
          <a:ea typeface="+mn-ea"/>
          <a:cs typeface="+mn-cs"/>
        </a:defRPr>
      </a:lvl6pPr>
      <a:lvl7pPr marL="2444642" indent="-286883" algn="l" defTabSz="914310" rtl="0" eaLnBrk="1" latinLnBrk="0" hangingPunct="1">
        <a:lnSpc>
          <a:spcPct val="90000"/>
        </a:lnSpc>
        <a:spcBef>
          <a:spcPts val="500"/>
        </a:spcBef>
        <a:buFont typeface="System Font Regular"/>
        <a:buChar char="◦"/>
        <a:tabLst/>
        <a:defRPr sz="1406" kern="1200">
          <a:solidFill>
            <a:srgbClr val="283A8A"/>
          </a:solidFill>
          <a:latin typeface="+mn-lt"/>
          <a:ea typeface="+mn-ea"/>
          <a:cs typeface="+mn-cs"/>
        </a:defRPr>
      </a:lvl7pPr>
      <a:lvl8pPr marL="2661199" indent="-312556" algn="l" defTabSz="91431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tabLst/>
        <a:defRPr sz="1406" kern="1200">
          <a:solidFill>
            <a:srgbClr val="283A8A"/>
          </a:solidFill>
          <a:latin typeface="+mn-lt"/>
          <a:ea typeface="+mn-ea"/>
          <a:cs typeface="+mn-cs"/>
        </a:defRPr>
      </a:lvl8pPr>
      <a:lvl9pPr marL="3885814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83A8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0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3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8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2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6" algn="l" defTabSz="9143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53.xml"/><Relationship Id="rId7" Type="http://schemas.openxmlformats.org/officeDocument/2006/relationships/image" Target="../media/image5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5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60.png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5.jp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jpeg"/><Relationship Id="rId10" Type="http://schemas.openxmlformats.org/officeDocument/2006/relationships/image" Target="../media/image69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Relationship Id="rId14" Type="http://schemas.openxmlformats.org/officeDocument/2006/relationships/image" Target="../media/image7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slide" Target="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medicinespatentpool.org/who-we-are/career-request-for-proposals/call-for-applications-community-representatives-april24" TargetMode="External"/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tiff"/><Relationship Id="rId1" Type="http://schemas.openxmlformats.org/officeDocument/2006/relationships/slideLayout" Target="../slideLayouts/slideLayout96.xml"/><Relationship Id="rId5" Type="http://schemas.openxmlformats.org/officeDocument/2006/relationships/image" Target="../media/image46.png"/><Relationship Id="rId4" Type="http://schemas.openxmlformats.org/officeDocument/2006/relationships/image" Target="../media/image45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034A3-02DF-58E8-819D-429200508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N</a:t>
            </a:r>
            <a:r>
              <a:rPr lang="en-GB" sz="4000" noProof="0" dirty="0" err="1"/>
              <a:t>egotiating</a:t>
            </a:r>
            <a:r>
              <a:rPr lang="en-GB" sz="4000" noProof="0" dirty="0"/>
              <a:t> public-health intellectual property licensing agreements to increase access to health technologies </a:t>
            </a:r>
            <a:endParaRPr lang="en-GB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02E107-D69D-7F17-DCA4-9810DCD485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6388" y="1373993"/>
            <a:ext cx="7632700" cy="865599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Understanding and managing intellectual property for HIV vaccines research and develo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CE3675-1649-802E-6FA3-7499193C73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Esteban </a:t>
            </a:r>
            <a:r>
              <a:rPr lang="en-GB" dirty="0" err="1"/>
              <a:t>Burrone</a:t>
            </a:r>
            <a:r>
              <a:rPr lang="en-GB" dirty="0"/>
              <a:t>, Medicines Patent Pool</a:t>
            </a:r>
          </a:p>
        </p:txBody>
      </p:sp>
    </p:spTree>
    <p:extLst>
      <p:ext uri="{BB962C8B-B14F-4D97-AF65-F5344CB8AC3E}">
        <p14:creationId xmlns:p14="http://schemas.microsoft.com/office/powerpoint/2010/main" val="1311783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56761" y="1019436"/>
            <a:ext cx="3494960" cy="70788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371453" y="1019436"/>
            <a:ext cx="4167959" cy="70788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835496" y="2020065"/>
            <a:ext cx="313345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formulations for children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eed for HIV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ediatric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mulations that are better adapted for young children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351722" y="2525680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500040" y="2212532"/>
            <a:ext cx="39107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able licensees to develop/supply new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ediatric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mulations that address needed gap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DA9126-37E4-D546-8905-63FCF0A1B38E}"/>
              </a:ext>
            </a:extLst>
          </p:cNvPr>
          <p:cNvSpPr txBox="1"/>
          <p:nvPr/>
        </p:nvSpPr>
        <p:spPr>
          <a:xfrm>
            <a:off x="1835496" y="4701636"/>
            <a:ext cx="692467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th </a:t>
            </a:r>
            <a:r>
              <a:rPr lang="en-US" sz="2200" dirty="0" err="1">
                <a:solidFill>
                  <a:srgbClr val="283A8A"/>
                </a:solidFill>
                <a:latin typeface="Arial" panose="020B0604020202020204"/>
              </a:rPr>
              <a:t>ViiV</a:t>
            </a:r>
            <a:r>
              <a:rPr lang="en-US" sz="2200" dirty="0">
                <a:solidFill>
                  <a:srgbClr val="283A8A"/>
                </a:solidFill>
                <a:latin typeface="Arial" panose="020B0604020202020204"/>
              </a:rPr>
              <a:t> and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bbVie contributed to the availability of new HIV formulations targeting the youngest childre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Picture 12" descr="childrenicons3.jpg">
            <a:extLst>
              <a:ext uri="{FF2B5EF4-FFF2-40B4-BE49-F238E27FC236}">
                <a16:creationId xmlns:a16="http://schemas.microsoft.com/office/drawing/2014/main" id="{3EDF8D74-AEBD-DC4C-BA59-548A7F4612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80201" y="4697090"/>
            <a:ext cx="1676305" cy="1219200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251986CC-B713-CF23-1950-03AE221B08C0}"/>
              </a:ext>
            </a:extLst>
          </p:cNvPr>
          <p:cNvSpPr txBox="1">
            <a:spLocks/>
          </p:cNvSpPr>
          <p:nvPr/>
        </p:nvSpPr>
        <p:spPr>
          <a:xfrm>
            <a:off x="2430629" y="135302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r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69" kern="1200">
                <a:solidFill>
                  <a:srgbClr val="283A8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PT Sans"/>
                <a:ea typeface="+mj-ea"/>
                <a:cs typeface="+mj-cs"/>
              </a:rPr>
              <a:t>Public health needs guiding licensing</a:t>
            </a:r>
          </a:p>
        </p:txBody>
      </p:sp>
    </p:spTree>
    <p:extLst>
      <p:ext uri="{BB962C8B-B14F-4D97-AF65-F5344CB8AC3E}">
        <p14:creationId xmlns:p14="http://schemas.microsoft.com/office/powerpoint/2010/main" val="1461544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/>
      <p:bldP spid="10" grpId="0" animBg="1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56761" y="1252263"/>
            <a:ext cx="3494960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252743" y="1259352"/>
            <a:ext cx="4167959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835496" y="2228746"/>
            <a:ext cx="313345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assuranc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eed to ensure that medicines used for treatment scale-up in LMICs are of assured quality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351722" y="2810654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500041" y="2228746"/>
            <a:ext cx="391078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 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equire approval of the generic product by the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O Prequalification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me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 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ingent regulatory authority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 defined by WH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3A8B8C-1BE4-1B4E-9751-D1F59F981AF7}"/>
              </a:ext>
            </a:extLst>
          </p:cNvPr>
          <p:cNvSpPr txBox="1"/>
          <p:nvPr/>
        </p:nvSpPr>
        <p:spPr>
          <a:xfrm>
            <a:off x="1965077" y="4813866"/>
            <a:ext cx="857533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4 MPP licensees have obtained WHO Prequalification approval for generic nirmatrelvir/ritonavir (Paxlovid ®),</a:t>
            </a:r>
            <a:r>
              <a:rPr kumimoji="0" lang="en-US" sz="2200" b="0" i="0" u="none" strike="noStrike" kern="1200" cap="none" spc="0" normalizeH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antiviral licensed from Pfizer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19937D2-CFA5-3924-A618-22A68F49A970}"/>
              </a:ext>
            </a:extLst>
          </p:cNvPr>
          <p:cNvSpPr txBox="1">
            <a:spLocks/>
          </p:cNvSpPr>
          <p:nvPr/>
        </p:nvSpPr>
        <p:spPr>
          <a:xfrm>
            <a:off x="2430629" y="135302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r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69" kern="1200">
                <a:solidFill>
                  <a:srgbClr val="283A8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PT Sans"/>
                <a:ea typeface="+mj-ea"/>
                <a:cs typeface="+mj-cs"/>
              </a:rPr>
              <a:t>Public health guiding the negotiation process</a:t>
            </a:r>
          </a:p>
        </p:txBody>
      </p:sp>
    </p:spTree>
    <p:extLst>
      <p:ext uri="{BB962C8B-B14F-4D97-AF65-F5344CB8AC3E}">
        <p14:creationId xmlns:p14="http://schemas.microsoft.com/office/powerpoint/2010/main" val="3306818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E5F9F1-A6C5-F94B-8AB3-89657A8383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73350" y="174625"/>
            <a:ext cx="9518650" cy="636588"/>
          </a:xfrm>
        </p:spPr>
        <p:txBody>
          <a:bodyPr/>
          <a:lstStyle/>
          <a:p>
            <a:r>
              <a:rPr lang="en-US" sz="2800" b="1" dirty="0">
                <a:solidFill>
                  <a:srgbClr val="283583"/>
                </a:solidFill>
                <a:latin typeface="+mn-lt"/>
              </a:rPr>
              <a:t>Public health needs guiding the negotiation proc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35495" y="1037839"/>
            <a:ext cx="3639030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371453" y="1028342"/>
            <a:ext cx="4167959" cy="83099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835496" y="2085787"/>
            <a:ext cx="313345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lerate timelines for acces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eed to speed up access to new ground-breaking treatments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236787" y="2704546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270170" y="1908493"/>
            <a:ext cx="565265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re negotiated early in the life cycle of the products (many years before patent expiry, sometimes before approval of innovator product), some include tech and know-how transfer and proactive license management to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orten time to mark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DA9126-37E4-D546-8905-63FCF0A1B38E}"/>
              </a:ext>
            </a:extLst>
          </p:cNvPr>
          <p:cNvSpPr txBox="1"/>
          <p:nvPr/>
        </p:nvSpPr>
        <p:spPr>
          <a:xfrm>
            <a:off x="1128155" y="4153454"/>
            <a:ext cx="1018902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 Timeline from approval of originator HIV medicines to availability of generic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il 2010 						~ 7-10 yea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t 2010 						~ 3-5 years</a:t>
            </a:r>
          </a:p>
          <a:p>
            <a:pPr lvl="0" defTabSz="914400"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COVID-19 antivirals				</a:t>
            </a:r>
            <a:r>
              <a:rPr lang="en-US" sz="2400" b="1" dirty="0">
                <a:solidFill>
                  <a:srgbClr val="283A8A"/>
                </a:solidFill>
                <a:latin typeface="Arial" panose="020B0604020202020204"/>
              </a:rPr>
              <a:t>~ 1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years</a:t>
            </a:r>
          </a:p>
        </p:txBody>
      </p:sp>
      <p:sp>
        <p:nvSpPr>
          <p:cNvPr id="7" name="Notched Right Arrow 6">
            <a:extLst>
              <a:ext uri="{FF2B5EF4-FFF2-40B4-BE49-F238E27FC236}">
                <a16:creationId xmlns:a16="http://schemas.microsoft.com/office/drawing/2014/main" id="{AD90C5E6-5F61-754B-AEFA-17C7B291BE54}"/>
              </a:ext>
            </a:extLst>
          </p:cNvPr>
          <p:cNvSpPr/>
          <p:nvPr/>
        </p:nvSpPr>
        <p:spPr>
          <a:xfrm>
            <a:off x="5734493" y="5339367"/>
            <a:ext cx="808075" cy="170121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Notched Right Arrow 12">
            <a:extLst>
              <a:ext uri="{FF2B5EF4-FFF2-40B4-BE49-F238E27FC236}">
                <a16:creationId xmlns:a16="http://schemas.microsoft.com/office/drawing/2014/main" id="{A839F377-9E71-8846-8AFC-F11797B01C9F}"/>
              </a:ext>
            </a:extLst>
          </p:cNvPr>
          <p:cNvSpPr/>
          <p:nvPr/>
        </p:nvSpPr>
        <p:spPr>
          <a:xfrm>
            <a:off x="5734493" y="5750239"/>
            <a:ext cx="808075" cy="170121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Notched Right Arrow 1">
            <a:extLst>
              <a:ext uri="{FF2B5EF4-FFF2-40B4-BE49-F238E27FC236}">
                <a16:creationId xmlns:a16="http://schemas.microsoft.com/office/drawing/2014/main" id="{9E9CF319-5552-1C27-6C5A-2C522E5D894C}"/>
              </a:ext>
            </a:extLst>
          </p:cNvPr>
          <p:cNvSpPr/>
          <p:nvPr/>
        </p:nvSpPr>
        <p:spPr>
          <a:xfrm>
            <a:off x="5734493" y="6162967"/>
            <a:ext cx="808075" cy="170121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4495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/>
      <p:bldP spid="10" grpId="0" animBg="1"/>
      <p:bldP spid="11" grpId="0"/>
      <p:bldP spid="12" grpId="0"/>
      <p:bldP spid="7" grpId="0" animBg="1"/>
      <p:bldP spid="13" grpId="0" animBg="1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DADBCD-0E2F-894E-ADA3-32F7BBD51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18228" y="6356350"/>
            <a:ext cx="1924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F45C3-C7C0-40ED-8882-EC0630FFE42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92649B-0541-FD41-B9E5-F9AA74236FD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45659" y="1192212"/>
            <a:ext cx="10353675" cy="53467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800" i="1" dirty="0"/>
              <a:t>“The MPP continues to be the central independent driver of access-oriented licensing in the pharmaceutical industry. </a:t>
            </a:r>
            <a:r>
              <a:rPr lang="en-US" sz="2800" i="1" dirty="0" err="1"/>
              <a:t>Licences</a:t>
            </a:r>
            <a:r>
              <a:rPr lang="en-US" sz="2800" i="1" dirty="0"/>
              <a:t> agreed via the MPP include the majority of the access-oriented terms and conditions looked for by the Index”</a:t>
            </a:r>
            <a:endParaRPr lang="en-US" sz="2800" dirty="0"/>
          </a:p>
          <a:p>
            <a:pPr marL="0" indent="0" algn="ctr">
              <a:buNone/>
            </a:pPr>
            <a:endParaRPr lang="en-US" sz="2400" i="1" dirty="0"/>
          </a:p>
          <a:p>
            <a:pPr marL="0" indent="0" algn="ctr">
              <a:buNone/>
            </a:pPr>
            <a:r>
              <a:rPr lang="en-US" sz="2800" b="1" dirty="0"/>
              <a:t>Access to Medicines Index, November 201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C73A69-47BB-D743-BECC-40F89EF56DE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8799" y="4120257"/>
            <a:ext cx="1891723" cy="85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516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7">
            <a:extLst>
              <a:ext uri="{FF2B5EF4-FFF2-40B4-BE49-F238E27FC236}">
                <a16:creationId xmlns:a16="http://schemas.microsoft.com/office/drawing/2014/main" id="{7EE71A64-0AC7-1772-893B-8E97D25DD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400" dirty="0"/>
              <a:t>Intellectual property management in the context of the mRNA Technology Transfer Programm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383E21B-10C6-72A8-B584-08DE2E3DA2E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  <a:prstGeom prst="rect">
            <a:avLst/>
          </a:prstGeom>
        </p:spPr>
        <p:txBody>
          <a:bodyPr/>
          <a:lstStyle/>
          <a:p>
            <a:fld id="{1D1C8182-8BBE-B542-ADE5-8820B104469B}" type="slidenum">
              <a:rPr lang="en-RO" smtClean="0"/>
              <a:pPr/>
              <a:t>14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41274379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5AA36B2-473C-4B65-8354-BA84624280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5AA36B2-473C-4B65-8354-BA8462428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D202AAA-CA1E-488A-AF77-D554020024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83278" y="359022"/>
            <a:ext cx="9688287" cy="630238"/>
          </a:xfrm>
        </p:spPr>
        <p:txBody>
          <a:bodyPr vert="horz">
            <a:normAutofit fontScale="90000"/>
          </a:bodyPr>
          <a:lstStyle/>
          <a:p>
            <a:pPr algn="just"/>
            <a:r>
              <a:rPr lang="en-US" sz="2800" kern="0" dirty="0">
                <a:solidFill>
                  <a:schemeClr val="accent1"/>
                </a:solidFill>
                <a:sym typeface="Trebuchet MS" panose="020B0603020202020204" pitchFamily="34" charset="0"/>
              </a:rPr>
              <a:t>The mRNA Technology Transfer Programme was established to improve health security in LMICs through sustainable, regional production of mRNA vaccines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0D8148-1BEF-EBDE-6D98-569485F2E7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</p:spPr>
        <p:txBody>
          <a:bodyPr/>
          <a:lstStyle/>
          <a:p>
            <a:fld id="{1D1C8182-8BBE-B542-ADE5-8820B104469B}" type="slidenum">
              <a:rPr lang="en-RO" smtClean="0"/>
              <a:pPr/>
              <a:t>15</a:t>
            </a:fld>
            <a:endParaRPr lang="en-R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38133E2-1F01-512F-73F8-F797D356D18A}"/>
              </a:ext>
            </a:extLst>
          </p:cNvPr>
          <p:cNvGrpSpPr/>
          <p:nvPr/>
        </p:nvGrpSpPr>
        <p:grpSpPr>
          <a:xfrm>
            <a:off x="306375" y="1592006"/>
            <a:ext cx="7966768" cy="2130096"/>
            <a:chOff x="1188118" y="3340445"/>
            <a:chExt cx="9815764" cy="3006125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7522675-90AD-4024-9175-10773BF0AF6E}"/>
                </a:ext>
              </a:extLst>
            </p:cNvPr>
            <p:cNvGrpSpPr/>
            <p:nvPr/>
          </p:nvGrpSpPr>
          <p:grpSpPr>
            <a:xfrm>
              <a:off x="1188118" y="3340445"/>
              <a:ext cx="9815764" cy="3006125"/>
              <a:chOff x="4715591" y="2299076"/>
              <a:chExt cx="6673035" cy="3006125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E71EE4B-CBCC-4347-A35D-0B82382DD463}"/>
                  </a:ext>
                </a:extLst>
              </p:cNvPr>
              <p:cNvSpPr txBox="1"/>
              <p:nvPr/>
            </p:nvSpPr>
            <p:spPr>
              <a:xfrm>
                <a:off x="5793947" y="2299076"/>
                <a:ext cx="5594679" cy="156367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Raleway" pitchFamily="2" charset="0"/>
                  </a:rPr>
                  <a:t>Objective 1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aleway" pitchFamily="2" charset="0"/>
                  </a:rPr>
                  <a:t>Establish or enhance </a:t>
                </a: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aleway" pitchFamily="2" charset="0"/>
                  </a:rPr>
                  <a:t>sustainable mRNA vaccine manufacturing capacity </a:t>
                </a:r>
                <a:r>
                  <a: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Raleway" pitchFamily="2" charset="0"/>
                  </a:rPr>
                  <a:t>in regions with no or limited capaci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endParaRPr lang="en-US" sz="160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7379960-7CE4-4BED-A274-D5D6A96CBF0B}"/>
                  </a:ext>
                </a:extLst>
              </p:cNvPr>
              <p:cNvGrpSpPr/>
              <p:nvPr/>
            </p:nvGrpSpPr>
            <p:grpSpPr>
              <a:xfrm>
                <a:off x="4715591" y="4089012"/>
                <a:ext cx="6673035" cy="1216189"/>
                <a:chOff x="4644644" y="3340145"/>
                <a:chExt cx="6673035" cy="1216189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9A1BEE66-D968-4B72-A17F-42951BF9ECF5}"/>
                    </a:ext>
                  </a:extLst>
                </p:cNvPr>
                <p:cNvSpPr txBox="1"/>
                <p:nvPr/>
              </p:nvSpPr>
              <p:spPr>
                <a:xfrm>
                  <a:off x="5723000" y="3340145"/>
                  <a:ext cx="5594679" cy="121618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 anchorCtr="0">
                  <a:spAutoFit/>
                </a:bodyPr>
                <a:lstStyle/>
                <a:p>
                  <a:pPr>
                    <a:buSzPct val="100000"/>
                    <a:buFont typeface="Trebuchet MS" panose="020B0603020202020204" pitchFamily="34" charset="0"/>
                    <a:buChar char="​"/>
                    <a:defRPr/>
                  </a:pPr>
                  <a:r>
                    <a:rPr lang="en-US" sz="2000" b="1" dirty="0">
                      <a:solidFill>
                        <a:schemeClr val="accent1"/>
                      </a:solidFill>
                      <a:latin typeface="Raleway" pitchFamily="2" charset="0"/>
                    </a:rPr>
                    <a:t>Objective 2</a:t>
                  </a:r>
                </a:p>
                <a:p>
                  <a:pPr>
                    <a:buSzPct val="100000"/>
                    <a:buFont typeface="Trebuchet MS" panose="020B0603020202020204" pitchFamily="34" charset="0"/>
                    <a:buChar char="​"/>
                    <a:defRPr/>
                  </a:pPr>
                  <a:r>
                    <a:rPr kumimoji="0" lang="en-US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Raleway" pitchFamily="2" charset="0"/>
                    </a:rPr>
                    <a:t>Build human capital </a:t>
                  </a:r>
                  <a:r>
                    <a: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Raleway" pitchFamily="2" charset="0"/>
                    </a:rPr>
                    <a:t>for regulation and biomanufacturing in LMICs</a:t>
                  </a:r>
                </a:p>
              </p:txBody>
            </p:sp>
            <p:grpSp>
              <p:nvGrpSpPr>
                <p:cNvPr id="38" name="Group 37"/>
                <p:cNvGrpSpPr/>
                <p:nvPr/>
              </p:nvGrpSpPr>
              <p:grpSpPr>
                <a:xfrm>
                  <a:off x="4644644" y="3433328"/>
                  <a:ext cx="1011710" cy="970117"/>
                  <a:chOff x="4830748" y="3122782"/>
                  <a:chExt cx="1011710" cy="970117"/>
                </a:xfrm>
              </p:grpSpPr>
              <p:sp>
                <p:nvSpPr>
                  <p:cNvPr id="58" name="AutoShape 3">
                    <a:extLst>
                      <a:ext uri="{FF2B5EF4-FFF2-40B4-BE49-F238E27FC236}">
                        <a16:creationId xmlns:a16="http://schemas.microsoft.com/office/drawing/2014/main" id="{3721753F-DA34-4966-B29E-B35B2AAD6CED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5258433" y="3508333"/>
                    <a:ext cx="584025" cy="58456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8" name="AutoShape 3">
                    <a:extLst>
                      <a:ext uri="{FF2B5EF4-FFF2-40B4-BE49-F238E27FC236}">
                        <a16:creationId xmlns:a16="http://schemas.microsoft.com/office/drawing/2014/main" id="{7C3C33E6-175A-4630-99AD-661F92B2BA7F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4830748" y="3122782"/>
                    <a:ext cx="971053" cy="97011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58522" tIns="29261" rIns="58522" bIns="2926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6E5453E3-CDB7-9D9C-F597-517F9A471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38511" y="4980472"/>
              <a:ext cx="1310754" cy="1213209"/>
            </a:xfrm>
            <a:prstGeom prst="rect">
              <a:avLst/>
            </a:prstGeom>
          </p:spPr>
        </p:pic>
        <p:pic>
          <p:nvPicPr>
            <p:cNvPr id="8" name="Graphique 7" descr="Croissance de l'activité avec un remplissage uni">
              <a:extLst>
                <a:ext uri="{FF2B5EF4-FFF2-40B4-BE49-F238E27FC236}">
                  <a16:creationId xmlns:a16="http://schemas.microsoft.com/office/drawing/2014/main" id="{D7EBE697-D508-F9A4-EA37-CECF4383A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908019" y="5303581"/>
              <a:ext cx="684416" cy="684416"/>
            </a:xfrm>
            <a:prstGeom prst="rect">
              <a:avLst/>
            </a:prstGeom>
          </p:spPr>
        </p:pic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3B80A25F-B2D4-C542-B980-A359524CC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79104" y="3413459"/>
              <a:ext cx="1286367" cy="1194920"/>
            </a:xfrm>
            <a:prstGeom prst="rect">
              <a:avLst/>
            </a:prstGeom>
          </p:spPr>
        </p:pic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1697D11E-54CA-2C61-844E-792774D9B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2247" y="3739878"/>
              <a:ext cx="464497" cy="464049"/>
            </a:xfrm>
            <a:custGeom>
              <a:avLst/>
              <a:gdLst>
                <a:gd name="connsiteX0" fmla="*/ 409739 w 1123838"/>
                <a:gd name="connsiteY0" fmla="*/ 615791 h 1125538"/>
                <a:gd name="connsiteX1" fmla="*/ 326138 w 1123838"/>
                <a:gd name="connsiteY1" fmla="*/ 635801 h 1125538"/>
                <a:gd name="connsiteX2" fmla="*/ 31750 w 1123838"/>
                <a:gd name="connsiteY2" fmla="*/ 803020 h 1125538"/>
                <a:gd name="connsiteX3" fmla="*/ 31750 w 1123838"/>
                <a:gd name="connsiteY3" fmla="*/ 1087437 h 1125538"/>
                <a:gd name="connsiteX4" fmla="*/ 368296 w 1123838"/>
                <a:gd name="connsiteY4" fmla="*/ 957377 h 1125538"/>
                <a:gd name="connsiteX5" fmla="*/ 419028 w 1123838"/>
                <a:gd name="connsiteY5" fmla="*/ 949516 h 1125538"/>
                <a:gd name="connsiteX6" fmla="*/ 568366 w 1123838"/>
                <a:gd name="connsiteY6" fmla="*/ 960236 h 1125538"/>
                <a:gd name="connsiteX7" fmla="*/ 797017 w 1123838"/>
                <a:gd name="connsiteY7" fmla="*/ 933795 h 1125538"/>
                <a:gd name="connsiteX8" fmla="*/ 1047818 w 1123838"/>
                <a:gd name="connsiteY8" fmla="*/ 767290 h 1125538"/>
                <a:gd name="connsiteX9" fmla="*/ 1079972 w 1123838"/>
                <a:gd name="connsiteY9" fmla="*/ 730130 h 1125538"/>
                <a:gd name="connsiteX10" fmla="*/ 1074971 w 1123838"/>
                <a:gd name="connsiteY10" fmla="*/ 655810 h 1125538"/>
                <a:gd name="connsiteX11" fmla="*/ 1036386 w 1123838"/>
                <a:gd name="connsiteY11" fmla="*/ 642232 h 1125538"/>
                <a:gd name="connsiteX12" fmla="*/ 999230 w 1123838"/>
                <a:gd name="connsiteY12" fmla="*/ 660097 h 1125538"/>
                <a:gd name="connsiteX13" fmla="*/ 951356 w 1123838"/>
                <a:gd name="connsiteY13" fmla="*/ 713694 h 1125538"/>
                <a:gd name="connsiteX14" fmla="*/ 805591 w 1123838"/>
                <a:gd name="connsiteY14" fmla="*/ 805164 h 1125538"/>
                <a:gd name="connsiteX15" fmla="*/ 608380 w 1123838"/>
                <a:gd name="connsiteY15" fmla="*/ 794445 h 1125538"/>
                <a:gd name="connsiteX16" fmla="*/ 553360 w 1123838"/>
                <a:gd name="connsiteY16" fmla="*/ 772292 h 1125538"/>
                <a:gd name="connsiteX17" fmla="*/ 544071 w 1123838"/>
                <a:gd name="connsiteY17" fmla="*/ 755856 h 1125538"/>
                <a:gd name="connsiteX18" fmla="*/ 557648 w 1123838"/>
                <a:gd name="connsiteY18" fmla="*/ 742278 h 1125538"/>
                <a:gd name="connsiteX19" fmla="*/ 715560 w 1123838"/>
                <a:gd name="connsiteY19" fmla="*/ 726557 h 1125538"/>
                <a:gd name="connsiteX20" fmla="*/ 759146 w 1123838"/>
                <a:gd name="connsiteY20" fmla="*/ 679392 h 1125538"/>
                <a:gd name="connsiteX21" fmla="*/ 713416 w 1123838"/>
                <a:gd name="connsiteY21" fmla="*/ 631513 h 1125538"/>
                <a:gd name="connsiteX22" fmla="*/ 409739 w 1123838"/>
                <a:gd name="connsiteY22" fmla="*/ 615791 h 1125538"/>
                <a:gd name="connsiteX23" fmla="*/ 390213 w 1123838"/>
                <a:gd name="connsiteY23" fmla="*/ 584200 h 1125538"/>
                <a:gd name="connsiteX24" fmla="*/ 393786 w 1123838"/>
                <a:gd name="connsiteY24" fmla="*/ 584200 h 1125538"/>
                <a:gd name="connsiteX25" fmla="*/ 396645 w 1123838"/>
                <a:gd name="connsiteY25" fmla="*/ 584200 h 1125538"/>
                <a:gd name="connsiteX26" fmla="*/ 399504 w 1123838"/>
                <a:gd name="connsiteY26" fmla="*/ 584200 h 1125538"/>
                <a:gd name="connsiteX27" fmla="*/ 403077 w 1123838"/>
                <a:gd name="connsiteY27" fmla="*/ 584200 h 1125538"/>
                <a:gd name="connsiteX28" fmla="*/ 410939 w 1123838"/>
                <a:gd name="connsiteY28" fmla="*/ 584200 h 1125538"/>
                <a:gd name="connsiteX29" fmla="*/ 715390 w 1123838"/>
                <a:gd name="connsiteY29" fmla="*/ 599912 h 1125538"/>
                <a:gd name="connsiteX30" fmla="*/ 780426 w 1123838"/>
                <a:gd name="connsiteY30" fmla="*/ 640619 h 1125538"/>
                <a:gd name="connsiteX31" fmla="*/ 782570 w 1123838"/>
                <a:gd name="connsiteY31" fmla="*/ 644904 h 1125538"/>
                <a:gd name="connsiteX32" fmla="*/ 789002 w 1123838"/>
                <a:gd name="connsiteY32" fmla="*/ 663473 h 1125538"/>
                <a:gd name="connsiteX33" fmla="*/ 790431 w 1123838"/>
                <a:gd name="connsiteY33" fmla="*/ 679184 h 1125538"/>
                <a:gd name="connsiteX34" fmla="*/ 789716 w 1123838"/>
                <a:gd name="connsiteY34" fmla="*/ 684898 h 1125538"/>
                <a:gd name="connsiteX35" fmla="*/ 789716 w 1123838"/>
                <a:gd name="connsiteY35" fmla="*/ 685612 h 1125538"/>
                <a:gd name="connsiteX36" fmla="*/ 789002 w 1123838"/>
                <a:gd name="connsiteY36" fmla="*/ 691325 h 1125538"/>
                <a:gd name="connsiteX37" fmla="*/ 763988 w 1123838"/>
                <a:gd name="connsiteY37" fmla="*/ 738460 h 1125538"/>
                <a:gd name="connsiteX38" fmla="*/ 763273 w 1123838"/>
                <a:gd name="connsiteY38" fmla="*/ 738460 h 1125538"/>
                <a:gd name="connsiteX39" fmla="*/ 758985 w 1123838"/>
                <a:gd name="connsiteY39" fmla="*/ 742031 h 1125538"/>
                <a:gd name="connsiteX40" fmla="*/ 754697 w 1123838"/>
                <a:gd name="connsiteY40" fmla="*/ 744888 h 1125538"/>
                <a:gd name="connsiteX41" fmla="*/ 753983 w 1123838"/>
                <a:gd name="connsiteY41" fmla="*/ 745602 h 1125538"/>
                <a:gd name="connsiteX42" fmla="*/ 749695 w 1123838"/>
                <a:gd name="connsiteY42" fmla="*/ 748458 h 1125538"/>
                <a:gd name="connsiteX43" fmla="*/ 748265 w 1123838"/>
                <a:gd name="connsiteY43" fmla="*/ 749173 h 1125538"/>
                <a:gd name="connsiteX44" fmla="*/ 743263 w 1123838"/>
                <a:gd name="connsiteY44" fmla="*/ 751315 h 1125538"/>
                <a:gd name="connsiteX45" fmla="*/ 742548 w 1123838"/>
                <a:gd name="connsiteY45" fmla="*/ 752029 h 1125538"/>
                <a:gd name="connsiteX46" fmla="*/ 738260 w 1123838"/>
                <a:gd name="connsiteY46" fmla="*/ 753458 h 1125538"/>
                <a:gd name="connsiteX47" fmla="*/ 718964 w 1123838"/>
                <a:gd name="connsiteY47" fmla="*/ 757743 h 1125538"/>
                <a:gd name="connsiteX48" fmla="*/ 624626 w 1123838"/>
                <a:gd name="connsiteY48" fmla="*/ 767027 h 1125538"/>
                <a:gd name="connsiteX49" fmla="*/ 743263 w 1123838"/>
                <a:gd name="connsiteY49" fmla="*/ 784167 h 1125538"/>
                <a:gd name="connsiteX50" fmla="*/ 775423 w 1123838"/>
                <a:gd name="connsiteY50" fmla="*/ 779882 h 1125538"/>
                <a:gd name="connsiteX51" fmla="*/ 785428 w 1123838"/>
                <a:gd name="connsiteY51" fmla="*/ 777739 h 1125538"/>
                <a:gd name="connsiteX52" fmla="*/ 786858 w 1123838"/>
                <a:gd name="connsiteY52" fmla="*/ 777025 h 1125538"/>
                <a:gd name="connsiteX53" fmla="*/ 796863 w 1123838"/>
                <a:gd name="connsiteY53" fmla="*/ 774883 h 1125538"/>
                <a:gd name="connsiteX54" fmla="*/ 826880 w 1123838"/>
                <a:gd name="connsiteY54" fmla="*/ 764170 h 1125538"/>
                <a:gd name="connsiteX55" fmla="*/ 909782 w 1123838"/>
                <a:gd name="connsiteY55" fmla="*/ 711322 h 1125538"/>
                <a:gd name="connsiteX56" fmla="*/ 928363 w 1123838"/>
                <a:gd name="connsiteY56" fmla="*/ 692753 h 1125538"/>
                <a:gd name="connsiteX57" fmla="*/ 975532 w 1123838"/>
                <a:gd name="connsiteY57" fmla="*/ 639191 h 1125538"/>
                <a:gd name="connsiteX58" fmla="*/ 978391 w 1123838"/>
                <a:gd name="connsiteY58" fmla="*/ 635620 h 1125538"/>
                <a:gd name="connsiteX59" fmla="*/ 979105 w 1123838"/>
                <a:gd name="connsiteY59" fmla="*/ 635620 h 1125538"/>
                <a:gd name="connsiteX60" fmla="*/ 1034135 w 1123838"/>
                <a:gd name="connsiteY60" fmla="*/ 610624 h 1125538"/>
                <a:gd name="connsiteX61" fmla="*/ 1034850 w 1123838"/>
                <a:gd name="connsiteY61" fmla="*/ 610624 h 1125538"/>
                <a:gd name="connsiteX62" fmla="*/ 1039138 w 1123838"/>
                <a:gd name="connsiteY62" fmla="*/ 610624 h 1125538"/>
                <a:gd name="connsiteX63" fmla="*/ 1040567 w 1123838"/>
                <a:gd name="connsiteY63" fmla="*/ 610624 h 1125538"/>
                <a:gd name="connsiteX64" fmla="*/ 1079875 w 1123838"/>
                <a:gd name="connsiteY64" fmla="*/ 621337 h 1125538"/>
                <a:gd name="connsiteX65" fmla="*/ 1083448 w 1123838"/>
                <a:gd name="connsiteY65" fmla="*/ 623479 h 1125538"/>
                <a:gd name="connsiteX66" fmla="*/ 1086307 w 1123838"/>
                <a:gd name="connsiteY66" fmla="*/ 624908 h 1125538"/>
                <a:gd name="connsiteX67" fmla="*/ 1087021 w 1123838"/>
                <a:gd name="connsiteY67" fmla="*/ 625622 h 1125538"/>
                <a:gd name="connsiteX68" fmla="*/ 1089880 w 1123838"/>
                <a:gd name="connsiteY68" fmla="*/ 627764 h 1125538"/>
                <a:gd name="connsiteX69" fmla="*/ 1090595 w 1123838"/>
                <a:gd name="connsiteY69" fmla="*/ 628478 h 1125538"/>
                <a:gd name="connsiteX70" fmla="*/ 1092739 w 1123838"/>
                <a:gd name="connsiteY70" fmla="*/ 629907 h 1125538"/>
                <a:gd name="connsiteX71" fmla="*/ 1095597 w 1123838"/>
                <a:gd name="connsiteY71" fmla="*/ 632049 h 1125538"/>
                <a:gd name="connsiteX72" fmla="*/ 1095597 w 1123838"/>
                <a:gd name="connsiteY72" fmla="*/ 632763 h 1125538"/>
                <a:gd name="connsiteX73" fmla="*/ 1103459 w 1123838"/>
                <a:gd name="connsiteY73" fmla="*/ 749887 h 1125538"/>
                <a:gd name="connsiteX74" fmla="*/ 1072013 w 1123838"/>
                <a:gd name="connsiteY74" fmla="*/ 787738 h 1125538"/>
                <a:gd name="connsiteX75" fmla="*/ 966241 w 1123838"/>
                <a:gd name="connsiteY75" fmla="*/ 884150 h 1125538"/>
                <a:gd name="connsiteX76" fmla="*/ 956950 w 1123838"/>
                <a:gd name="connsiteY76" fmla="*/ 890577 h 1125538"/>
                <a:gd name="connsiteX77" fmla="*/ 948374 w 1123838"/>
                <a:gd name="connsiteY77" fmla="*/ 896291 h 1125538"/>
                <a:gd name="connsiteX78" fmla="*/ 806154 w 1123838"/>
                <a:gd name="connsiteY78" fmla="*/ 963422 h 1125538"/>
                <a:gd name="connsiteX79" fmla="*/ 792575 w 1123838"/>
                <a:gd name="connsiteY79" fmla="*/ 967707 h 1125538"/>
                <a:gd name="connsiteX80" fmla="*/ 788287 w 1123838"/>
                <a:gd name="connsiteY80" fmla="*/ 968422 h 1125538"/>
                <a:gd name="connsiteX81" fmla="*/ 779711 w 1123838"/>
                <a:gd name="connsiteY81" fmla="*/ 971278 h 1125538"/>
                <a:gd name="connsiteX82" fmla="*/ 773994 w 1123838"/>
                <a:gd name="connsiteY82" fmla="*/ 972707 h 1125538"/>
                <a:gd name="connsiteX83" fmla="*/ 766132 w 1123838"/>
                <a:gd name="connsiteY83" fmla="*/ 974135 h 1125538"/>
                <a:gd name="connsiteX84" fmla="*/ 759700 w 1123838"/>
                <a:gd name="connsiteY84" fmla="*/ 976277 h 1125538"/>
                <a:gd name="connsiteX85" fmla="*/ 753983 w 1123838"/>
                <a:gd name="connsiteY85" fmla="*/ 976992 h 1125538"/>
                <a:gd name="connsiteX86" fmla="*/ 724681 w 1123838"/>
                <a:gd name="connsiteY86" fmla="*/ 983419 h 1125538"/>
                <a:gd name="connsiteX87" fmla="*/ 721822 w 1123838"/>
                <a:gd name="connsiteY87" fmla="*/ 983419 h 1125538"/>
                <a:gd name="connsiteX88" fmla="*/ 711102 w 1123838"/>
                <a:gd name="connsiteY88" fmla="*/ 985562 h 1125538"/>
                <a:gd name="connsiteX89" fmla="*/ 709673 w 1123838"/>
                <a:gd name="connsiteY89" fmla="*/ 985562 h 1125538"/>
                <a:gd name="connsiteX90" fmla="*/ 650355 w 1123838"/>
                <a:gd name="connsiteY90" fmla="*/ 991989 h 1125538"/>
                <a:gd name="connsiteX91" fmla="*/ 648211 w 1123838"/>
                <a:gd name="connsiteY91" fmla="*/ 991989 h 1125538"/>
                <a:gd name="connsiteX92" fmla="*/ 637491 w 1123838"/>
                <a:gd name="connsiteY92" fmla="*/ 992703 h 1125538"/>
                <a:gd name="connsiteX93" fmla="*/ 635347 w 1123838"/>
                <a:gd name="connsiteY93" fmla="*/ 992703 h 1125538"/>
                <a:gd name="connsiteX94" fmla="*/ 621053 w 1123838"/>
                <a:gd name="connsiteY94" fmla="*/ 992703 h 1125538"/>
                <a:gd name="connsiteX95" fmla="*/ 620338 w 1123838"/>
                <a:gd name="connsiteY95" fmla="*/ 992703 h 1125538"/>
                <a:gd name="connsiteX96" fmla="*/ 612477 w 1123838"/>
                <a:gd name="connsiteY96" fmla="*/ 992703 h 1125538"/>
                <a:gd name="connsiteX97" fmla="*/ 606045 w 1123838"/>
                <a:gd name="connsiteY97" fmla="*/ 992703 h 1125538"/>
                <a:gd name="connsiteX98" fmla="*/ 598898 w 1123838"/>
                <a:gd name="connsiteY98" fmla="*/ 992703 h 1125538"/>
                <a:gd name="connsiteX99" fmla="*/ 592466 w 1123838"/>
                <a:gd name="connsiteY99" fmla="*/ 992703 h 1125538"/>
                <a:gd name="connsiteX100" fmla="*/ 584605 w 1123838"/>
                <a:gd name="connsiteY100" fmla="*/ 991989 h 1125538"/>
                <a:gd name="connsiteX101" fmla="*/ 578887 w 1123838"/>
                <a:gd name="connsiteY101" fmla="*/ 991989 h 1125538"/>
                <a:gd name="connsiteX102" fmla="*/ 566738 w 1123838"/>
                <a:gd name="connsiteY102" fmla="*/ 991275 h 1125538"/>
                <a:gd name="connsiteX103" fmla="*/ 566023 w 1123838"/>
                <a:gd name="connsiteY103" fmla="*/ 991275 h 1125538"/>
                <a:gd name="connsiteX104" fmla="*/ 485265 w 1123838"/>
                <a:gd name="connsiteY104" fmla="*/ 985562 h 1125538"/>
                <a:gd name="connsiteX105" fmla="*/ 416656 w 1123838"/>
                <a:gd name="connsiteY105" fmla="*/ 980562 h 1125538"/>
                <a:gd name="connsiteX106" fmla="*/ 410939 w 1123838"/>
                <a:gd name="connsiteY106" fmla="*/ 980562 h 1125538"/>
                <a:gd name="connsiteX107" fmla="*/ 407365 w 1123838"/>
                <a:gd name="connsiteY107" fmla="*/ 980562 h 1125538"/>
                <a:gd name="connsiteX108" fmla="*/ 393072 w 1123838"/>
                <a:gd name="connsiteY108" fmla="*/ 981991 h 1125538"/>
                <a:gd name="connsiteX109" fmla="*/ 388784 w 1123838"/>
                <a:gd name="connsiteY109" fmla="*/ 982705 h 1125538"/>
                <a:gd name="connsiteX110" fmla="*/ 388784 w 1123838"/>
                <a:gd name="connsiteY110" fmla="*/ 983419 h 1125538"/>
                <a:gd name="connsiteX111" fmla="*/ 384496 w 1123838"/>
                <a:gd name="connsiteY111" fmla="*/ 984133 h 1125538"/>
                <a:gd name="connsiteX112" fmla="*/ 383781 w 1123838"/>
                <a:gd name="connsiteY112" fmla="*/ 984847 h 1125538"/>
                <a:gd name="connsiteX113" fmla="*/ 379493 w 1123838"/>
                <a:gd name="connsiteY113" fmla="*/ 986276 h 1125538"/>
                <a:gd name="connsiteX114" fmla="*/ 21441 w 1123838"/>
                <a:gd name="connsiteY114" fmla="*/ 1124824 h 1125538"/>
                <a:gd name="connsiteX115" fmla="*/ 15723 w 1123838"/>
                <a:gd name="connsiteY115" fmla="*/ 1125538 h 1125538"/>
                <a:gd name="connsiteX116" fmla="*/ 7147 w 1123838"/>
                <a:gd name="connsiteY116" fmla="*/ 1122681 h 1125538"/>
                <a:gd name="connsiteX117" fmla="*/ 0 w 1123838"/>
                <a:gd name="connsiteY117" fmla="*/ 1109826 h 1125538"/>
                <a:gd name="connsiteX118" fmla="*/ 0 w 1123838"/>
                <a:gd name="connsiteY118" fmla="*/ 793451 h 1125538"/>
                <a:gd name="connsiteX119" fmla="*/ 7862 w 1123838"/>
                <a:gd name="connsiteY119" fmla="*/ 779882 h 1125538"/>
                <a:gd name="connsiteX120" fmla="*/ 310169 w 1123838"/>
                <a:gd name="connsiteY120" fmla="*/ 608482 h 1125538"/>
                <a:gd name="connsiteX121" fmla="*/ 315887 w 1123838"/>
                <a:gd name="connsiteY121" fmla="*/ 605625 h 1125538"/>
                <a:gd name="connsiteX122" fmla="*/ 318031 w 1123838"/>
                <a:gd name="connsiteY122" fmla="*/ 604197 h 1125538"/>
                <a:gd name="connsiteX123" fmla="*/ 320889 w 1123838"/>
                <a:gd name="connsiteY123" fmla="*/ 602768 h 1125538"/>
                <a:gd name="connsiteX124" fmla="*/ 324463 w 1123838"/>
                <a:gd name="connsiteY124" fmla="*/ 601340 h 1125538"/>
                <a:gd name="connsiteX125" fmla="*/ 326607 w 1123838"/>
                <a:gd name="connsiteY125" fmla="*/ 599912 h 1125538"/>
                <a:gd name="connsiteX126" fmla="*/ 330180 w 1123838"/>
                <a:gd name="connsiteY126" fmla="*/ 598483 h 1125538"/>
                <a:gd name="connsiteX127" fmla="*/ 332324 w 1123838"/>
                <a:gd name="connsiteY127" fmla="*/ 597769 h 1125538"/>
                <a:gd name="connsiteX128" fmla="*/ 336612 w 1123838"/>
                <a:gd name="connsiteY128" fmla="*/ 596341 h 1125538"/>
                <a:gd name="connsiteX129" fmla="*/ 338042 w 1123838"/>
                <a:gd name="connsiteY129" fmla="*/ 595627 h 1125538"/>
                <a:gd name="connsiteX130" fmla="*/ 342330 w 1123838"/>
                <a:gd name="connsiteY130" fmla="*/ 594198 h 1125538"/>
                <a:gd name="connsiteX131" fmla="*/ 343044 w 1123838"/>
                <a:gd name="connsiteY131" fmla="*/ 593484 h 1125538"/>
                <a:gd name="connsiteX132" fmla="*/ 348047 w 1123838"/>
                <a:gd name="connsiteY132" fmla="*/ 592056 h 1125538"/>
                <a:gd name="connsiteX133" fmla="*/ 348762 w 1123838"/>
                <a:gd name="connsiteY133" fmla="*/ 592056 h 1125538"/>
                <a:gd name="connsiteX134" fmla="*/ 382352 w 1123838"/>
                <a:gd name="connsiteY134" fmla="*/ 584914 h 1125538"/>
                <a:gd name="connsiteX135" fmla="*/ 383781 w 1123838"/>
                <a:gd name="connsiteY135" fmla="*/ 584914 h 1125538"/>
                <a:gd name="connsiteX136" fmla="*/ 387354 w 1123838"/>
                <a:gd name="connsiteY136" fmla="*/ 584914 h 1125538"/>
                <a:gd name="connsiteX137" fmla="*/ 390213 w 1123838"/>
                <a:gd name="connsiteY137" fmla="*/ 584200 h 1125538"/>
                <a:gd name="connsiteX138" fmla="*/ 1046954 w 1123838"/>
                <a:gd name="connsiteY138" fmla="*/ 0 h 1125538"/>
                <a:gd name="connsiteX139" fmla="*/ 1053386 w 1123838"/>
                <a:gd name="connsiteY139" fmla="*/ 5711 h 1125538"/>
                <a:gd name="connsiteX140" fmla="*/ 796124 w 1123838"/>
                <a:gd name="connsiteY140" fmla="*/ 347661 h 1125538"/>
                <a:gd name="connsiteX141" fmla="*/ 789693 w 1123838"/>
                <a:gd name="connsiteY141" fmla="*/ 340522 h 1125538"/>
                <a:gd name="connsiteX142" fmla="*/ 884022 w 1123838"/>
                <a:gd name="connsiteY142" fmla="*/ 138493 h 1125538"/>
                <a:gd name="connsiteX143" fmla="*/ 876876 w 1123838"/>
                <a:gd name="connsiteY143" fmla="*/ 128499 h 1125538"/>
                <a:gd name="connsiteX144" fmla="*/ 829711 w 1123838"/>
                <a:gd name="connsiteY144" fmla="*/ 162051 h 1125538"/>
                <a:gd name="connsiteX145" fmla="*/ 757535 w 1123838"/>
                <a:gd name="connsiteY145" fmla="*/ 279128 h 1125538"/>
                <a:gd name="connsiteX146" fmla="*/ 741099 w 1123838"/>
                <a:gd name="connsiteY146" fmla="*/ 374074 h 1125538"/>
                <a:gd name="connsiteX147" fmla="*/ 740384 w 1123838"/>
                <a:gd name="connsiteY147" fmla="*/ 486154 h 1125538"/>
                <a:gd name="connsiteX148" fmla="*/ 746101 w 1123838"/>
                <a:gd name="connsiteY148" fmla="*/ 574675 h 1125538"/>
                <a:gd name="connsiteX149" fmla="*/ 716802 w 1123838"/>
                <a:gd name="connsiteY149" fmla="*/ 568964 h 1125538"/>
                <a:gd name="connsiteX150" fmla="*/ 673925 w 1123838"/>
                <a:gd name="connsiteY150" fmla="*/ 566822 h 1125538"/>
                <a:gd name="connsiteX151" fmla="*/ 673925 w 1123838"/>
                <a:gd name="connsiteY151" fmla="*/ 546834 h 1125538"/>
                <a:gd name="connsiteX152" fmla="*/ 554584 w 1123838"/>
                <a:gd name="connsiteY152" fmla="*/ 294120 h 1125538"/>
                <a:gd name="connsiteX153" fmla="*/ 547438 w 1123838"/>
                <a:gd name="connsiteY153" fmla="*/ 304114 h 1125538"/>
                <a:gd name="connsiteX154" fmla="*/ 625331 w 1123838"/>
                <a:gd name="connsiteY154" fmla="*/ 457598 h 1125538"/>
                <a:gd name="connsiteX155" fmla="*/ 619614 w 1123838"/>
                <a:gd name="connsiteY155" fmla="*/ 463310 h 1125538"/>
                <a:gd name="connsiteX156" fmla="*/ 344487 w 1123838"/>
                <a:gd name="connsiteY156" fmla="*/ 188465 h 1125538"/>
                <a:gd name="connsiteX157" fmla="*/ 350919 w 1123838"/>
                <a:gd name="connsiteY157" fmla="*/ 182040 h 1125538"/>
                <a:gd name="connsiteX158" fmla="*/ 679642 w 1123838"/>
                <a:gd name="connsiteY158" fmla="*/ 309111 h 1125538"/>
                <a:gd name="connsiteX159" fmla="*/ 691790 w 1123838"/>
                <a:gd name="connsiteY159" fmla="*/ 306256 h 1125538"/>
                <a:gd name="connsiteX160" fmla="*/ 1046954 w 1123838"/>
                <a:gd name="connsiteY160" fmla="*/ 0 h 112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123838" h="1125538">
                  <a:moveTo>
                    <a:pt x="409739" y="615791"/>
                  </a:moveTo>
                  <a:cubicBezTo>
                    <a:pt x="380443" y="614362"/>
                    <a:pt x="351147" y="621508"/>
                    <a:pt x="326138" y="635801"/>
                  </a:cubicBezTo>
                  <a:cubicBezTo>
                    <a:pt x="326138" y="635801"/>
                    <a:pt x="326138" y="635801"/>
                    <a:pt x="31750" y="803020"/>
                  </a:cubicBezTo>
                  <a:cubicBezTo>
                    <a:pt x="31750" y="803020"/>
                    <a:pt x="31750" y="803020"/>
                    <a:pt x="31750" y="1087437"/>
                  </a:cubicBezTo>
                  <a:cubicBezTo>
                    <a:pt x="31750" y="1087437"/>
                    <a:pt x="31750" y="1087437"/>
                    <a:pt x="368296" y="957377"/>
                  </a:cubicBezTo>
                  <a:cubicBezTo>
                    <a:pt x="384730" y="950946"/>
                    <a:pt x="401879" y="948087"/>
                    <a:pt x="419028" y="949516"/>
                  </a:cubicBezTo>
                  <a:cubicBezTo>
                    <a:pt x="419028" y="949516"/>
                    <a:pt x="419028" y="949516"/>
                    <a:pt x="568366" y="960236"/>
                  </a:cubicBezTo>
                  <a:cubicBezTo>
                    <a:pt x="645535" y="965953"/>
                    <a:pt x="722705" y="956663"/>
                    <a:pt x="797017" y="933795"/>
                  </a:cubicBezTo>
                  <a:cubicBezTo>
                    <a:pt x="894908" y="903067"/>
                    <a:pt x="981367" y="845897"/>
                    <a:pt x="1047818" y="767290"/>
                  </a:cubicBezTo>
                  <a:cubicBezTo>
                    <a:pt x="1047818" y="767290"/>
                    <a:pt x="1047818" y="767290"/>
                    <a:pt x="1079972" y="730130"/>
                  </a:cubicBezTo>
                  <a:cubicBezTo>
                    <a:pt x="1098550" y="707977"/>
                    <a:pt x="1096407" y="675104"/>
                    <a:pt x="1074971" y="655810"/>
                  </a:cubicBezTo>
                  <a:cubicBezTo>
                    <a:pt x="1064253" y="646520"/>
                    <a:pt x="1050676" y="641517"/>
                    <a:pt x="1036386" y="642232"/>
                  </a:cubicBezTo>
                  <a:cubicBezTo>
                    <a:pt x="1022095" y="642947"/>
                    <a:pt x="1008519" y="649378"/>
                    <a:pt x="999230" y="660097"/>
                  </a:cubicBezTo>
                  <a:cubicBezTo>
                    <a:pt x="999230" y="660097"/>
                    <a:pt x="999230" y="660097"/>
                    <a:pt x="951356" y="713694"/>
                  </a:cubicBezTo>
                  <a:cubicBezTo>
                    <a:pt x="912771" y="758000"/>
                    <a:pt x="862039" y="789443"/>
                    <a:pt x="805591" y="805164"/>
                  </a:cubicBezTo>
                  <a:cubicBezTo>
                    <a:pt x="740568" y="823744"/>
                    <a:pt x="670544" y="819457"/>
                    <a:pt x="608380" y="794445"/>
                  </a:cubicBezTo>
                  <a:cubicBezTo>
                    <a:pt x="608380" y="794445"/>
                    <a:pt x="608380" y="794445"/>
                    <a:pt x="553360" y="772292"/>
                  </a:cubicBezTo>
                  <a:cubicBezTo>
                    <a:pt x="546930" y="769434"/>
                    <a:pt x="542642" y="763002"/>
                    <a:pt x="544071" y="755856"/>
                  </a:cubicBezTo>
                  <a:cubicBezTo>
                    <a:pt x="544786" y="748710"/>
                    <a:pt x="550502" y="742993"/>
                    <a:pt x="557648" y="742278"/>
                  </a:cubicBezTo>
                  <a:cubicBezTo>
                    <a:pt x="557648" y="742278"/>
                    <a:pt x="557648" y="742278"/>
                    <a:pt x="715560" y="726557"/>
                  </a:cubicBezTo>
                  <a:cubicBezTo>
                    <a:pt x="740568" y="724413"/>
                    <a:pt x="759146" y="703689"/>
                    <a:pt x="759146" y="679392"/>
                  </a:cubicBezTo>
                  <a:cubicBezTo>
                    <a:pt x="759146" y="653666"/>
                    <a:pt x="739139" y="632942"/>
                    <a:pt x="713416" y="631513"/>
                  </a:cubicBezTo>
                  <a:cubicBezTo>
                    <a:pt x="713416" y="631513"/>
                    <a:pt x="713416" y="631513"/>
                    <a:pt x="409739" y="615791"/>
                  </a:cubicBezTo>
                  <a:close/>
                  <a:moveTo>
                    <a:pt x="390213" y="584200"/>
                  </a:moveTo>
                  <a:cubicBezTo>
                    <a:pt x="391642" y="584200"/>
                    <a:pt x="392357" y="584200"/>
                    <a:pt x="393786" y="584200"/>
                  </a:cubicBezTo>
                  <a:cubicBezTo>
                    <a:pt x="394501" y="584200"/>
                    <a:pt x="395930" y="584200"/>
                    <a:pt x="396645" y="584200"/>
                  </a:cubicBezTo>
                  <a:cubicBezTo>
                    <a:pt x="398074" y="584200"/>
                    <a:pt x="398789" y="584200"/>
                    <a:pt x="399504" y="584200"/>
                  </a:cubicBezTo>
                  <a:cubicBezTo>
                    <a:pt x="400933" y="584200"/>
                    <a:pt x="401648" y="584200"/>
                    <a:pt x="403077" y="584200"/>
                  </a:cubicBezTo>
                  <a:cubicBezTo>
                    <a:pt x="405221" y="584200"/>
                    <a:pt x="408080" y="584200"/>
                    <a:pt x="410939" y="584200"/>
                  </a:cubicBezTo>
                  <a:cubicBezTo>
                    <a:pt x="410939" y="584200"/>
                    <a:pt x="410939" y="584200"/>
                    <a:pt x="715390" y="599912"/>
                  </a:cubicBezTo>
                  <a:cubicBezTo>
                    <a:pt x="743263" y="601340"/>
                    <a:pt x="766847" y="617766"/>
                    <a:pt x="780426" y="640619"/>
                  </a:cubicBezTo>
                  <a:cubicBezTo>
                    <a:pt x="781140" y="642048"/>
                    <a:pt x="781855" y="643476"/>
                    <a:pt x="782570" y="644904"/>
                  </a:cubicBezTo>
                  <a:cubicBezTo>
                    <a:pt x="785428" y="650618"/>
                    <a:pt x="787572" y="657045"/>
                    <a:pt x="789002" y="663473"/>
                  </a:cubicBezTo>
                  <a:cubicBezTo>
                    <a:pt x="789716" y="668472"/>
                    <a:pt x="790431" y="673471"/>
                    <a:pt x="790431" y="679184"/>
                  </a:cubicBezTo>
                  <a:cubicBezTo>
                    <a:pt x="790431" y="681327"/>
                    <a:pt x="790431" y="682755"/>
                    <a:pt x="789716" y="684898"/>
                  </a:cubicBezTo>
                  <a:cubicBezTo>
                    <a:pt x="789716" y="684898"/>
                    <a:pt x="789716" y="685612"/>
                    <a:pt x="789716" y="685612"/>
                  </a:cubicBezTo>
                  <a:cubicBezTo>
                    <a:pt x="789716" y="687754"/>
                    <a:pt x="789716" y="689183"/>
                    <a:pt x="789002" y="691325"/>
                  </a:cubicBezTo>
                  <a:cubicBezTo>
                    <a:pt x="786143" y="709893"/>
                    <a:pt x="776852" y="726319"/>
                    <a:pt x="763988" y="738460"/>
                  </a:cubicBezTo>
                  <a:cubicBezTo>
                    <a:pt x="763988" y="738460"/>
                    <a:pt x="763273" y="738460"/>
                    <a:pt x="763273" y="738460"/>
                  </a:cubicBezTo>
                  <a:cubicBezTo>
                    <a:pt x="761844" y="739888"/>
                    <a:pt x="760415" y="740603"/>
                    <a:pt x="758985" y="742031"/>
                  </a:cubicBezTo>
                  <a:cubicBezTo>
                    <a:pt x="757556" y="743459"/>
                    <a:pt x="756127" y="744173"/>
                    <a:pt x="754697" y="744888"/>
                  </a:cubicBezTo>
                  <a:cubicBezTo>
                    <a:pt x="753983" y="745602"/>
                    <a:pt x="753983" y="745602"/>
                    <a:pt x="753983" y="745602"/>
                  </a:cubicBezTo>
                  <a:cubicBezTo>
                    <a:pt x="752553" y="746316"/>
                    <a:pt x="751124" y="747744"/>
                    <a:pt x="749695" y="748458"/>
                  </a:cubicBezTo>
                  <a:cubicBezTo>
                    <a:pt x="748980" y="748458"/>
                    <a:pt x="748265" y="748458"/>
                    <a:pt x="748265" y="749173"/>
                  </a:cubicBezTo>
                  <a:cubicBezTo>
                    <a:pt x="746836" y="749887"/>
                    <a:pt x="745407" y="750601"/>
                    <a:pt x="743263" y="751315"/>
                  </a:cubicBezTo>
                  <a:cubicBezTo>
                    <a:pt x="743263" y="751315"/>
                    <a:pt x="742548" y="751315"/>
                    <a:pt x="742548" y="752029"/>
                  </a:cubicBezTo>
                  <a:cubicBezTo>
                    <a:pt x="741118" y="752029"/>
                    <a:pt x="739689" y="752743"/>
                    <a:pt x="738260" y="753458"/>
                  </a:cubicBezTo>
                  <a:cubicBezTo>
                    <a:pt x="731828" y="755600"/>
                    <a:pt x="725396" y="757028"/>
                    <a:pt x="718964" y="757743"/>
                  </a:cubicBezTo>
                  <a:cubicBezTo>
                    <a:pt x="718964" y="757743"/>
                    <a:pt x="718964" y="757743"/>
                    <a:pt x="624626" y="767027"/>
                  </a:cubicBezTo>
                  <a:cubicBezTo>
                    <a:pt x="662504" y="781310"/>
                    <a:pt x="703241" y="787023"/>
                    <a:pt x="743263" y="784167"/>
                  </a:cubicBezTo>
                  <a:cubicBezTo>
                    <a:pt x="753983" y="783453"/>
                    <a:pt x="764703" y="782024"/>
                    <a:pt x="775423" y="779882"/>
                  </a:cubicBezTo>
                  <a:cubicBezTo>
                    <a:pt x="778996" y="779168"/>
                    <a:pt x="781855" y="778453"/>
                    <a:pt x="785428" y="777739"/>
                  </a:cubicBezTo>
                  <a:cubicBezTo>
                    <a:pt x="786143" y="777739"/>
                    <a:pt x="786143" y="777739"/>
                    <a:pt x="786858" y="777025"/>
                  </a:cubicBezTo>
                  <a:cubicBezTo>
                    <a:pt x="790431" y="776311"/>
                    <a:pt x="793290" y="775597"/>
                    <a:pt x="796863" y="774883"/>
                  </a:cubicBezTo>
                  <a:cubicBezTo>
                    <a:pt x="806869" y="772026"/>
                    <a:pt x="816874" y="768455"/>
                    <a:pt x="826880" y="764170"/>
                  </a:cubicBezTo>
                  <a:cubicBezTo>
                    <a:pt x="857611" y="752029"/>
                    <a:pt x="885483" y="734175"/>
                    <a:pt x="909782" y="711322"/>
                  </a:cubicBezTo>
                  <a:cubicBezTo>
                    <a:pt x="916214" y="705608"/>
                    <a:pt x="921931" y="699181"/>
                    <a:pt x="928363" y="692753"/>
                  </a:cubicBezTo>
                  <a:cubicBezTo>
                    <a:pt x="928363" y="692753"/>
                    <a:pt x="928363" y="692753"/>
                    <a:pt x="975532" y="639191"/>
                  </a:cubicBezTo>
                  <a:cubicBezTo>
                    <a:pt x="976961" y="637763"/>
                    <a:pt x="977676" y="637048"/>
                    <a:pt x="978391" y="635620"/>
                  </a:cubicBezTo>
                  <a:cubicBezTo>
                    <a:pt x="979105" y="635620"/>
                    <a:pt x="979105" y="635620"/>
                    <a:pt x="979105" y="635620"/>
                  </a:cubicBezTo>
                  <a:cubicBezTo>
                    <a:pt x="994114" y="620623"/>
                    <a:pt x="1013410" y="612053"/>
                    <a:pt x="1034135" y="610624"/>
                  </a:cubicBezTo>
                  <a:cubicBezTo>
                    <a:pt x="1034850" y="610624"/>
                    <a:pt x="1034850" y="610624"/>
                    <a:pt x="1034850" y="610624"/>
                  </a:cubicBezTo>
                  <a:cubicBezTo>
                    <a:pt x="1036279" y="610624"/>
                    <a:pt x="1037709" y="610624"/>
                    <a:pt x="1039138" y="610624"/>
                  </a:cubicBezTo>
                  <a:cubicBezTo>
                    <a:pt x="1039138" y="610624"/>
                    <a:pt x="1039853" y="610624"/>
                    <a:pt x="1040567" y="610624"/>
                  </a:cubicBezTo>
                  <a:cubicBezTo>
                    <a:pt x="1054146" y="610624"/>
                    <a:pt x="1067725" y="614909"/>
                    <a:pt x="1079875" y="621337"/>
                  </a:cubicBezTo>
                  <a:cubicBezTo>
                    <a:pt x="1081304" y="622051"/>
                    <a:pt x="1082019" y="622765"/>
                    <a:pt x="1083448" y="623479"/>
                  </a:cubicBezTo>
                  <a:cubicBezTo>
                    <a:pt x="1084877" y="624193"/>
                    <a:pt x="1085592" y="624908"/>
                    <a:pt x="1086307" y="624908"/>
                  </a:cubicBezTo>
                  <a:cubicBezTo>
                    <a:pt x="1087021" y="625622"/>
                    <a:pt x="1087021" y="625622"/>
                    <a:pt x="1087021" y="625622"/>
                  </a:cubicBezTo>
                  <a:cubicBezTo>
                    <a:pt x="1087736" y="626336"/>
                    <a:pt x="1089165" y="627050"/>
                    <a:pt x="1089880" y="627764"/>
                  </a:cubicBezTo>
                  <a:cubicBezTo>
                    <a:pt x="1089880" y="627764"/>
                    <a:pt x="1090595" y="628478"/>
                    <a:pt x="1090595" y="628478"/>
                  </a:cubicBezTo>
                  <a:cubicBezTo>
                    <a:pt x="1091309" y="629193"/>
                    <a:pt x="1092024" y="629193"/>
                    <a:pt x="1092739" y="629907"/>
                  </a:cubicBezTo>
                  <a:cubicBezTo>
                    <a:pt x="1093453" y="630621"/>
                    <a:pt x="1094168" y="631335"/>
                    <a:pt x="1095597" y="632049"/>
                  </a:cubicBezTo>
                  <a:cubicBezTo>
                    <a:pt x="1095597" y="632049"/>
                    <a:pt x="1095597" y="632763"/>
                    <a:pt x="1095597" y="632763"/>
                  </a:cubicBezTo>
                  <a:cubicBezTo>
                    <a:pt x="1129902" y="663473"/>
                    <a:pt x="1133475" y="714893"/>
                    <a:pt x="1103459" y="749887"/>
                  </a:cubicBezTo>
                  <a:cubicBezTo>
                    <a:pt x="1103459" y="749887"/>
                    <a:pt x="1103459" y="749887"/>
                    <a:pt x="1072013" y="787738"/>
                  </a:cubicBezTo>
                  <a:cubicBezTo>
                    <a:pt x="1040567" y="824160"/>
                    <a:pt x="1004834" y="857012"/>
                    <a:pt x="966241" y="884150"/>
                  </a:cubicBezTo>
                  <a:cubicBezTo>
                    <a:pt x="963383" y="886292"/>
                    <a:pt x="959809" y="888435"/>
                    <a:pt x="956950" y="890577"/>
                  </a:cubicBezTo>
                  <a:cubicBezTo>
                    <a:pt x="954092" y="892720"/>
                    <a:pt x="951233" y="894862"/>
                    <a:pt x="948374" y="896291"/>
                  </a:cubicBezTo>
                  <a:cubicBezTo>
                    <a:pt x="904779" y="924857"/>
                    <a:pt x="856896" y="947711"/>
                    <a:pt x="806154" y="963422"/>
                  </a:cubicBezTo>
                  <a:cubicBezTo>
                    <a:pt x="801866" y="964851"/>
                    <a:pt x="797578" y="966279"/>
                    <a:pt x="792575" y="967707"/>
                  </a:cubicBezTo>
                  <a:cubicBezTo>
                    <a:pt x="791146" y="967707"/>
                    <a:pt x="789716" y="968422"/>
                    <a:pt x="788287" y="968422"/>
                  </a:cubicBezTo>
                  <a:cubicBezTo>
                    <a:pt x="785428" y="969136"/>
                    <a:pt x="782570" y="970564"/>
                    <a:pt x="779711" y="971278"/>
                  </a:cubicBezTo>
                  <a:cubicBezTo>
                    <a:pt x="777567" y="971278"/>
                    <a:pt x="775423" y="971992"/>
                    <a:pt x="773994" y="972707"/>
                  </a:cubicBezTo>
                  <a:cubicBezTo>
                    <a:pt x="771135" y="973421"/>
                    <a:pt x="768991" y="973421"/>
                    <a:pt x="766132" y="974135"/>
                  </a:cubicBezTo>
                  <a:cubicBezTo>
                    <a:pt x="763988" y="974849"/>
                    <a:pt x="761844" y="975563"/>
                    <a:pt x="759700" y="976277"/>
                  </a:cubicBezTo>
                  <a:cubicBezTo>
                    <a:pt x="757556" y="976277"/>
                    <a:pt x="756127" y="976992"/>
                    <a:pt x="753983" y="976992"/>
                  </a:cubicBezTo>
                  <a:cubicBezTo>
                    <a:pt x="743977" y="979134"/>
                    <a:pt x="733972" y="981277"/>
                    <a:pt x="724681" y="983419"/>
                  </a:cubicBezTo>
                  <a:cubicBezTo>
                    <a:pt x="723252" y="983419"/>
                    <a:pt x="722537" y="983419"/>
                    <a:pt x="721822" y="983419"/>
                  </a:cubicBezTo>
                  <a:cubicBezTo>
                    <a:pt x="718249" y="984133"/>
                    <a:pt x="714676" y="984847"/>
                    <a:pt x="711102" y="985562"/>
                  </a:cubicBezTo>
                  <a:cubicBezTo>
                    <a:pt x="710387" y="985562"/>
                    <a:pt x="710387" y="985562"/>
                    <a:pt x="709673" y="985562"/>
                  </a:cubicBezTo>
                  <a:cubicBezTo>
                    <a:pt x="689662" y="988418"/>
                    <a:pt x="670366" y="990561"/>
                    <a:pt x="650355" y="991989"/>
                  </a:cubicBezTo>
                  <a:cubicBezTo>
                    <a:pt x="649640" y="991989"/>
                    <a:pt x="648925" y="991989"/>
                    <a:pt x="648211" y="991989"/>
                  </a:cubicBezTo>
                  <a:cubicBezTo>
                    <a:pt x="644637" y="991989"/>
                    <a:pt x="641064" y="991989"/>
                    <a:pt x="637491" y="992703"/>
                  </a:cubicBezTo>
                  <a:cubicBezTo>
                    <a:pt x="636776" y="992703"/>
                    <a:pt x="636061" y="992703"/>
                    <a:pt x="635347" y="992703"/>
                  </a:cubicBezTo>
                  <a:cubicBezTo>
                    <a:pt x="630344" y="992703"/>
                    <a:pt x="626056" y="992703"/>
                    <a:pt x="621053" y="992703"/>
                  </a:cubicBezTo>
                  <a:cubicBezTo>
                    <a:pt x="621053" y="992703"/>
                    <a:pt x="620338" y="992703"/>
                    <a:pt x="620338" y="992703"/>
                  </a:cubicBezTo>
                  <a:cubicBezTo>
                    <a:pt x="617480" y="992703"/>
                    <a:pt x="614621" y="992703"/>
                    <a:pt x="612477" y="992703"/>
                  </a:cubicBezTo>
                  <a:cubicBezTo>
                    <a:pt x="610333" y="992703"/>
                    <a:pt x="608189" y="992703"/>
                    <a:pt x="606045" y="992703"/>
                  </a:cubicBezTo>
                  <a:cubicBezTo>
                    <a:pt x="603901" y="992703"/>
                    <a:pt x="601042" y="992703"/>
                    <a:pt x="598898" y="992703"/>
                  </a:cubicBezTo>
                  <a:cubicBezTo>
                    <a:pt x="596754" y="992703"/>
                    <a:pt x="594610" y="992703"/>
                    <a:pt x="592466" y="992703"/>
                  </a:cubicBezTo>
                  <a:cubicBezTo>
                    <a:pt x="589607" y="992703"/>
                    <a:pt x="587463" y="992703"/>
                    <a:pt x="584605" y="991989"/>
                  </a:cubicBezTo>
                  <a:cubicBezTo>
                    <a:pt x="582461" y="991989"/>
                    <a:pt x="581031" y="991989"/>
                    <a:pt x="578887" y="991989"/>
                  </a:cubicBezTo>
                  <a:cubicBezTo>
                    <a:pt x="575314" y="991989"/>
                    <a:pt x="571026" y="991275"/>
                    <a:pt x="566738" y="991275"/>
                  </a:cubicBezTo>
                  <a:cubicBezTo>
                    <a:pt x="566738" y="991275"/>
                    <a:pt x="566023" y="991275"/>
                    <a:pt x="566023" y="991275"/>
                  </a:cubicBezTo>
                  <a:cubicBezTo>
                    <a:pt x="566023" y="991275"/>
                    <a:pt x="566023" y="991275"/>
                    <a:pt x="485265" y="985562"/>
                  </a:cubicBezTo>
                  <a:cubicBezTo>
                    <a:pt x="485265" y="985562"/>
                    <a:pt x="485265" y="985562"/>
                    <a:pt x="416656" y="980562"/>
                  </a:cubicBezTo>
                  <a:cubicBezTo>
                    <a:pt x="415227" y="980562"/>
                    <a:pt x="413083" y="980562"/>
                    <a:pt x="410939" y="980562"/>
                  </a:cubicBezTo>
                  <a:cubicBezTo>
                    <a:pt x="410224" y="980562"/>
                    <a:pt x="408794" y="980562"/>
                    <a:pt x="407365" y="980562"/>
                  </a:cubicBezTo>
                  <a:cubicBezTo>
                    <a:pt x="402362" y="980562"/>
                    <a:pt x="398074" y="981277"/>
                    <a:pt x="393072" y="981991"/>
                  </a:cubicBezTo>
                  <a:cubicBezTo>
                    <a:pt x="391642" y="982705"/>
                    <a:pt x="390213" y="982705"/>
                    <a:pt x="388784" y="982705"/>
                  </a:cubicBezTo>
                  <a:cubicBezTo>
                    <a:pt x="388784" y="983419"/>
                    <a:pt x="388784" y="983419"/>
                    <a:pt x="388784" y="983419"/>
                  </a:cubicBezTo>
                  <a:cubicBezTo>
                    <a:pt x="387354" y="983419"/>
                    <a:pt x="385925" y="984133"/>
                    <a:pt x="384496" y="984133"/>
                  </a:cubicBezTo>
                  <a:cubicBezTo>
                    <a:pt x="384496" y="984133"/>
                    <a:pt x="384496" y="984133"/>
                    <a:pt x="383781" y="984847"/>
                  </a:cubicBezTo>
                  <a:cubicBezTo>
                    <a:pt x="382352" y="984847"/>
                    <a:pt x="380922" y="985562"/>
                    <a:pt x="379493" y="986276"/>
                  </a:cubicBezTo>
                  <a:cubicBezTo>
                    <a:pt x="379493" y="986276"/>
                    <a:pt x="379493" y="986276"/>
                    <a:pt x="21441" y="1124824"/>
                  </a:cubicBezTo>
                  <a:cubicBezTo>
                    <a:pt x="20011" y="1125538"/>
                    <a:pt x="17867" y="1125538"/>
                    <a:pt x="15723" y="1125538"/>
                  </a:cubicBezTo>
                  <a:cubicBezTo>
                    <a:pt x="12864" y="1125538"/>
                    <a:pt x="10006" y="1124824"/>
                    <a:pt x="7147" y="1122681"/>
                  </a:cubicBezTo>
                  <a:cubicBezTo>
                    <a:pt x="2859" y="1119825"/>
                    <a:pt x="0" y="1114826"/>
                    <a:pt x="0" y="1109826"/>
                  </a:cubicBezTo>
                  <a:cubicBezTo>
                    <a:pt x="0" y="1109826"/>
                    <a:pt x="0" y="1109826"/>
                    <a:pt x="0" y="793451"/>
                  </a:cubicBezTo>
                  <a:cubicBezTo>
                    <a:pt x="0" y="787738"/>
                    <a:pt x="3574" y="782738"/>
                    <a:pt x="7862" y="779882"/>
                  </a:cubicBezTo>
                  <a:cubicBezTo>
                    <a:pt x="7862" y="779882"/>
                    <a:pt x="7862" y="779882"/>
                    <a:pt x="310169" y="608482"/>
                  </a:cubicBezTo>
                  <a:cubicBezTo>
                    <a:pt x="311599" y="607053"/>
                    <a:pt x="313743" y="606339"/>
                    <a:pt x="315887" y="605625"/>
                  </a:cubicBezTo>
                  <a:cubicBezTo>
                    <a:pt x="316601" y="604911"/>
                    <a:pt x="317316" y="604911"/>
                    <a:pt x="318031" y="604197"/>
                  </a:cubicBezTo>
                  <a:cubicBezTo>
                    <a:pt x="318745" y="603483"/>
                    <a:pt x="320175" y="602768"/>
                    <a:pt x="320889" y="602768"/>
                  </a:cubicBezTo>
                  <a:cubicBezTo>
                    <a:pt x="322319" y="602054"/>
                    <a:pt x="323033" y="601340"/>
                    <a:pt x="324463" y="601340"/>
                  </a:cubicBezTo>
                  <a:cubicBezTo>
                    <a:pt x="325177" y="600626"/>
                    <a:pt x="325892" y="600626"/>
                    <a:pt x="326607" y="599912"/>
                  </a:cubicBezTo>
                  <a:cubicBezTo>
                    <a:pt x="328036" y="599198"/>
                    <a:pt x="329466" y="599198"/>
                    <a:pt x="330180" y="598483"/>
                  </a:cubicBezTo>
                  <a:cubicBezTo>
                    <a:pt x="330895" y="598483"/>
                    <a:pt x="331610" y="597769"/>
                    <a:pt x="332324" y="597769"/>
                  </a:cubicBezTo>
                  <a:cubicBezTo>
                    <a:pt x="333754" y="597055"/>
                    <a:pt x="335183" y="596341"/>
                    <a:pt x="336612" y="596341"/>
                  </a:cubicBezTo>
                  <a:cubicBezTo>
                    <a:pt x="336612" y="595627"/>
                    <a:pt x="337327" y="595627"/>
                    <a:pt x="338042" y="595627"/>
                  </a:cubicBezTo>
                  <a:cubicBezTo>
                    <a:pt x="339471" y="594913"/>
                    <a:pt x="340900" y="594198"/>
                    <a:pt x="342330" y="594198"/>
                  </a:cubicBezTo>
                  <a:cubicBezTo>
                    <a:pt x="343044" y="593484"/>
                    <a:pt x="343044" y="593484"/>
                    <a:pt x="343044" y="593484"/>
                  </a:cubicBezTo>
                  <a:cubicBezTo>
                    <a:pt x="345188" y="592770"/>
                    <a:pt x="346618" y="592770"/>
                    <a:pt x="348047" y="592056"/>
                  </a:cubicBezTo>
                  <a:cubicBezTo>
                    <a:pt x="348762" y="592056"/>
                    <a:pt x="348762" y="592056"/>
                    <a:pt x="348762" y="592056"/>
                  </a:cubicBezTo>
                  <a:cubicBezTo>
                    <a:pt x="360197" y="588485"/>
                    <a:pt x="370917" y="586343"/>
                    <a:pt x="382352" y="584914"/>
                  </a:cubicBezTo>
                  <a:cubicBezTo>
                    <a:pt x="383066" y="584914"/>
                    <a:pt x="383781" y="584914"/>
                    <a:pt x="383781" y="584914"/>
                  </a:cubicBezTo>
                  <a:cubicBezTo>
                    <a:pt x="385210" y="584914"/>
                    <a:pt x="386640" y="584914"/>
                    <a:pt x="387354" y="584914"/>
                  </a:cubicBezTo>
                  <a:cubicBezTo>
                    <a:pt x="388784" y="584914"/>
                    <a:pt x="389498" y="584914"/>
                    <a:pt x="390213" y="584200"/>
                  </a:cubicBezTo>
                  <a:close/>
                  <a:moveTo>
                    <a:pt x="1046954" y="0"/>
                  </a:moveTo>
                  <a:cubicBezTo>
                    <a:pt x="1050527" y="0"/>
                    <a:pt x="1053386" y="2142"/>
                    <a:pt x="1053386" y="5711"/>
                  </a:cubicBezTo>
                  <a:cubicBezTo>
                    <a:pt x="1054100" y="52114"/>
                    <a:pt x="1047669" y="342663"/>
                    <a:pt x="796124" y="347661"/>
                  </a:cubicBezTo>
                  <a:cubicBezTo>
                    <a:pt x="792551" y="347661"/>
                    <a:pt x="789693" y="344091"/>
                    <a:pt x="789693" y="340522"/>
                  </a:cubicBezTo>
                  <a:cubicBezTo>
                    <a:pt x="791836" y="316964"/>
                    <a:pt x="803985" y="229870"/>
                    <a:pt x="884022" y="138493"/>
                  </a:cubicBezTo>
                  <a:cubicBezTo>
                    <a:pt x="888309" y="132782"/>
                    <a:pt x="882593" y="124929"/>
                    <a:pt x="876876" y="128499"/>
                  </a:cubicBezTo>
                  <a:cubicBezTo>
                    <a:pt x="859725" y="137779"/>
                    <a:pt x="844003" y="149201"/>
                    <a:pt x="829711" y="162051"/>
                  </a:cubicBezTo>
                  <a:cubicBezTo>
                    <a:pt x="796124" y="194176"/>
                    <a:pt x="771113" y="234867"/>
                    <a:pt x="757535" y="279128"/>
                  </a:cubicBezTo>
                  <a:cubicBezTo>
                    <a:pt x="747530" y="309825"/>
                    <a:pt x="742528" y="341950"/>
                    <a:pt x="741099" y="374074"/>
                  </a:cubicBezTo>
                  <a:cubicBezTo>
                    <a:pt x="738955" y="411196"/>
                    <a:pt x="738240" y="448318"/>
                    <a:pt x="740384" y="486154"/>
                  </a:cubicBezTo>
                  <a:cubicBezTo>
                    <a:pt x="742528" y="506856"/>
                    <a:pt x="748245" y="544692"/>
                    <a:pt x="746101" y="574675"/>
                  </a:cubicBezTo>
                  <a:cubicBezTo>
                    <a:pt x="736811" y="571820"/>
                    <a:pt x="726806" y="569678"/>
                    <a:pt x="716802" y="568964"/>
                  </a:cubicBezTo>
                  <a:cubicBezTo>
                    <a:pt x="716802" y="568964"/>
                    <a:pt x="716802" y="568964"/>
                    <a:pt x="673925" y="566822"/>
                  </a:cubicBezTo>
                  <a:cubicBezTo>
                    <a:pt x="673210" y="558256"/>
                    <a:pt x="673210" y="551117"/>
                    <a:pt x="673925" y="546834"/>
                  </a:cubicBezTo>
                  <a:cubicBezTo>
                    <a:pt x="678213" y="449746"/>
                    <a:pt x="649628" y="339094"/>
                    <a:pt x="554584" y="294120"/>
                  </a:cubicBezTo>
                  <a:cubicBezTo>
                    <a:pt x="547438" y="291264"/>
                    <a:pt x="541721" y="299831"/>
                    <a:pt x="547438" y="304114"/>
                  </a:cubicBezTo>
                  <a:cubicBezTo>
                    <a:pt x="624616" y="373360"/>
                    <a:pt x="626760" y="438324"/>
                    <a:pt x="625331" y="457598"/>
                  </a:cubicBezTo>
                  <a:cubicBezTo>
                    <a:pt x="625331" y="460454"/>
                    <a:pt x="622473" y="463310"/>
                    <a:pt x="619614" y="463310"/>
                  </a:cubicBezTo>
                  <a:cubicBezTo>
                    <a:pt x="369499" y="460454"/>
                    <a:pt x="346631" y="229156"/>
                    <a:pt x="344487" y="188465"/>
                  </a:cubicBezTo>
                  <a:cubicBezTo>
                    <a:pt x="344487" y="184896"/>
                    <a:pt x="347346" y="182040"/>
                    <a:pt x="350919" y="182040"/>
                  </a:cubicBezTo>
                  <a:cubicBezTo>
                    <a:pt x="553870" y="172760"/>
                    <a:pt x="642482" y="233440"/>
                    <a:pt x="679642" y="309111"/>
                  </a:cubicBezTo>
                  <a:cubicBezTo>
                    <a:pt x="683215" y="314822"/>
                    <a:pt x="691790" y="312680"/>
                    <a:pt x="691790" y="306256"/>
                  </a:cubicBezTo>
                  <a:cubicBezTo>
                    <a:pt x="698222" y="184896"/>
                    <a:pt x="743957" y="2142"/>
                    <a:pt x="10469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0070C0"/>
              </a:solidFill>
            </a:ln>
          </p:spPr>
          <p:txBody>
            <a:bodyPr vert="horz" wrap="square" lIns="58522" tIns="29261" rIns="58522" bIns="29261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ZoneTexte 5">
            <a:extLst>
              <a:ext uri="{FF2B5EF4-FFF2-40B4-BE49-F238E27FC236}">
                <a16:creationId xmlns:a16="http://schemas.microsoft.com/office/drawing/2014/main" id="{CA8A16F4-C49F-343A-8959-059E9A750D76}"/>
              </a:ext>
            </a:extLst>
          </p:cNvPr>
          <p:cNvSpPr txBox="1"/>
          <p:nvPr/>
        </p:nvSpPr>
        <p:spPr>
          <a:xfrm>
            <a:off x="3433481" y="3683126"/>
            <a:ext cx="7859487" cy="28158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indent="0" algn="just">
              <a:buFont typeface="Arial" panose="020B0604020202020204" pitchFamily="34" charset="0"/>
              <a:buNone/>
              <a:tabLst>
                <a:tab pos="3673475" algn="l"/>
              </a:tabLst>
            </a:pPr>
            <a:r>
              <a:rPr lang="en-US" dirty="0">
                <a:solidFill>
                  <a:srgbClr val="000000"/>
                </a:solidFill>
                <a:latin typeface="Raleway" pitchFamily="2" charset="0"/>
              </a:rPr>
              <a:t>The Programme is guided by three key principles: </a:t>
            </a:r>
          </a:p>
          <a:p>
            <a:pPr marL="0" indent="0" algn="just">
              <a:buFont typeface="Arial" panose="020B0604020202020204" pitchFamily="34" charset="0"/>
              <a:buNone/>
              <a:tabLst>
                <a:tab pos="3673475" algn="l"/>
              </a:tabLst>
            </a:pPr>
            <a:endParaRPr lang="fr-FR" dirty="0">
              <a:solidFill>
                <a:srgbClr val="000000"/>
              </a:solidFill>
              <a:latin typeface="Raleway" pitchFamily="2" charset="0"/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673475" algn="l"/>
              </a:tabLst>
            </a:pPr>
            <a:r>
              <a:rPr lang="en-US" dirty="0">
                <a:solidFill>
                  <a:srgbClr val="000000"/>
                </a:solidFill>
                <a:latin typeface="Raleway" pitchFamily="2" charset="0"/>
              </a:rPr>
              <a:t>Principle 1: </a:t>
            </a:r>
            <a:r>
              <a:rPr lang="en-US" b="1" i="1" dirty="0">
                <a:solidFill>
                  <a:srgbClr val="000000"/>
                </a:solidFill>
                <a:latin typeface="Raleway" pitchFamily="2" charset="0"/>
              </a:rPr>
              <a:t>Equitable access to technologies suitable to respond to pandemics - mRNA technology </a:t>
            </a:r>
            <a:endParaRPr lang="fr-FR" b="1" i="1" dirty="0">
              <a:solidFill>
                <a:srgbClr val="000000"/>
              </a:solidFill>
              <a:latin typeface="Raleway" pitchFamily="2" charset="0"/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673475" algn="l"/>
              </a:tabLst>
            </a:pPr>
            <a:r>
              <a:rPr lang="en-US" dirty="0">
                <a:solidFill>
                  <a:srgbClr val="000000"/>
                </a:solidFill>
                <a:latin typeface="Raleway" pitchFamily="2" charset="0"/>
              </a:rPr>
              <a:t>Principle 2: </a:t>
            </a:r>
            <a:r>
              <a:rPr lang="en-US" b="1" i="1" dirty="0">
                <a:solidFill>
                  <a:srgbClr val="000000"/>
                </a:solidFill>
                <a:latin typeface="Raleway" pitchFamily="2" charset="0"/>
              </a:rPr>
              <a:t>Value and share intellectual property - multilateral technology transfer  </a:t>
            </a:r>
            <a:endParaRPr lang="fr-FR" b="1" i="1" dirty="0">
              <a:solidFill>
                <a:srgbClr val="000000"/>
              </a:solidFill>
              <a:latin typeface="Raleway" pitchFamily="2" charset="0"/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673475" algn="l"/>
              </a:tabLst>
            </a:pPr>
            <a:r>
              <a:rPr lang="en-US" dirty="0">
                <a:solidFill>
                  <a:srgbClr val="000000"/>
                </a:solidFill>
                <a:latin typeface="Raleway" pitchFamily="2" charset="0"/>
              </a:rPr>
              <a:t>Principle 3: </a:t>
            </a:r>
            <a:r>
              <a:rPr lang="en-US" b="1" i="1" dirty="0">
                <a:solidFill>
                  <a:srgbClr val="000000"/>
                </a:solidFill>
                <a:latin typeface="Raleway" pitchFamily="2" charset="0"/>
              </a:rPr>
              <a:t>Promote establishment of sustainable capacity to produce mRNA vaccines - coherent policies and adequate invest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1121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38DBF1-FF0A-1E4C-F1A9-CAB27B72315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34124" y="369719"/>
            <a:ext cx="10515600" cy="471488"/>
          </a:xfrm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chemeClr val="accent1"/>
                </a:solidFill>
              </a:rPr>
              <a:t>Technology Transfer: “provider &amp; recipient” model</a:t>
            </a:r>
            <a:endParaRPr lang="en-CH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923D3A-84DE-1B7C-CEB3-6251DEFE8A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</p:spPr>
        <p:txBody>
          <a:bodyPr/>
          <a:lstStyle/>
          <a:p>
            <a:fld id="{1D1C8182-8BBE-B542-ADE5-8820B104469B}" type="slidenum">
              <a:rPr lang="en-RO" smtClean="0"/>
              <a:pPr/>
              <a:t>16</a:t>
            </a:fld>
            <a:endParaRPr lang="en-RO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4969839-27F9-0118-1E58-A68552EEE622}"/>
              </a:ext>
            </a:extLst>
          </p:cNvPr>
          <p:cNvGrpSpPr/>
          <p:nvPr/>
        </p:nvGrpSpPr>
        <p:grpSpPr>
          <a:xfrm>
            <a:off x="6972952" y="3564381"/>
            <a:ext cx="4606096" cy="3047861"/>
            <a:chOff x="6888331" y="3300211"/>
            <a:chExt cx="4606096" cy="3047861"/>
          </a:xfrm>
        </p:grpSpPr>
        <p:sp>
          <p:nvSpPr>
            <p:cNvPr id="13" name="ee4pHeader3">
              <a:extLst>
                <a:ext uri="{FF2B5EF4-FFF2-40B4-BE49-F238E27FC236}">
                  <a16:creationId xmlns:a16="http://schemas.microsoft.com/office/drawing/2014/main" id="{ADBCD1C3-7D33-936E-4DE3-57DA852C7BC0}"/>
                </a:ext>
              </a:extLst>
            </p:cNvPr>
            <p:cNvSpPr txBox="1"/>
            <p:nvPr/>
          </p:nvSpPr>
          <p:spPr>
            <a:xfrm>
              <a:off x="7424982" y="3401163"/>
              <a:ext cx="3871581" cy="510023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 cap="rnd" cmpd="sng" algn="ctr">
              <a:solidFill>
                <a:srgbClr val="082F3B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0080" tIns="0" rIns="0" bIns="0" rtlCol="0" anchor="ctr" anchorCtr="0">
              <a:noAutofit/>
            </a:bodyPr>
            <a:lstStyle>
              <a:defPPr>
                <a:defRPr lang="en-US"/>
              </a:defPPr>
              <a:lvl4pPr marL="0" lvl="3">
                <a:defRPr sz="1200" b="1">
                  <a:solidFill>
                    <a:srgbClr val="FFFFFF"/>
                  </a:solidFill>
                  <a:latin typeface="Arial" panose="020B0604020202020204" pitchFamily="34" charset="0"/>
                </a:defRPr>
              </a:lvl4pPr>
            </a:lstStyle>
            <a:p>
              <a:pPr lvl="3"/>
              <a:r>
                <a:rPr lang="en-US" sz="1600" dirty="0">
                  <a:latin typeface="Raleway" pitchFamily="2" charset="0"/>
                </a:rPr>
                <a:t>Technology recipients</a:t>
              </a:r>
            </a:p>
          </p:txBody>
        </p:sp>
        <p:sp>
          <p:nvSpPr>
            <p:cNvPr id="12" name="ee4pContent1">
              <a:extLst>
                <a:ext uri="{FF2B5EF4-FFF2-40B4-BE49-F238E27FC236}">
                  <a16:creationId xmlns:a16="http://schemas.microsoft.com/office/drawing/2014/main" id="{17FCBA1B-24CE-41A9-EC92-1009CFD2D5F5}"/>
                </a:ext>
              </a:extLst>
            </p:cNvPr>
            <p:cNvSpPr txBox="1"/>
            <p:nvPr/>
          </p:nvSpPr>
          <p:spPr>
            <a:xfrm>
              <a:off x="7126913" y="4038607"/>
              <a:ext cx="4367514" cy="230946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2000">
                  <a:solidFill>
                    <a:srgbClr val="000000"/>
                  </a:solidFill>
                </a:defRPr>
              </a:lvl1pPr>
              <a:lvl2pPr marL="228600" lvl="1" indent="-228600"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"/>
                <a:defRPr sz="2000">
                  <a:solidFill>
                    <a:srgbClr val="000000"/>
                  </a:solidFill>
                </a:defRPr>
              </a:lvl2pPr>
              <a:lvl3pPr marL="438912" lvl="2" indent="-210312">
                <a:buClr>
                  <a:srgbClr val="000000"/>
                </a:buClr>
                <a:buSzPct val="100000"/>
                <a:buFont typeface="Arial" panose="020B0604020202020204" pitchFamily="34" charset="0"/>
                <a:buChar char="‒"/>
                <a:defRPr sz="2000">
                  <a:solidFill>
                    <a:srgbClr val="000000"/>
                  </a:solidFill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2400" b="1">
                  <a:solidFill>
                    <a:srgbClr val="082F3B"/>
                  </a:solidFill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2400" b="1">
                  <a:solidFill>
                    <a:srgbClr val="000000"/>
                  </a:solidFill>
                </a:defRPr>
              </a:lvl5pPr>
              <a:lvl6pPr marL="228600" lvl="5" indent="-228600"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"/>
                <a:defRPr sz="2400">
                  <a:solidFill>
                    <a:srgbClr val="000000"/>
                  </a:solidFill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000000"/>
                  </a:solidFill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6600" b="1">
                  <a:solidFill>
                    <a:srgbClr val="082F3B"/>
                  </a:solidFill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4400" b="1">
                  <a:solidFill>
                    <a:srgbClr val="082F3B"/>
                  </a:solidFill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Develop viable business model incl. required upfront financin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Establish required infrastructures and workforce to receive mRNA technolog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Receive and execute technology transfer from the Programme according to an agreement signed with MP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Implement and scale up/out (if needed) the technology according to own business model and needs</a:t>
              </a:r>
            </a:p>
            <a:p>
              <a:pPr marL="0" lvl="1" indent="0">
                <a:buNone/>
              </a:pPr>
              <a:endParaRPr lang="en-US" sz="1400" dirty="0">
                <a:solidFill>
                  <a:schemeClr val="tx1"/>
                </a:solidFill>
                <a:latin typeface="Raleway" pitchFamily="2" charset="0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1BD2C13-10D6-5A08-38D9-254FA553059F}"/>
                </a:ext>
              </a:extLst>
            </p:cNvPr>
            <p:cNvGrpSpPr/>
            <p:nvPr/>
          </p:nvGrpSpPr>
          <p:grpSpPr>
            <a:xfrm>
              <a:off x="6888331" y="3300211"/>
              <a:ext cx="674061" cy="674685"/>
              <a:chOff x="6787410" y="1445341"/>
              <a:chExt cx="674061" cy="674685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3C151069-8FFE-D466-8AEF-318030CDEF2E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>
              <a:xfrm>
                <a:off x="6787410" y="1445341"/>
                <a:ext cx="674061" cy="67468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gradFill flip="none" rotWithShape="1">
                  <a:gsLst>
                    <a:gs pos="100000">
                      <a:srgbClr val="1B9EC7"/>
                    </a:gs>
                    <a:gs pos="21000">
                      <a:srgbClr val="082F3B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/>
                <a:endParaRPr lang="en-US" sz="1200" kern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6" name="bcgIcons_DigitalFactory">
                <a:extLst>
                  <a:ext uri="{FF2B5EF4-FFF2-40B4-BE49-F238E27FC236}">
                    <a16:creationId xmlns:a16="http://schemas.microsoft.com/office/drawing/2014/main" id="{09FA27D2-3582-09AF-A084-96DB97D87F2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886389" y="1562768"/>
                <a:ext cx="476633" cy="477074"/>
                <a:chOff x="1682" y="0"/>
                <a:chExt cx="4316" cy="4320"/>
              </a:xfrm>
            </p:grpSpPr>
            <p:sp>
              <p:nvSpPr>
                <p:cNvPr id="17" name="AutoShape 33">
                  <a:extLst>
                    <a:ext uri="{FF2B5EF4-FFF2-40B4-BE49-F238E27FC236}">
                      <a16:creationId xmlns:a16="http://schemas.microsoft.com/office/drawing/2014/main" id="{25B7595B-4F26-3272-BFFC-1F7C52F4EE56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23043" tIns="11522" rIns="23043" bIns="1152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35">
                  <a:extLst>
                    <a:ext uri="{FF2B5EF4-FFF2-40B4-BE49-F238E27FC236}">
                      <a16:creationId xmlns:a16="http://schemas.microsoft.com/office/drawing/2014/main" id="{80823710-76B9-0F90-926F-4F40FEBFF3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30" y="1303"/>
                  <a:ext cx="3620" cy="2571"/>
                </a:xfrm>
                <a:custGeom>
                  <a:avLst/>
                  <a:gdLst>
                    <a:gd name="T0" fmla="*/ 1910 w 1932"/>
                    <a:gd name="T1" fmla="*/ 1227 h 1371"/>
                    <a:gd name="T2" fmla="*/ 1834 w 1932"/>
                    <a:gd name="T3" fmla="*/ 1227 h 1371"/>
                    <a:gd name="T4" fmla="*/ 1834 w 1932"/>
                    <a:gd name="T5" fmla="*/ 1190 h 1371"/>
                    <a:gd name="T6" fmla="*/ 1812 w 1932"/>
                    <a:gd name="T7" fmla="*/ 1168 h 1371"/>
                    <a:gd name="T8" fmla="*/ 120 w 1932"/>
                    <a:gd name="T9" fmla="*/ 1168 h 1371"/>
                    <a:gd name="T10" fmla="*/ 98 w 1932"/>
                    <a:gd name="T11" fmla="*/ 1190 h 1371"/>
                    <a:gd name="T12" fmla="*/ 98 w 1932"/>
                    <a:gd name="T13" fmla="*/ 1227 h 1371"/>
                    <a:gd name="T14" fmla="*/ 22 w 1932"/>
                    <a:gd name="T15" fmla="*/ 1227 h 1371"/>
                    <a:gd name="T16" fmla="*/ 0 w 1932"/>
                    <a:gd name="T17" fmla="*/ 1249 h 1371"/>
                    <a:gd name="T18" fmla="*/ 0 w 1932"/>
                    <a:gd name="T19" fmla="*/ 1349 h 1371"/>
                    <a:gd name="T20" fmla="*/ 22 w 1932"/>
                    <a:gd name="T21" fmla="*/ 1371 h 1371"/>
                    <a:gd name="T22" fmla="*/ 1910 w 1932"/>
                    <a:gd name="T23" fmla="*/ 1371 h 1371"/>
                    <a:gd name="T24" fmla="*/ 1932 w 1932"/>
                    <a:gd name="T25" fmla="*/ 1349 h 1371"/>
                    <a:gd name="T26" fmla="*/ 1932 w 1932"/>
                    <a:gd name="T27" fmla="*/ 1249 h 1371"/>
                    <a:gd name="T28" fmla="*/ 1910 w 1932"/>
                    <a:gd name="T29" fmla="*/ 1227 h 1371"/>
                    <a:gd name="T30" fmla="*/ 1812 w 1932"/>
                    <a:gd name="T31" fmla="*/ 1124 h 1371"/>
                    <a:gd name="T32" fmla="*/ 1768 w 1932"/>
                    <a:gd name="T33" fmla="*/ 1124 h 1371"/>
                    <a:gd name="T34" fmla="*/ 1768 w 1932"/>
                    <a:gd name="T35" fmla="*/ 235 h 1371"/>
                    <a:gd name="T36" fmla="*/ 1282 w 1932"/>
                    <a:gd name="T37" fmla="*/ 235 h 1371"/>
                    <a:gd name="T38" fmla="*/ 1275 w 1932"/>
                    <a:gd name="T39" fmla="*/ 234 h 1371"/>
                    <a:gd name="T40" fmla="*/ 728 w 1932"/>
                    <a:gd name="T41" fmla="*/ 53 h 1371"/>
                    <a:gd name="T42" fmla="*/ 728 w 1932"/>
                    <a:gd name="T43" fmla="*/ 211 h 1371"/>
                    <a:gd name="T44" fmla="*/ 719 w 1932"/>
                    <a:gd name="T45" fmla="*/ 229 h 1371"/>
                    <a:gd name="T46" fmla="*/ 699 w 1932"/>
                    <a:gd name="T47" fmla="*/ 232 h 1371"/>
                    <a:gd name="T48" fmla="*/ 162 w 1932"/>
                    <a:gd name="T49" fmla="*/ 53 h 1371"/>
                    <a:gd name="T50" fmla="*/ 162 w 1932"/>
                    <a:gd name="T51" fmla="*/ 1124 h 1371"/>
                    <a:gd name="T52" fmla="*/ 118 w 1932"/>
                    <a:gd name="T53" fmla="*/ 1124 h 1371"/>
                    <a:gd name="T54" fmla="*/ 118 w 1932"/>
                    <a:gd name="T55" fmla="*/ 23 h 1371"/>
                    <a:gd name="T56" fmla="*/ 127 w 1932"/>
                    <a:gd name="T57" fmla="*/ 5 h 1371"/>
                    <a:gd name="T58" fmla="*/ 147 w 1932"/>
                    <a:gd name="T59" fmla="*/ 2 h 1371"/>
                    <a:gd name="T60" fmla="*/ 684 w 1932"/>
                    <a:gd name="T61" fmla="*/ 181 h 1371"/>
                    <a:gd name="T62" fmla="*/ 684 w 1932"/>
                    <a:gd name="T63" fmla="*/ 23 h 1371"/>
                    <a:gd name="T64" fmla="*/ 693 w 1932"/>
                    <a:gd name="T65" fmla="*/ 5 h 1371"/>
                    <a:gd name="T66" fmla="*/ 713 w 1932"/>
                    <a:gd name="T67" fmla="*/ 2 h 1371"/>
                    <a:gd name="T68" fmla="*/ 1286 w 1932"/>
                    <a:gd name="T69" fmla="*/ 191 h 1371"/>
                    <a:gd name="T70" fmla="*/ 1790 w 1932"/>
                    <a:gd name="T71" fmla="*/ 191 h 1371"/>
                    <a:gd name="T72" fmla="*/ 1812 w 1932"/>
                    <a:gd name="T73" fmla="*/ 213 h 1371"/>
                    <a:gd name="T74" fmla="*/ 1812 w 1932"/>
                    <a:gd name="T75" fmla="*/ 1124 h 1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32" h="1371">
                      <a:moveTo>
                        <a:pt x="1910" y="1227"/>
                      </a:moveTo>
                      <a:cubicBezTo>
                        <a:pt x="1834" y="1227"/>
                        <a:pt x="1834" y="1227"/>
                        <a:pt x="1834" y="1227"/>
                      </a:cubicBezTo>
                      <a:cubicBezTo>
                        <a:pt x="1834" y="1190"/>
                        <a:pt x="1834" y="1190"/>
                        <a:pt x="1834" y="1190"/>
                      </a:cubicBezTo>
                      <a:cubicBezTo>
                        <a:pt x="1834" y="1178"/>
                        <a:pt x="1824" y="1168"/>
                        <a:pt x="1812" y="1168"/>
                      </a:cubicBezTo>
                      <a:cubicBezTo>
                        <a:pt x="120" y="1168"/>
                        <a:pt x="120" y="1168"/>
                        <a:pt x="120" y="1168"/>
                      </a:cubicBezTo>
                      <a:cubicBezTo>
                        <a:pt x="108" y="1168"/>
                        <a:pt x="98" y="1178"/>
                        <a:pt x="98" y="1190"/>
                      </a:cubicBezTo>
                      <a:cubicBezTo>
                        <a:pt x="98" y="1227"/>
                        <a:pt x="98" y="1227"/>
                        <a:pt x="98" y="1227"/>
                      </a:cubicBezTo>
                      <a:cubicBezTo>
                        <a:pt x="22" y="1227"/>
                        <a:pt x="22" y="1227"/>
                        <a:pt x="22" y="1227"/>
                      </a:cubicBezTo>
                      <a:cubicBezTo>
                        <a:pt x="9" y="1227"/>
                        <a:pt x="0" y="1237"/>
                        <a:pt x="0" y="1249"/>
                      </a:cubicBezTo>
                      <a:cubicBezTo>
                        <a:pt x="0" y="1349"/>
                        <a:pt x="0" y="1349"/>
                        <a:pt x="0" y="1349"/>
                      </a:cubicBezTo>
                      <a:cubicBezTo>
                        <a:pt x="0" y="1361"/>
                        <a:pt x="9" y="1371"/>
                        <a:pt x="22" y="1371"/>
                      </a:cubicBezTo>
                      <a:cubicBezTo>
                        <a:pt x="1910" y="1371"/>
                        <a:pt x="1910" y="1371"/>
                        <a:pt x="1910" y="1371"/>
                      </a:cubicBezTo>
                      <a:cubicBezTo>
                        <a:pt x="1923" y="1371"/>
                        <a:pt x="1932" y="1361"/>
                        <a:pt x="1932" y="1349"/>
                      </a:cubicBezTo>
                      <a:cubicBezTo>
                        <a:pt x="1932" y="1249"/>
                        <a:pt x="1932" y="1249"/>
                        <a:pt x="1932" y="1249"/>
                      </a:cubicBezTo>
                      <a:cubicBezTo>
                        <a:pt x="1932" y="1237"/>
                        <a:pt x="1923" y="1227"/>
                        <a:pt x="1910" y="1227"/>
                      </a:cubicBezTo>
                      <a:close/>
                      <a:moveTo>
                        <a:pt x="1812" y="1124"/>
                      </a:moveTo>
                      <a:cubicBezTo>
                        <a:pt x="1768" y="1124"/>
                        <a:pt x="1768" y="1124"/>
                        <a:pt x="1768" y="1124"/>
                      </a:cubicBezTo>
                      <a:cubicBezTo>
                        <a:pt x="1768" y="235"/>
                        <a:pt x="1768" y="235"/>
                        <a:pt x="1768" y="235"/>
                      </a:cubicBezTo>
                      <a:cubicBezTo>
                        <a:pt x="1282" y="235"/>
                        <a:pt x="1282" y="235"/>
                        <a:pt x="1282" y="235"/>
                      </a:cubicBezTo>
                      <a:cubicBezTo>
                        <a:pt x="1280" y="235"/>
                        <a:pt x="1277" y="235"/>
                        <a:pt x="1275" y="234"/>
                      </a:cubicBezTo>
                      <a:cubicBezTo>
                        <a:pt x="728" y="53"/>
                        <a:pt x="728" y="53"/>
                        <a:pt x="728" y="53"/>
                      </a:cubicBezTo>
                      <a:cubicBezTo>
                        <a:pt x="728" y="211"/>
                        <a:pt x="728" y="211"/>
                        <a:pt x="728" y="211"/>
                      </a:cubicBezTo>
                      <a:cubicBezTo>
                        <a:pt x="728" y="218"/>
                        <a:pt x="725" y="225"/>
                        <a:pt x="719" y="229"/>
                      </a:cubicBezTo>
                      <a:cubicBezTo>
                        <a:pt x="713" y="233"/>
                        <a:pt x="706" y="234"/>
                        <a:pt x="699" y="232"/>
                      </a:cubicBezTo>
                      <a:cubicBezTo>
                        <a:pt x="162" y="53"/>
                        <a:pt x="162" y="53"/>
                        <a:pt x="162" y="53"/>
                      </a:cubicBezTo>
                      <a:cubicBezTo>
                        <a:pt x="162" y="1124"/>
                        <a:pt x="162" y="1124"/>
                        <a:pt x="162" y="1124"/>
                      </a:cubicBezTo>
                      <a:cubicBezTo>
                        <a:pt x="118" y="1124"/>
                        <a:pt x="118" y="1124"/>
                        <a:pt x="118" y="1124"/>
                      </a:cubicBezTo>
                      <a:cubicBezTo>
                        <a:pt x="118" y="23"/>
                        <a:pt x="118" y="23"/>
                        <a:pt x="118" y="23"/>
                      </a:cubicBezTo>
                      <a:cubicBezTo>
                        <a:pt x="118" y="16"/>
                        <a:pt x="121" y="9"/>
                        <a:pt x="127" y="5"/>
                      </a:cubicBezTo>
                      <a:cubicBezTo>
                        <a:pt x="133" y="1"/>
                        <a:pt x="140" y="0"/>
                        <a:pt x="147" y="2"/>
                      </a:cubicBezTo>
                      <a:cubicBezTo>
                        <a:pt x="684" y="181"/>
                        <a:pt x="684" y="181"/>
                        <a:pt x="684" y="181"/>
                      </a:cubicBezTo>
                      <a:cubicBezTo>
                        <a:pt x="684" y="23"/>
                        <a:pt x="684" y="23"/>
                        <a:pt x="684" y="23"/>
                      </a:cubicBezTo>
                      <a:cubicBezTo>
                        <a:pt x="684" y="16"/>
                        <a:pt x="687" y="9"/>
                        <a:pt x="693" y="5"/>
                      </a:cubicBezTo>
                      <a:cubicBezTo>
                        <a:pt x="699" y="1"/>
                        <a:pt x="706" y="0"/>
                        <a:pt x="713" y="2"/>
                      </a:cubicBezTo>
                      <a:cubicBezTo>
                        <a:pt x="1286" y="191"/>
                        <a:pt x="1286" y="191"/>
                        <a:pt x="1286" y="191"/>
                      </a:cubicBezTo>
                      <a:cubicBezTo>
                        <a:pt x="1790" y="191"/>
                        <a:pt x="1790" y="191"/>
                        <a:pt x="1790" y="191"/>
                      </a:cubicBezTo>
                      <a:cubicBezTo>
                        <a:pt x="1802" y="191"/>
                        <a:pt x="1812" y="201"/>
                        <a:pt x="1812" y="213"/>
                      </a:cubicBezTo>
                      <a:lnTo>
                        <a:pt x="1812" y="1124"/>
                      </a:lnTo>
                      <a:close/>
                    </a:path>
                  </a:pathLst>
                </a:custGeom>
                <a:solidFill>
                  <a:srgbClr val="082F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23043" tIns="11522" rIns="23043" bIns="1152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36">
                  <a:extLst>
                    <a:ext uri="{FF2B5EF4-FFF2-40B4-BE49-F238E27FC236}">
                      <a16:creationId xmlns:a16="http://schemas.microsoft.com/office/drawing/2014/main" id="{511FDDF3-3BC1-26B0-0C81-48B7AF9154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80" y="446"/>
                  <a:ext cx="2802" cy="2854"/>
                </a:xfrm>
                <a:custGeom>
                  <a:avLst/>
                  <a:gdLst>
                    <a:gd name="T0" fmla="*/ 1479 w 1496"/>
                    <a:gd name="T1" fmla="*/ 604 h 1522"/>
                    <a:gd name="T2" fmla="*/ 1209 w 1496"/>
                    <a:gd name="T3" fmla="*/ 15 h 1522"/>
                    <a:gd name="T4" fmla="*/ 1447 w 1496"/>
                    <a:gd name="T5" fmla="*/ 15 h 1522"/>
                    <a:gd name="T6" fmla="*/ 0 w 1496"/>
                    <a:gd name="T7" fmla="*/ 915 h 1522"/>
                    <a:gd name="T8" fmla="*/ 150 w 1496"/>
                    <a:gd name="T9" fmla="*/ 915 h 1522"/>
                    <a:gd name="T10" fmla="*/ 97 w 1496"/>
                    <a:gd name="T11" fmla="*/ 862 h 1522"/>
                    <a:gd name="T12" fmla="*/ 371 w 1496"/>
                    <a:gd name="T13" fmla="*/ 840 h 1522"/>
                    <a:gd name="T14" fmla="*/ 327 w 1496"/>
                    <a:gd name="T15" fmla="*/ 991 h 1522"/>
                    <a:gd name="T16" fmla="*/ 698 w 1496"/>
                    <a:gd name="T17" fmla="*/ 915 h 1522"/>
                    <a:gd name="T18" fmla="*/ 600 w 1496"/>
                    <a:gd name="T19" fmla="*/ 1013 h 1522"/>
                    <a:gd name="T20" fmla="*/ 600 w 1496"/>
                    <a:gd name="T21" fmla="*/ 969 h 1522"/>
                    <a:gd name="T22" fmla="*/ 654 w 1496"/>
                    <a:gd name="T23" fmla="*/ 915 h 1522"/>
                    <a:gd name="T24" fmla="*/ 852 w 1496"/>
                    <a:gd name="T25" fmla="*/ 818 h 1522"/>
                    <a:gd name="T26" fmla="*/ 852 w 1496"/>
                    <a:gd name="T27" fmla="*/ 1013 h 1522"/>
                    <a:gd name="T28" fmla="*/ 1125 w 1496"/>
                    <a:gd name="T29" fmla="*/ 840 h 1522"/>
                    <a:gd name="T30" fmla="*/ 1081 w 1496"/>
                    <a:gd name="T31" fmla="*/ 991 h 1522"/>
                    <a:gd name="T32" fmla="*/ 194 w 1496"/>
                    <a:gd name="T33" fmla="*/ 1170 h 1522"/>
                    <a:gd name="T34" fmla="*/ 97 w 1496"/>
                    <a:gd name="T35" fmla="*/ 1267 h 1522"/>
                    <a:gd name="T36" fmla="*/ 97 w 1496"/>
                    <a:gd name="T37" fmla="*/ 1223 h 1522"/>
                    <a:gd name="T38" fmla="*/ 150 w 1496"/>
                    <a:gd name="T39" fmla="*/ 1170 h 1522"/>
                    <a:gd name="T40" fmla="*/ 251 w 1496"/>
                    <a:gd name="T41" fmla="*/ 1170 h 1522"/>
                    <a:gd name="T42" fmla="*/ 402 w 1496"/>
                    <a:gd name="T43" fmla="*/ 1170 h 1522"/>
                    <a:gd name="T44" fmla="*/ 349 w 1496"/>
                    <a:gd name="T45" fmla="*/ 1117 h 1522"/>
                    <a:gd name="T46" fmla="*/ 852 w 1496"/>
                    <a:gd name="T47" fmla="*/ 1073 h 1522"/>
                    <a:gd name="T48" fmla="*/ 949 w 1496"/>
                    <a:gd name="T49" fmla="*/ 1170 h 1522"/>
                    <a:gd name="T50" fmla="*/ 798 w 1496"/>
                    <a:gd name="T51" fmla="*/ 1170 h 1522"/>
                    <a:gd name="T52" fmla="*/ 622 w 1496"/>
                    <a:gd name="T53" fmla="*/ 1245 h 1522"/>
                    <a:gd name="T54" fmla="*/ 578 w 1496"/>
                    <a:gd name="T55" fmla="*/ 1095 h 1522"/>
                    <a:gd name="T56" fmla="*/ 622 w 1496"/>
                    <a:gd name="T57" fmla="*/ 1245 h 1522"/>
                    <a:gd name="T58" fmla="*/ 1103 w 1496"/>
                    <a:gd name="T59" fmla="*/ 1073 h 1522"/>
                    <a:gd name="T60" fmla="*/ 1103 w 1496"/>
                    <a:gd name="T61" fmla="*/ 1267 h 1522"/>
                    <a:gd name="T62" fmla="*/ 349 w 1496"/>
                    <a:gd name="T63" fmla="*/ 1327 h 1522"/>
                    <a:gd name="T64" fmla="*/ 446 w 1496"/>
                    <a:gd name="T65" fmla="*/ 1425 h 1522"/>
                    <a:gd name="T66" fmla="*/ 295 w 1496"/>
                    <a:gd name="T67" fmla="*/ 1425 h 1522"/>
                    <a:gd name="T68" fmla="*/ 1201 w 1496"/>
                    <a:gd name="T69" fmla="*/ 1425 h 1522"/>
                    <a:gd name="T70" fmla="*/ 1103 w 1496"/>
                    <a:gd name="T71" fmla="*/ 1522 h 1522"/>
                    <a:gd name="T72" fmla="*/ 1103 w 1496"/>
                    <a:gd name="T73" fmla="*/ 1478 h 1522"/>
                    <a:gd name="T74" fmla="*/ 1157 w 1496"/>
                    <a:gd name="T75" fmla="*/ 1425 h 1522"/>
                    <a:gd name="T76" fmla="*/ 600 w 1496"/>
                    <a:gd name="T77" fmla="*/ 1327 h 1522"/>
                    <a:gd name="T78" fmla="*/ 600 w 1496"/>
                    <a:gd name="T79" fmla="*/ 1522 h 1522"/>
                    <a:gd name="T80" fmla="*/ 119 w 1496"/>
                    <a:gd name="T81" fmla="*/ 1349 h 1522"/>
                    <a:gd name="T82" fmla="*/ 75 w 1496"/>
                    <a:gd name="T83" fmla="*/ 1500 h 1522"/>
                    <a:gd name="T84" fmla="*/ 874 w 1496"/>
                    <a:gd name="T85" fmla="*/ 1500 h 1522"/>
                    <a:gd name="T86" fmla="*/ 830 w 1496"/>
                    <a:gd name="T87" fmla="*/ 1349 h 1522"/>
                    <a:gd name="T88" fmla="*/ 874 w 1496"/>
                    <a:gd name="T89" fmla="*/ 1500 h 1522"/>
                    <a:gd name="T90" fmla="*/ 1355 w 1496"/>
                    <a:gd name="T91" fmla="*/ 818 h 1522"/>
                    <a:gd name="T92" fmla="*/ 1355 w 1496"/>
                    <a:gd name="T93" fmla="*/ 1013 h 1522"/>
                    <a:gd name="T94" fmla="*/ 1355 w 1496"/>
                    <a:gd name="T95" fmla="*/ 1073 h 1522"/>
                    <a:gd name="T96" fmla="*/ 1452 w 1496"/>
                    <a:gd name="T97" fmla="*/ 1170 h 1522"/>
                    <a:gd name="T98" fmla="*/ 1302 w 1496"/>
                    <a:gd name="T99" fmla="*/ 1170 h 1522"/>
                    <a:gd name="T100" fmla="*/ 1377 w 1496"/>
                    <a:gd name="T101" fmla="*/ 1500 h 1522"/>
                    <a:gd name="T102" fmla="*/ 1333 w 1496"/>
                    <a:gd name="T103" fmla="*/ 1349 h 1522"/>
                    <a:gd name="T104" fmla="*/ 1377 w 1496"/>
                    <a:gd name="T105" fmla="*/ 1500 h 1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96" h="1522">
                      <a:moveTo>
                        <a:pt x="1447" y="15"/>
                      </a:moveTo>
                      <a:cubicBezTo>
                        <a:pt x="1495" y="587"/>
                        <a:pt x="1495" y="587"/>
                        <a:pt x="1495" y="587"/>
                      </a:cubicBezTo>
                      <a:cubicBezTo>
                        <a:pt x="1496" y="596"/>
                        <a:pt x="1488" y="604"/>
                        <a:pt x="1479" y="604"/>
                      </a:cubicBezTo>
                      <a:cubicBezTo>
                        <a:pt x="1177" y="604"/>
                        <a:pt x="1177" y="604"/>
                        <a:pt x="1177" y="604"/>
                      </a:cubicBezTo>
                      <a:cubicBezTo>
                        <a:pt x="1167" y="604"/>
                        <a:pt x="1160" y="596"/>
                        <a:pt x="1161" y="587"/>
                      </a:cubicBezTo>
                      <a:cubicBezTo>
                        <a:pt x="1209" y="15"/>
                        <a:pt x="1209" y="15"/>
                        <a:pt x="1209" y="15"/>
                      </a:cubicBezTo>
                      <a:cubicBezTo>
                        <a:pt x="1210" y="6"/>
                        <a:pt x="1217" y="0"/>
                        <a:pt x="1225" y="0"/>
                      </a:cubicBezTo>
                      <a:cubicBezTo>
                        <a:pt x="1431" y="0"/>
                        <a:pt x="1431" y="0"/>
                        <a:pt x="1431" y="0"/>
                      </a:cubicBezTo>
                      <a:cubicBezTo>
                        <a:pt x="1439" y="0"/>
                        <a:pt x="1446" y="6"/>
                        <a:pt x="1447" y="15"/>
                      </a:cubicBezTo>
                      <a:close/>
                      <a:moveTo>
                        <a:pt x="194" y="915"/>
                      </a:moveTo>
                      <a:cubicBezTo>
                        <a:pt x="194" y="862"/>
                        <a:pt x="151" y="818"/>
                        <a:pt x="97" y="818"/>
                      </a:cubicBezTo>
                      <a:cubicBezTo>
                        <a:pt x="43" y="818"/>
                        <a:pt x="0" y="862"/>
                        <a:pt x="0" y="915"/>
                      </a:cubicBezTo>
                      <a:cubicBezTo>
                        <a:pt x="0" y="969"/>
                        <a:pt x="43" y="1013"/>
                        <a:pt x="97" y="1013"/>
                      </a:cubicBezTo>
                      <a:cubicBezTo>
                        <a:pt x="151" y="1013"/>
                        <a:pt x="194" y="969"/>
                        <a:pt x="194" y="915"/>
                      </a:cubicBezTo>
                      <a:close/>
                      <a:moveTo>
                        <a:pt x="150" y="915"/>
                      </a:moveTo>
                      <a:cubicBezTo>
                        <a:pt x="150" y="945"/>
                        <a:pt x="126" y="969"/>
                        <a:pt x="97" y="969"/>
                      </a:cubicBezTo>
                      <a:cubicBezTo>
                        <a:pt x="68" y="969"/>
                        <a:pt x="44" y="945"/>
                        <a:pt x="44" y="915"/>
                      </a:cubicBezTo>
                      <a:cubicBezTo>
                        <a:pt x="44" y="886"/>
                        <a:pt x="68" y="862"/>
                        <a:pt x="97" y="862"/>
                      </a:cubicBezTo>
                      <a:cubicBezTo>
                        <a:pt x="126" y="862"/>
                        <a:pt x="150" y="886"/>
                        <a:pt x="150" y="915"/>
                      </a:cubicBezTo>
                      <a:close/>
                      <a:moveTo>
                        <a:pt x="371" y="991"/>
                      </a:moveTo>
                      <a:cubicBezTo>
                        <a:pt x="371" y="840"/>
                        <a:pt x="371" y="840"/>
                        <a:pt x="371" y="840"/>
                      </a:cubicBezTo>
                      <a:cubicBezTo>
                        <a:pt x="371" y="828"/>
                        <a:pt x="361" y="818"/>
                        <a:pt x="349" y="818"/>
                      </a:cubicBezTo>
                      <a:cubicBezTo>
                        <a:pt x="336" y="818"/>
                        <a:pt x="327" y="828"/>
                        <a:pt x="327" y="840"/>
                      </a:cubicBezTo>
                      <a:cubicBezTo>
                        <a:pt x="327" y="991"/>
                        <a:pt x="327" y="991"/>
                        <a:pt x="327" y="991"/>
                      </a:cubicBezTo>
                      <a:cubicBezTo>
                        <a:pt x="327" y="1003"/>
                        <a:pt x="336" y="1013"/>
                        <a:pt x="349" y="1013"/>
                      </a:cubicBezTo>
                      <a:cubicBezTo>
                        <a:pt x="361" y="1013"/>
                        <a:pt x="371" y="1003"/>
                        <a:pt x="371" y="991"/>
                      </a:cubicBezTo>
                      <a:close/>
                      <a:moveTo>
                        <a:pt x="698" y="915"/>
                      </a:moveTo>
                      <a:cubicBezTo>
                        <a:pt x="698" y="862"/>
                        <a:pt x="654" y="818"/>
                        <a:pt x="600" y="818"/>
                      </a:cubicBezTo>
                      <a:cubicBezTo>
                        <a:pt x="546" y="818"/>
                        <a:pt x="503" y="862"/>
                        <a:pt x="503" y="915"/>
                      </a:cubicBezTo>
                      <a:cubicBezTo>
                        <a:pt x="503" y="969"/>
                        <a:pt x="546" y="1013"/>
                        <a:pt x="600" y="1013"/>
                      </a:cubicBezTo>
                      <a:cubicBezTo>
                        <a:pt x="654" y="1013"/>
                        <a:pt x="698" y="969"/>
                        <a:pt x="698" y="915"/>
                      </a:cubicBezTo>
                      <a:close/>
                      <a:moveTo>
                        <a:pt x="654" y="915"/>
                      </a:moveTo>
                      <a:cubicBezTo>
                        <a:pt x="654" y="945"/>
                        <a:pt x="630" y="969"/>
                        <a:pt x="600" y="969"/>
                      </a:cubicBezTo>
                      <a:cubicBezTo>
                        <a:pt x="571" y="969"/>
                        <a:pt x="547" y="945"/>
                        <a:pt x="547" y="915"/>
                      </a:cubicBezTo>
                      <a:cubicBezTo>
                        <a:pt x="547" y="886"/>
                        <a:pt x="571" y="862"/>
                        <a:pt x="600" y="862"/>
                      </a:cubicBezTo>
                      <a:cubicBezTo>
                        <a:pt x="630" y="862"/>
                        <a:pt x="654" y="886"/>
                        <a:pt x="654" y="915"/>
                      </a:cubicBezTo>
                      <a:close/>
                      <a:moveTo>
                        <a:pt x="874" y="991"/>
                      </a:moveTo>
                      <a:cubicBezTo>
                        <a:pt x="874" y="840"/>
                        <a:pt x="874" y="840"/>
                        <a:pt x="874" y="840"/>
                      </a:cubicBezTo>
                      <a:cubicBezTo>
                        <a:pt x="874" y="828"/>
                        <a:pt x="864" y="818"/>
                        <a:pt x="852" y="818"/>
                      </a:cubicBezTo>
                      <a:cubicBezTo>
                        <a:pt x="840" y="818"/>
                        <a:pt x="830" y="828"/>
                        <a:pt x="830" y="840"/>
                      </a:cubicBezTo>
                      <a:cubicBezTo>
                        <a:pt x="830" y="991"/>
                        <a:pt x="830" y="991"/>
                        <a:pt x="830" y="991"/>
                      </a:cubicBezTo>
                      <a:cubicBezTo>
                        <a:pt x="830" y="1003"/>
                        <a:pt x="840" y="1013"/>
                        <a:pt x="852" y="1013"/>
                      </a:cubicBezTo>
                      <a:cubicBezTo>
                        <a:pt x="864" y="1013"/>
                        <a:pt x="874" y="1003"/>
                        <a:pt x="874" y="991"/>
                      </a:cubicBezTo>
                      <a:close/>
                      <a:moveTo>
                        <a:pt x="1125" y="991"/>
                      </a:moveTo>
                      <a:cubicBezTo>
                        <a:pt x="1125" y="840"/>
                        <a:pt x="1125" y="840"/>
                        <a:pt x="1125" y="840"/>
                      </a:cubicBezTo>
                      <a:cubicBezTo>
                        <a:pt x="1125" y="828"/>
                        <a:pt x="1116" y="818"/>
                        <a:pt x="1103" y="818"/>
                      </a:cubicBezTo>
                      <a:cubicBezTo>
                        <a:pt x="1091" y="818"/>
                        <a:pt x="1081" y="828"/>
                        <a:pt x="1081" y="840"/>
                      </a:cubicBezTo>
                      <a:cubicBezTo>
                        <a:pt x="1081" y="991"/>
                        <a:pt x="1081" y="991"/>
                        <a:pt x="1081" y="991"/>
                      </a:cubicBezTo>
                      <a:cubicBezTo>
                        <a:pt x="1081" y="1003"/>
                        <a:pt x="1091" y="1013"/>
                        <a:pt x="1103" y="1013"/>
                      </a:cubicBezTo>
                      <a:cubicBezTo>
                        <a:pt x="1116" y="1013"/>
                        <a:pt x="1125" y="1003"/>
                        <a:pt x="1125" y="991"/>
                      </a:cubicBezTo>
                      <a:close/>
                      <a:moveTo>
                        <a:pt x="194" y="1170"/>
                      </a:moveTo>
                      <a:cubicBezTo>
                        <a:pt x="194" y="1116"/>
                        <a:pt x="151" y="1073"/>
                        <a:pt x="97" y="1073"/>
                      </a:cubicBezTo>
                      <a:cubicBezTo>
                        <a:pt x="43" y="1073"/>
                        <a:pt x="0" y="1116"/>
                        <a:pt x="0" y="1170"/>
                      </a:cubicBezTo>
                      <a:cubicBezTo>
                        <a:pt x="0" y="1224"/>
                        <a:pt x="43" y="1267"/>
                        <a:pt x="97" y="1267"/>
                      </a:cubicBezTo>
                      <a:cubicBezTo>
                        <a:pt x="151" y="1267"/>
                        <a:pt x="194" y="1224"/>
                        <a:pt x="194" y="1170"/>
                      </a:cubicBezTo>
                      <a:close/>
                      <a:moveTo>
                        <a:pt x="150" y="1170"/>
                      </a:moveTo>
                      <a:cubicBezTo>
                        <a:pt x="150" y="1199"/>
                        <a:pt x="126" y="1223"/>
                        <a:pt x="97" y="1223"/>
                      </a:cubicBezTo>
                      <a:cubicBezTo>
                        <a:pt x="68" y="1223"/>
                        <a:pt x="44" y="1199"/>
                        <a:pt x="44" y="1170"/>
                      </a:cubicBezTo>
                      <a:cubicBezTo>
                        <a:pt x="44" y="1141"/>
                        <a:pt x="68" y="1117"/>
                        <a:pt x="97" y="1117"/>
                      </a:cubicBezTo>
                      <a:cubicBezTo>
                        <a:pt x="126" y="1117"/>
                        <a:pt x="150" y="1141"/>
                        <a:pt x="150" y="1170"/>
                      </a:cubicBezTo>
                      <a:close/>
                      <a:moveTo>
                        <a:pt x="446" y="1170"/>
                      </a:moveTo>
                      <a:cubicBezTo>
                        <a:pt x="446" y="1116"/>
                        <a:pt x="402" y="1073"/>
                        <a:pt x="349" y="1073"/>
                      </a:cubicBezTo>
                      <a:cubicBezTo>
                        <a:pt x="295" y="1073"/>
                        <a:pt x="251" y="1116"/>
                        <a:pt x="251" y="1170"/>
                      </a:cubicBezTo>
                      <a:cubicBezTo>
                        <a:pt x="251" y="1224"/>
                        <a:pt x="295" y="1267"/>
                        <a:pt x="349" y="1267"/>
                      </a:cubicBezTo>
                      <a:cubicBezTo>
                        <a:pt x="402" y="1267"/>
                        <a:pt x="446" y="1224"/>
                        <a:pt x="446" y="1170"/>
                      </a:cubicBezTo>
                      <a:close/>
                      <a:moveTo>
                        <a:pt x="402" y="1170"/>
                      </a:moveTo>
                      <a:cubicBezTo>
                        <a:pt x="402" y="1199"/>
                        <a:pt x="378" y="1223"/>
                        <a:pt x="349" y="1223"/>
                      </a:cubicBezTo>
                      <a:cubicBezTo>
                        <a:pt x="319" y="1223"/>
                        <a:pt x="295" y="1199"/>
                        <a:pt x="295" y="1170"/>
                      </a:cubicBezTo>
                      <a:cubicBezTo>
                        <a:pt x="295" y="1141"/>
                        <a:pt x="319" y="1117"/>
                        <a:pt x="349" y="1117"/>
                      </a:cubicBezTo>
                      <a:cubicBezTo>
                        <a:pt x="378" y="1117"/>
                        <a:pt x="402" y="1141"/>
                        <a:pt x="402" y="1170"/>
                      </a:cubicBezTo>
                      <a:close/>
                      <a:moveTo>
                        <a:pt x="949" y="1170"/>
                      </a:moveTo>
                      <a:cubicBezTo>
                        <a:pt x="949" y="1116"/>
                        <a:pt x="906" y="1073"/>
                        <a:pt x="852" y="1073"/>
                      </a:cubicBezTo>
                      <a:cubicBezTo>
                        <a:pt x="798" y="1073"/>
                        <a:pt x="754" y="1116"/>
                        <a:pt x="754" y="1170"/>
                      </a:cubicBezTo>
                      <a:cubicBezTo>
                        <a:pt x="754" y="1224"/>
                        <a:pt x="798" y="1267"/>
                        <a:pt x="852" y="1267"/>
                      </a:cubicBezTo>
                      <a:cubicBezTo>
                        <a:pt x="906" y="1267"/>
                        <a:pt x="949" y="1224"/>
                        <a:pt x="949" y="1170"/>
                      </a:cubicBezTo>
                      <a:close/>
                      <a:moveTo>
                        <a:pt x="905" y="1170"/>
                      </a:moveTo>
                      <a:cubicBezTo>
                        <a:pt x="905" y="1199"/>
                        <a:pt x="881" y="1223"/>
                        <a:pt x="852" y="1223"/>
                      </a:cubicBezTo>
                      <a:cubicBezTo>
                        <a:pt x="822" y="1223"/>
                        <a:pt x="798" y="1199"/>
                        <a:pt x="798" y="1170"/>
                      </a:cubicBezTo>
                      <a:cubicBezTo>
                        <a:pt x="798" y="1141"/>
                        <a:pt x="822" y="1117"/>
                        <a:pt x="852" y="1117"/>
                      </a:cubicBezTo>
                      <a:cubicBezTo>
                        <a:pt x="881" y="1117"/>
                        <a:pt x="905" y="1141"/>
                        <a:pt x="905" y="1170"/>
                      </a:cubicBezTo>
                      <a:close/>
                      <a:moveTo>
                        <a:pt x="622" y="1245"/>
                      </a:moveTo>
                      <a:cubicBezTo>
                        <a:pt x="622" y="1095"/>
                        <a:pt x="622" y="1095"/>
                        <a:pt x="622" y="1095"/>
                      </a:cubicBezTo>
                      <a:cubicBezTo>
                        <a:pt x="622" y="1082"/>
                        <a:pt x="612" y="1073"/>
                        <a:pt x="600" y="1073"/>
                      </a:cubicBezTo>
                      <a:cubicBezTo>
                        <a:pt x="588" y="1073"/>
                        <a:pt x="578" y="1082"/>
                        <a:pt x="578" y="1095"/>
                      </a:cubicBezTo>
                      <a:cubicBezTo>
                        <a:pt x="578" y="1245"/>
                        <a:pt x="578" y="1245"/>
                        <a:pt x="578" y="1245"/>
                      </a:cubicBezTo>
                      <a:cubicBezTo>
                        <a:pt x="578" y="1258"/>
                        <a:pt x="588" y="1267"/>
                        <a:pt x="600" y="1267"/>
                      </a:cubicBezTo>
                      <a:cubicBezTo>
                        <a:pt x="612" y="1267"/>
                        <a:pt x="622" y="1258"/>
                        <a:pt x="622" y="1245"/>
                      </a:cubicBezTo>
                      <a:close/>
                      <a:moveTo>
                        <a:pt x="1125" y="1245"/>
                      </a:moveTo>
                      <a:cubicBezTo>
                        <a:pt x="1125" y="1095"/>
                        <a:pt x="1125" y="1095"/>
                        <a:pt x="1125" y="1095"/>
                      </a:cubicBezTo>
                      <a:cubicBezTo>
                        <a:pt x="1125" y="1082"/>
                        <a:pt x="1116" y="1073"/>
                        <a:pt x="1103" y="1073"/>
                      </a:cubicBezTo>
                      <a:cubicBezTo>
                        <a:pt x="1091" y="1073"/>
                        <a:pt x="1081" y="1082"/>
                        <a:pt x="1081" y="1095"/>
                      </a:cubicBezTo>
                      <a:cubicBezTo>
                        <a:pt x="1081" y="1245"/>
                        <a:pt x="1081" y="1245"/>
                        <a:pt x="1081" y="1245"/>
                      </a:cubicBezTo>
                      <a:cubicBezTo>
                        <a:pt x="1081" y="1258"/>
                        <a:pt x="1091" y="1267"/>
                        <a:pt x="1103" y="1267"/>
                      </a:cubicBezTo>
                      <a:cubicBezTo>
                        <a:pt x="1116" y="1267"/>
                        <a:pt x="1125" y="1258"/>
                        <a:pt x="1125" y="1245"/>
                      </a:cubicBezTo>
                      <a:close/>
                      <a:moveTo>
                        <a:pt x="446" y="1425"/>
                      </a:moveTo>
                      <a:cubicBezTo>
                        <a:pt x="446" y="1371"/>
                        <a:pt x="402" y="1327"/>
                        <a:pt x="349" y="1327"/>
                      </a:cubicBezTo>
                      <a:cubicBezTo>
                        <a:pt x="295" y="1327"/>
                        <a:pt x="251" y="1371"/>
                        <a:pt x="251" y="1425"/>
                      </a:cubicBezTo>
                      <a:cubicBezTo>
                        <a:pt x="251" y="1478"/>
                        <a:pt x="295" y="1522"/>
                        <a:pt x="349" y="1522"/>
                      </a:cubicBezTo>
                      <a:cubicBezTo>
                        <a:pt x="402" y="1522"/>
                        <a:pt x="446" y="1478"/>
                        <a:pt x="446" y="1425"/>
                      </a:cubicBezTo>
                      <a:close/>
                      <a:moveTo>
                        <a:pt x="402" y="1425"/>
                      </a:moveTo>
                      <a:cubicBezTo>
                        <a:pt x="402" y="1454"/>
                        <a:pt x="378" y="1478"/>
                        <a:pt x="349" y="1478"/>
                      </a:cubicBezTo>
                      <a:cubicBezTo>
                        <a:pt x="319" y="1478"/>
                        <a:pt x="295" y="1454"/>
                        <a:pt x="295" y="1425"/>
                      </a:cubicBezTo>
                      <a:cubicBezTo>
                        <a:pt x="295" y="1395"/>
                        <a:pt x="319" y="1371"/>
                        <a:pt x="349" y="1371"/>
                      </a:cubicBezTo>
                      <a:cubicBezTo>
                        <a:pt x="378" y="1371"/>
                        <a:pt x="402" y="1395"/>
                        <a:pt x="402" y="1425"/>
                      </a:cubicBezTo>
                      <a:close/>
                      <a:moveTo>
                        <a:pt x="1201" y="1425"/>
                      </a:moveTo>
                      <a:cubicBezTo>
                        <a:pt x="1201" y="1371"/>
                        <a:pt x="1157" y="1327"/>
                        <a:pt x="1103" y="1327"/>
                      </a:cubicBezTo>
                      <a:cubicBezTo>
                        <a:pt x="1050" y="1327"/>
                        <a:pt x="1006" y="1371"/>
                        <a:pt x="1006" y="1425"/>
                      </a:cubicBezTo>
                      <a:cubicBezTo>
                        <a:pt x="1006" y="1478"/>
                        <a:pt x="1050" y="1522"/>
                        <a:pt x="1103" y="1522"/>
                      </a:cubicBezTo>
                      <a:cubicBezTo>
                        <a:pt x="1157" y="1522"/>
                        <a:pt x="1201" y="1478"/>
                        <a:pt x="1201" y="1425"/>
                      </a:cubicBezTo>
                      <a:close/>
                      <a:moveTo>
                        <a:pt x="1157" y="1425"/>
                      </a:moveTo>
                      <a:cubicBezTo>
                        <a:pt x="1157" y="1454"/>
                        <a:pt x="1133" y="1478"/>
                        <a:pt x="1103" y="1478"/>
                      </a:cubicBezTo>
                      <a:cubicBezTo>
                        <a:pt x="1074" y="1478"/>
                        <a:pt x="1050" y="1454"/>
                        <a:pt x="1050" y="1425"/>
                      </a:cubicBezTo>
                      <a:cubicBezTo>
                        <a:pt x="1050" y="1395"/>
                        <a:pt x="1074" y="1371"/>
                        <a:pt x="1103" y="1371"/>
                      </a:cubicBezTo>
                      <a:cubicBezTo>
                        <a:pt x="1133" y="1371"/>
                        <a:pt x="1157" y="1395"/>
                        <a:pt x="1157" y="1425"/>
                      </a:cubicBezTo>
                      <a:close/>
                      <a:moveTo>
                        <a:pt x="622" y="1500"/>
                      </a:moveTo>
                      <a:cubicBezTo>
                        <a:pt x="622" y="1349"/>
                        <a:pt x="622" y="1349"/>
                        <a:pt x="622" y="1349"/>
                      </a:cubicBezTo>
                      <a:cubicBezTo>
                        <a:pt x="622" y="1337"/>
                        <a:pt x="612" y="1327"/>
                        <a:pt x="600" y="1327"/>
                      </a:cubicBezTo>
                      <a:cubicBezTo>
                        <a:pt x="588" y="1327"/>
                        <a:pt x="578" y="1337"/>
                        <a:pt x="578" y="1349"/>
                      </a:cubicBezTo>
                      <a:cubicBezTo>
                        <a:pt x="578" y="1500"/>
                        <a:pt x="578" y="1500"/>
                        <a:pt x="578" y="1500"/>
                      </a:cubicBezTo>
                      <a:cubicBezTo>
                        <a:pt x="578" y="1512"/>
                        <a:pt x="588" y="1522"/>
                        <a:pt x="600" y="1522"/>
                      </a:cubicBezTo>
                      <a:cubicBezTo>
                        <a:pt x="612" y="1522"/>
                        <a:pt x="622" y="1512"/>
                        <a:pt x="622" y="1500"/>
                      </a:cubicBezTo>
                      <a:close/>
                      <a:moveTo>
                        <a:pt x="119" y="1500"/>
                      </a:moveTo>
                      <a:cubicBezTo>
                        <a:pt x="119" y="1349"/>
                        <a:pt x="119" y="1349"/>
                        <a:pt x="119" y="1349"/>
                      </a:cubicBezTo>
                      <a:cubicBezTo>
                        <a:pt x="119" y="1337"/>
                        <a:pt x="109" y="1327"/>
                        <a:pt x="97" y="1327"/>
                      </a:cubicBezTo>
                      <a:cubicBezTo>
                        <a:pt x="85" y="1327"/>
                        <a:pt x="75" y="1337"/>
                        <a:pt x="75" y="1349"/>
                      </a:cubicBezTo>
                      <a:cubicBezTo>
                        <a:pt x="75" y="1500"/>
                        <a:pt x="75" y="1500"/>
                        <a:pt x="75" y="1500"/>
                      </a:cubicBezTo>
                      <a:cubicBezTo>
                        <a:pt x="75" y="1512"/>
                        <a:pt x="85" y="1522"/>
                        <a:pt x="97" y="1522"/>
                      </a:cubicBezTo>
                      <a:cubicBezTo>
                        <a:pt x="109" y="1522"/>
                        <a:pt x="119" y="1512"/>
                        <a:pt x="119" y="1500"/>
                      </a:cubicBezTo>
                      <a:close/>
                      <a:moveTo>
                        <a:pt x="874" y="1500"/>
                      </a:moveTo>
                      <a:cubicBezTo>
                        <a:pt x="874" y="1349"/>
                        <a:pt x="874" y="1349"/>
                        <a:pt x="874" y="1349"/>
                      </a:cubicBezTo>
                      <a:cubicBezTo>
                        <a:pt x="874" y="1337"/>
                        <a:pt x="864" y="1327"/>
                        <a:pt x="852" y="1327"/>
                      </a:cubicBezTo>
                      <a:cubicBezTo>
                        <a:pt x="840" y="1327"/>
                        <a:pt x="830" y="1337"/>
                        <a:pt x="830" y="1349"/>
                      </a:cubicBezTo>
                      <a:cubicBezTo>
                        <a:pt x="830" y="1500"/>
                        <a:pt x="830" y="1500"/>
                        <a:pt x="830" y="1500"/>
                      </a:cubicBezTo>
                      <a:cubicBezTo>
                        <a:pt x="830" y="1512"/>
                        <a:pt x="840" y="1522"/>
                        <a:pt x="852" y="1522"/>
                      </a:cubicBezTo>
                      <a:cubicBezTo>
                        <a:pt x="864" y="1522"/>
                        <a:pt x="874" y="1512"/>
                        <a:pt x="874" y="1500"/>
                      </a:cubicBezTo>
                      <a:close/>
                      <a:moveTo>
                        <a:pt x="1377" y="991"/>
                      </a:moveTo>
                      <a:cubicBezTo>
                        <a:pt x="1377" y="840"/>
                        <a:pt x="1377" y="840"/>
                        <a:pt x="1377" y="840"/>
                      </a:cubicBezTo>
                      <a:cubicBezTo>
                        <a:pt x="1377" y="828"/>
                        <a:pt x="1367" y="818"/>
                        <a:pt x="1355" y="818"/>
                      </a:cubicBezTo>
                      <a:cubicBezTo>
                        <a:pt x="1343" y="818"/>
                        <a:pt x="1333" y="828"/>
                        <a:pt x="1333" y="840"/>
                      </a:cubicBezTo>
                      <a:cubicBezTo>
                        <a:pt x="1333" y="991"/>
                        <a:pt x="1333" y="991"/>
                        <a:pt x="1333" y="991"/>
                      </a:cubicBezTo>
                      <a:cubicBezTo>
                        <a:pt x="1333" y="1003"/>
                        <a:pt x="1343" y="1013"/>
                        <a:pt x="1355" y="1013"/>
                      </a:cubicBezTo>
                      <a:cubicBezTo>
                        <a:pt x="1367" y="1013"/>
                        <a:pt x="1377" y="1003"/>
                        <a:pt x="1377" y="991"/>
                      </a:cubicBezTo>
                      <a:close/>
                      <a:moveTo>
                        <a:pt x="1452" y="1170"/>
                      </a:moveTo>
                      <a:cubicBezTo>
                        <a:pt x="1452" y="1116"/>
                        <a:pt x="1409" y="1073"/>
                        <a:pt x="1355" y="1073"/>
                      </a:cubicBezTo>
                      <a:cubicBezTo>
                        <a:pt x="1301" y="1073"/>
                        <a:pt x="1258" y="1116"/>
                        <a:pt x="1258" y="1170"/>
                      </a:cubicBezTo>
                      <a:cubicBezTo>
                        <a:pt x="1258" y="1224"/>
                        <a:pt x="1301" y="1267"/>
                        <a:pt x="1355" y="1267"/>
                      </a:cubicBezTo>
                      <a:cubicBezTo>
                        <a:pt x="1409" y="1267"/>
                        <a:pt x="1452" y="1224"/>
                        <a:pt x="1452" y="1170"/>
                      </a:cubicBezTo>
                      <a:close/>
                      <a:moveTo>
                        <a:pt x="1408" y="1170"/>
                      </a:moveTo>
                      <a:cubicBezTo>
                        <a:pt x="1408" y="1199"/>
                        <a:pt x="1384" y="1223"/>
                        <a:pt x="1355" y="1223"/>
                      </a:cubicBezTo>
                      <a:cubicBezTo>
                        <a:pt x="1326" y="1223"/>
                        <a:pt x="1302" y="1199"/>
                        <a:pt x="1302" y="1170"/>
                      </a:cubicBezTo>
                      <a:cubicBezTo>
                        <a:pt x="1302" y="1141"/>
                        <a:pt x="1326" y="1117"/>
                        <a:pt x="1355" y="1117"/>
                      </a:cubicBezTo>
                      <a:cubicBezTo>
                        <a:pt x="1384" y="1117"/>
                        <a:pt x="1408" y="1141"/>
                        <a:pt x="1408" y="1170"/>
                      </a:cubicBezTo>
                      <a:close/>
                      <a:moveTo>
                        <a:pt x="1377" y="1500"/>
                      </a:moveTo>
                      <a:cubicBezTo>
                        <a:pt x="1377" y="1349"/>
                        <a:pt x="1377" y="1349"/>
                        <a:pt x="1377" y="1349"/>
                      </a:cubicBezTo>
                      <a:cubicBezTo>
                        <a:pt x="1377" y="1337"/>
                        <a:pt x="1367" y="1327"/>
                        <a:pt x="1355" y="1327"/>
                      </a:cubicBezTo>
                      <a:cubicBezTo>
                        <a:pt x="1343" y="1327"/>
                        <a:pt x="1333" y="1337"/>
                        <a:pt x="1333" y="1349"/>
                      </a:cubicBezTo>
                      <a:cubicBezTo>
                        <a:pt x="1333" y="1500"/>
                        <a:pt x="1333" y="1500"/>
                        <a:pt x="1333" y="1500"/>
                      </a:cubicBezTo>
                      <a:cubicBezTo>
                        <a:pt x="1333" y="1512"/>
                        <a:pt x="1343" y="1522"/>
                        <a:pt x="1355" y="1522"/>
                      </a:cubicBezTo>
                      <a:cubicBezTo>
                        <a:pt x="1367" y="1522"/>
                        <a:pt x="1377" y="1512"/>
                        <a:pt x="1377" y="1500"/>
                      </a:cubicBezTo>
                      <a:close/>
                    </a:path>
                  </a:pathLst>
                </a:custGeom>
                <a:solidFill>
                  <a:srgbClr val="082F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23043" tIns="11522" rIns="23043" bIns="11522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A013D5C-3AA9-2FEC-7AAD-2B6DDDB41132}"/>
              </a:ext>
            </a:extLst>
          </p:cNvPr>
          <p:cNvGrpSpPr/>
          <p:nvPr/>
        </p:nvGrpSpPr>
        <p:grpSpPr>
          <a:xfrm>
            <a:off x="7105084" y="1044677"/>
            <a:ext cx="4463053" cy="2615256"/>
            <a:chOff x="7025741" y="357971"/>
            <a:chExt cx="4463053" cy="2615256"/>
          </a:xfrm>
        </p:grpSpPr>
        <p:sp>
          <p:nvSpPr>
            <p:cNvPr id="5" name="ee4pHeader1">
              <a:extLst>
                <a:ext uri="{FF2B5EF4-FFF2-40B4-BE49-F238E27FC236}">
                  <a16:creationId xmlns:a16="http://schemas.microsoft.com/office/drawing/2014/main" id="{8E5843AD-2BE5-3BB0-41FF-BC825E280FB6}"/>
                </a:ext>
              </a:extLst>
            </p:cNvPr>
            <p:cNvSpPr txBox="1"/>
            <p:nvPr/>
          </p:nvSpPr>
          <p:spPr>
            <a:xfrm>
              <a:off x="7025741" y="456776"/>
              <a:ext cx="3790950" cy="51002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9525" cap="rnd" cmpd="sng" algn="ctr">
              <a:solidFill>
                <a:srgbClr val="082F3B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640080" tIns="0" rIns="0" bIns="0" rtlCol="0" anchor="ctr" anchorCtr="0">
              <a:noAutofit/>
            </a:bodyPr>
            <a:lstStyle>
              <a:defPPr>
                <a:defRPr lang="en-US"/>
              </a:defPPr>
              <a:lvl4pPr marL="0" lvl="3">
                <a:defRPr sz="1200" b="1">
                  <a:solidFill>
                    <a:srgbClr val="FFFFFF"/>
                  </a:solidFill>
                  <a:latin typeface="Arial" panose="020B0604020202020204" pitchFamily="34" charset="0"/>
                </a:defRPr>
              </a:lvl4pPr>
            </a:lstStyle>
            <a:p>
              <a:pPr lvl="3"/>
              <a:r>
                <a:rPr lang="en-US" dirty="0"/>
                <a:t>     </a:t>
              </a:r>
              <a:r>
                <a:rPr lang="en-US" sz="1600" dirty="0">
                  <a:latin typeface="Raleway" pitchFamily="2" charset="0"/>
                </a:rPr>
                <a:t>Technology provider</a:t>
              </a:r>
              <a:endParaRPr lang="en-US" dirty="0">
                <a:latin typeface="Raleway" pitchFamily="2" charset="0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A0F5CB4-98BC-970A-DD1F-38A5D990C2C1}"/>
                </a:ext>
              </a:extLst>
            </p:cNvPr>
            <p:cNvGrpSpPr/>
            <p:nvPr/>
          </p:nvGrpSpPr>
          <p:grpSpPr>
            <a:xfrm>
              <a:off x="7025741" y="357971"/>
              <a:ext cx="674061" cy="674685"/>
              <a:chOff x="1662699" y="1463962"/>
              <a:chExt cx="674061" cy="674685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FCCCF4BC-7B5D-5395-C648-8A3B983132D4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1662699" y="1463962"/>
                <a:ext cx="674061" cy="674685"/>
              </a:xfrm>
              <a:prstGeom prst="ellipse">
                <a:avLst/>
              </a:prstGeom>
              <a:solidFill>
                <a:srgbClr val="FFFFFF"/>
              </a:solidFill>
              <a:ln w="19050" cap="flat" cmpd="sng" algn="ctr">
                <a:gradFill flip="none" rotWithShape="1">
                  <a:gsLst>
                    <a:gs pos="100000">
                      <a:srgbClr val="1B9EC7"/>
                    </a:gs>
                    <a:gs pos="21000">
                      <a:srgbClr val="082F3B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/>
                <a:endParaRPr lang="en-US" sz="1200" kern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8" name="bcgIcons_DigitalFactory">
                <a:extLst>
                  <a:ext uri="{FF2B5EF4-FFF2-40B4-BE49-F238E27FC236}">
                    <a16:creationId xmlns:a16="http://schemas.microsoft.com/office/drawing/2014/main" id="{E32ABF22-1E03-E8B2-BB0F-F2335AE2446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761413" y="1562767"/>
                <a:ext cx="476633" cy="477074"/>
                <a:chOff x="1682" y="0"/>
                <a:chExt cx="4316" cy="4320"/>
              </a:xfrm>
            </p:grpSpPr>
            <p:sp>
              <p:nvSpPr>
                <p:cNvPr id="9" name="AutoShape 33">
                  <a:extLst>
                    <a:ext uri="{FF2B5EF4-FFF2-40B4-BE49-F238E27FC236}">
                      <a16:creationId xmlns:a16="http://schemas.microsoft.com/office/drawing/2014/main" id="{36A5D6A1-5C5F-A845-7E2F-B882FAD4469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16130" tIns="8065" rIns="16130" bIns="806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Freeform 35">
                  <a:extLst>
                    <a:ext uri="{FF2B5EF4-FFF2-40B4-BE49-F238E27FC236}">
                      <a16:creationId xmlns:a16="http://schemas.microsoft.com/office/drawing/2014/main" id="{340FAAA4-CA6B-B77F-E671-6C18035A61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30" y="1303"/>
                  <a:ext cx="3620" cy="2571"/>
                </a:xfrm>
                <a:custGeom>
                  <a:avLst/>
                  <a:gdLst>
                    <a:gd name="T0" fmla="*/ 1910 w 1932"/>
                    <a:gd name="T1" fmla="*/ 1227 h 1371"/>
                    <a:gd name="T2" fmla="*/ 1834 w 1932"/>
                    <a:gd name="T3" fmla="*/ 1227 h 1371"/>
                    <a:gd name="T4" fmla="*/ 1834 w 1932"/>
                    <a:gd name="T5" fmla="*/ 1190 h 1371"/>
                    <a:gd name="T6" fmla="*/ 1812 w 1932"/>
                    <a:gd name="T7" fmla="*/ 1168 h 1371"/>
                    <a:gd name="T8" fmla="*/ 120 w 1932"/>
                    <a:gd name="T9" fmla="*/ 1168 h 1371"/>
                    <a:gd name="T10" fmla="*/ 98 w 1932"/>
                    <a:gd name="T11" fmla="*/ 1190 h 1371"/>
                    <a:gd name="T12" fmla="*/ 98 w 1932"/>
                    <a:gd name="T13" fmla="*/ 1227 h 1371"/>
                    <a:gd name="T14" fmla="*/ 22 w 1932"/>
                    <a:gd name="T15" fmla="*/ 1227 h 1371"/>
                    <a:gd name="T16" fmla="*/ 0 w 1932"/>
                    <a:gd name="T17" fmla="*/ 1249 h 1371"/>
                    <a:gd name="T18" fmla="*/ 0 w 1932"/>
                    <a:gd name="T19" fmla="*/ 1349 h 1371"/>
                    <a:gd name="T20" fmla="*/ 22 w 1932"/>
                    <a:gd name="T21" fmla="*/ 1371 h 1371"/>
                    <a:gd name="T22" fmla="*/ 1910 w 1932"/>
                    <a:gd name="T23" fmla="*/ 1371 h 1371"/>
                    <a:gd name="T24" fmla="*/ 1932 w 1932"/>
                    <a:gd name="T25" fmla="*/ 1349 h 1371"/>
                    <a:gd name="T26" fmla="*/ 1932 w 1932"/>
                    <a:gd name="T27" fmla="*/ 1249 h 1371"/>
                    <a:gd name="T28" fmla="*/ 1910 w 1932"/>
                    <a:gd name="T29" fmla="*/ 1227 h 1371"/>
                    <a:gd name="T30" fmla="*/ 1812 w 1932"/>
                    <a:gd name="T31" fmla="*/ 1124 h 1371"/>
                    <a:gd name="T32" fmla="*/ 1768 w 1932"/>
                    <a:gd name="T33" fmla="*/ 1124 h 1371"/>
                    <a:gd name="T34" fmla="*/ 1768 w 1932"/>
                    <a:gd name="T35" fmla="*/ 235 h 1371"/>
                    <a:gd name="T36" fmla="*/ 1282 w 1932"/>
                    <a:gd name="T37" fmla="*/ 235 h 1371"/>
                    <a:gd name="T38" fmla="*/ 1275 w 1932"/>
                    <a:gd name="T39" fmla="*/ 234 h 1371"/>
                    <a:gd name="T40" fmla="*/ 728 w 1932"/>
                    <a:gd name="T41" fmla="*/ 53 h 1371"/>
                    <a:gd name="T42" fmla="*/ 728 w 1932"/>
                    <a:gd name="T43" fmla="*/ 211 h 1371"/>
                    <a:gd name="T44" fmla="*/ 719 w 1932"/>
                    <a:gd name="T45" fmla="*/ 229 h 1371"/>
                    <a:gd name="T46" fmla="*/ 699 w 1932"/>
                    <a:gd name="T47" fmla="*/ 232 h 1371"/>
                    <a:gd name="T48" fmla="*/ 162 w 1932"/>
                    <a:gd name="T49" fmla="*/ 53 h 1371"/>
                    <a:gd name="T50" fmla="*/ 162 w 1932"/>
                    <a:gd name="T51" fmla="*/ 1124 h 1371"/>
                    <a:gd name="T52" fmla="*/ 118 w 1932"/>
                    <a:gd name="T53" fmla="*/ 1124 h 1371"/>
                    <a:gd name="T54" fmla="*/ 118 w 1932"/>
                    <a:gd name="T55" fmla="*/ 23 h 1371"/>
                    <a:gd name="T56" fmla="*/ 127 w 1932"/>
                    <a:gd name="T57" fmla="*/ 5 h 1371"/>
                    <a:gd name="T58" fmla="*/ 147 w 1932"/>
                    <a:gd name="T59" fmla="*/ 2 h 1371"/>
                    <a:gd name="T60" fmla="*/ 684 w 1932"/>
                    <a:gd name="T61" fmla="*/ 181 h 1371"/>
                    <a:gd name="T62" fmla="*/ 684 w 1932"/>
                    <a:gd name="T63" fmla="*/ 23 h 1371"/>
                    <a:gd name="T64" fmla="*/ 693 w 1932"/>
                    <a:gd name="T65" fmla="*/ 5 h 1371"/>
                    <a:gd name="T66" fmla="*/ 713 w 1932"/>
                    <a:gd name="T67" fmla="*/ 2 h 1371"/>
                    <a:gd name="T68" fmla="*/ 1286 w 1932"/>
                    <a:gd name="T69" fmla="*/ 191 h 1371"/>
                    <a:gd name="T70" fmla="*/ 1790 w 1932"/>
                    <a:gd name="T71" fmla="*/ 191 h 1371"/>
                    <a:gd name="T72" fmla="*/ 1812 w 1932"/>
                    <a:gd name="T73" fmla="*/ 213 h 1371"/>
                    <a:gd name="T74" fmla="*/ 1812 w 1932"/>
                    <a:gd name="T75" fmla="*/ 1124 h 1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932" h="1371">
                      <a:moveTo>
                        <a:pt x="1910" y="1227"/>
                      </a:moveTo>
                      <a:cubicBezTo>
                        <a:pt x="1834" y="1227"/>
                        <a:pt x="1834" y="1227"/>
                        <a:pt x="1834" y="1227"/>
                      </a:cubicBezTo>
                      <a:cubicBezTo>
                        <a:pt x="1834" y="1190"/>
                        <a:pt x="1834" y="1190"/>
                        <a:pt x="1834" y="1190"/>
                      </a:cubicBezTo>
                      <a:cubicBezTo>
                        <a:pt x="1834" y="1178"/>
                        <a:pt x="1824" y="1168"/>
                        <a:pt x="1812" y="1168"/>
                      </a:cubicBezTo>
                      <a:cubicBezTo>
                        <a:pt x="120" y="1168"/>
                        <a:pt x="120" y="1168"/>
                        <a:pt x="120" y="1168"/>
                      </a:cubicBezTo>
                      <a:cubicBezTo>
                        <a:pt x="108" y="1168"/>
                        <a:pt x="98" y="1178"/>
                        <a:pt x="98" y="1190"/>
                      </a:cubicBezTo>
                      <a:cubicBezTo>
                        <a:pt x="98" y="1227"/>
                        <a:pt x="98" y="1227"/>
                        <a:pt x="98" y="1227"/>
                      </a:cubicBezTo>
                      <a:cubicBezTo>
                        <a:pt x="22" y="1227"/>
                        <a:pt x="22" y="1227"/>
                        <a:pt x="22" y="1227"/>
                      </a:cubicBezTo>
                      <a:cubicBezTo>
                        <a:pt x="9" y="1227"/>
                        <a:pt x="0" y="1237"/>
                        <a:pt x="0" y="1249"/>
                      </a:cubicBezTo>
                      <a:cubicBezTo>
                        <a:pt x="0" y="1349"/>
                        <a:pt x="0" y="1349"/>
                        <a:pt x="0" y="1349"/>
                      </a:cubicBezTo>
                      <a:cubicBezTo>
                        <a:pt x="0" y="1361"/>
                        <a:pt x="9" y="1371"/>
                        <a:pt x="22" y="1371"/>
                      </a:cubicBezTo>
                      <a:cubicBezTo>
                        <a:pt x="1910" y="1371"/>
                        <a:pt x="1910" y="1371"/>
                        <a:pt x="1910" y="1371"/>
                      </a:cubicBezTo>
                      <a:cubicBezTo>
                        <a:pt x="1923" y="1371"/>
                        <a:pt x="1932" y="1361"/>
                        <a:pt x="1932" y="1349"/>
                      </a:cubicBezTo>
                      <a:cubicBezTo>
                        <a:pt x="1932" y="1249"/>
                        <a:pt x="1932" y="1249"/>
                        <a:pt x="1932" y="1249"/>
                      </a:cubicBezTo>
                      <a:cubicBezTo>
                        <a:pt x="1932" y="1237"/>
                        <a:pt x="1923" y="1227"/>
                        <a:pt x="1910" y="1227"/>
                      </a:cubicBezTo>
                      <a:close/>
                      <a:moveTo>
                        <a:pt x="1812" y="1124"/>
                      </a:moveTo>
                      <a:cubicBezTo>
                        <a:pt x="1768" y="1124"/>
                        <a:pt x="1768" y="1124"/>
                        <a:pt x="1768" y="1124"/>
                      </a:cubicBezTo>
                      <a:cubicBezTo>
                        <a:pt x="1768" y="235"/>
                        <a:pt x="1768" y="235"/>
                        <a:pt x="1768" y="235"/>
                      </a:cubicBezTo>
                      <a:cubicBezTo>
                        <a:pt x="1282" y="235"/>
                        <a:pt x="1282" y="235"/>
                        <a:pt x="1282" y="235"/>
                      </a:cubicBezTo>
                      <a:cubicBezTo>
                        <a:pt x="1280" y="235"/>
                        <a:pt x="1277" y="235"/>
                        <a:pt x="1275" y="234"/>
                      </a:cubicBezTo>
                      <a:cubicBezTo>
                        <a:pt x="728" y="53"/>
                        <a:pt x="728" y="53"/>
                        <a:pt x="728" y="53"/>
                      </a:cubicBezTo>
                      <a:cubicBezTo>
                        <a:pt x="728" y="211"/>
                        <a:pt x="728" y="211"/>
                        <a:pt x="728" y="211"/>
                      </a:cubicBezTo>
                      <a:cubicBezTo>
                        <a:pt x="728" y="218"/>
                        <a:pt x="725" y="225"/>
                        <a:pt x="719" y="229"/>
                      </a:cubicBezTo>
                      <a:cubicBezTo>
                        <a:pt x="713" y="233"/>
                        <a:pt x="706" y="234"/>
                        <a:pt x="699" y="232"/>
                      </a:cubicBezTo>
                      <a:cubicBezTo>
                        <a:pt x="162" y="53"/>
                        <a:pt x="162" y="53"/>
                        <a:pt x="162" y="53"/>
                      </a:cubicBezTo>
                      <a:cubicBezTo>
                        <a:pt x="162" y="1124"/>
                        <a:pt x="162" y="1124"/>
                        <a:pt x="162" y="1124"/>
                      </a:cubicBezTo>
                      <a:cubicBezTo>
                        <a:pt x="118" y="1124"/>
                        <a:pt x="118" y="1124"/>
                        <a:pt x="118" y="1124"/>
                      </a:cubicBezTo>
                      <a:cubicBezTo>
                        <a:pt x="118" y="23"/>
                        <a:pt x="118" y="23"/>
                        <a:pt x="118" y="23"/>
                      </a:cubicBezTo>
                      <a:cubicBezTo>
                        <a:pt x="118" y="16"/>
                        <a:pt x="121" y="9"/>
                        <a:pt x="127" y="5"/>
                      </a:cubicBezTo>
                      <a:cubicBezTo>
                        <a:pt x="133" y="1"/>
                        <a:pt x="140" y="0"/>
                        <a:pt x="147" y="2"/>
                      </a:cubicBezTo>
                      <a:cubicBezTo>
                        <a:pt x="684" y="181"/>
                        <a:pt x="684" y="181"/>
                        <a:pt x="684" y="181"/>
                      </a:cubicBezTo>
                      <a:cubicBezTo>
                        <a:pt x="684" y="23"/>
                        <a:pt x="684" y="23"/>
                        <a:pt x="684" y="23"/>
                      </a:cubicBezTo>
                      <a:cubicBezTo>
                        <a:pt x="684" y="16"/>
                        <a:pt x="687" y="9"/>
                        <a:pt x="693" y="5"/>
                      </a:cubicBezTo>
                      <a:cubicBezTo>
                        <a:pt x="699" y="1"/>
                        <a:pt x="706" y="0"/>
                        <a:pt x="713" y="2"/>
                      </a:cubicBezTo>
                      <a:cubicBezTo>
                        <a:pt x="1286" y="191"/>
                        <a:pt x="1286" y="191"/>
                        <a:pt x="1286" y="191"/>
                      </a:cubicBezTo>
                      <a:cubicBezTo>
                        <a:pt x="1790" y="191"/>
                        <a:pt x="1790" y="191"/>
                        <a:pt x="1790" y="191"/>
                      </a:cubicBezTo>
                      <a:cubicBezTo>
                        <a:pt x="1802" y="191"/>
                        <a:pt x="1812" y="201"/>
                        <a:pt x="1812" y="213"/>
                      </a:cubicBezTo>
                      <a:lnTo>
                        <a:pt x="1812" y="1124"/>
                      </a:lnTo>
                      <a:close/>
                    </a:path>
                  </a:pathLst>
                </a:custGeom>
                <a:solidFill>
                  <a:srgbClr val="082F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130" tIns="8065" rIns="16130" bIns="806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Freeform 36">
                  <a:extLst>
                    <a:ext uri="{FF2B5EF4-FFF2-40B4-BE49-F238E27FC236}">
                      <a16:creationId xmlns:a16="http://schemas.microsoft.com/office/drawing/2014/main" id="{33EDB605-8F0E-A90A-4196-F21D6ED37F4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80" y="446"/>
                  <a:ext cx="2802" cy="2854"/>
                </a:xfrm>
                <a:custGeom>
                  <a:avLst/>
                  <a:gdLst>
                    <a:gd name="T0" fmla="*/ 1479 w 1496"/>
                    <a:gd name="T1" fmla="*/ 604 h 1522"/>
                    <a:gd name="T2" fmla="*/ 1209 w 1496"/>
                    <a:gd name="T3" fmla="*/ 15 h 1522"/>
                    <a:gd name="T4" fmla="*/ 1447 w 1496"/>
                    <a:gd name="T5" fmla="*/ 15 h 1522"/>
                    <a:gd name="T6" fmla="*/ 0 w 1496"/>
                    <a:gd name="T7" fmla="*/ 915 h 1522"/>
                    <a:gd name="T8" fmla="*/ 150 w 1496"/>
                    <a:gd name="T9" fmla="*/ 915 h 1522"/>
                    <a:gd name="T10" fmla="*/ 97 w 1496"/>
                    <a:gd name="T11" fmla="*/ 862 h 1522"/>
                    <a:gd name="T12" fmla="*/ 371 w 1496"/>
                    <a:gd name="T13" fmla="*/ 840 h 1522"/>
                    <a:gd name="T14" fmla="*/ 327 w 1496"/>
                    <a:gd name="T15" fmla="*/ 991 h 1522"/>
                    <a:gd name="T16" fmla="*/ 698 w 1496"/>
                    <a:gd name="T17" fmla="*/ 915 h 1522"/>
                    <a:gd name="T18" fmla="*/ 600 w 1496"/>
                    <a:gd name="T19" fmla="*/ 1013 h 1522"/>
                    <a:gd name="T20" fmla="*/ 600 w 1496"/>
                    <a:gd name="T21" fmla="*/ 969 h 1522"/>
                    <a:gd name="T22" fmla="*/ 654 w 1496"/>
                    <a:gd name="T23" fmla="*/ 915 h 1522"/>
                    <a:gd name="T24" fmla="*/ 852 w 1496"/>
                    <a:gd name="T25" fmla="*/ 818 h 1522"/>
                    <a:gd name="T26" fmla="*/ 852 w 1496"/>
                    <a:gd name="T27" fmla="*/ 1013 h 1522"/>
                    <a:gd name="T28" fmla="*/ 1125 w 1496"/>
                    <a:gd name="T29" fmla="*/ 840 h 1522"/>
                    <a:gd name="T30" fmla="*/ 1081 w 1496"/>
                    <a:gd name="T31" fmla="*/ 991 h 1522"/>
                    <a:gd name="T32" fmla="*/ 194 w 1496"/>
                    <a:gd name="T33" fmla="*/ 1170 h 1522"/>
                    <a:gd name="T34" fmla="*/ 97 w 1496"/>
                    <a:gd name="T35" fmla="*/ 1267 h 1522"/>
                    <a:gd name="T36" fmla="*/ 97 w 1496"/>
                    <a:gd name="T37" fmla="*/ 1223 h 1522"/>
                    <a:gd name="T38" fmla="*/ 150 w 1496"/>
                    <a:gd name="T39" fmla="*/ 1170 h 1522"/>
                    <a:gd name="T40" fmla="*/ 251 w 1496"/>
                    <a:gd name="T41" fmla="*/ 1170 h 1522"/>
                    <a:gd name="T42" fmla="*/ 402 w 1496"/>
                    <a:gd name="T43" fmla="*/ 1170 h 1522"/>
                    <a:gd name="T44" fmla="*/ 349 w 1496"/>
                    <a:gd name="T45" fmla="*/ 1117 h 1522"/>
                    <a:gd name="T46" fmla="*/ 852 w 1496"/>
                    <a:gd name="T47" fmla="*/ 1073 h 1522"/>
                    <a:gd name="T48" fmla="*/ 949 w 1496"/>
                    <a:gd name="T49" fmla="*/ 1170 h 1522"/>
                    <a:gd name="T50" fmla="*/ 798 w 1496"/>
                    <a:gd name="T51" fmla="*/ 1170 h 1522"/>
                    <a:gd name="T52" fmla="*/ 622 w 1496"/>
                    <a:gd name="T53" fmla="*/ 1245 h 1522"/>
                    <a:gd name="T54" fmla="*/ 578 w 1496"/>
                    <a:gd name="T55" fmla="*/ 1095 h 1522"/>
                    <a:gd name="T56" fmla="*/ 622 w 1496"/>
                    <a:gd name="T57" fmla="*/ 1245 h 1522"/>
                    <a:gd name="T58" fmla="*/ 1103 w 1496"/>
                    <a:gd name="T59" fmla="*/ 1073 h 1522"/>
                    <a:gd name="T60" fmla="*/ 1103 w 1496"/>
                    <a:gd name="T61" fmla="*/ 1267 h 1522"/>
                    <a:gd name="T62" fmla="*/ 349 w 1496"/>
                    <a:gd name="T63" fmla="*/ 1327 h 1522"/>
                    <a:gd name="T64" fmla="*/ 446 w 1496"/>
                    <a:gd name="T65" fmla="*/ 1425 h 1522"/>
                    <a:gd name="T66" fmla="*/ 295 w 1496"/>
                    <a:gd name="T67" fmla="*/ 1425 h 1522"/>
                    <a:gd name="T68" fmla="*/ 1201 w 1496"/>
                    <a:gd name="T69" fmla="*/ 1425 h 1522"/>
                    <a:gd name="T70" fmla="*/ 1103 w 1496"/>
                    <a:gd name="T71" fmla="*/ 1522 h 1522"/>
                    <a:gd name="T72" fmla="*/ 1103 w 1496"/>
                    <a:gd name="T73" fmla="*/ 1478 h 1522"/>
                    <a:gd name="T74" fmla="*/ 1157 w 1496"/>
                    <a:gd name="T75" fmla="*/ 1425 h 1522"/>
                    <a:gd name="T76" fmla="*/ 600 w 1496"/>
                    <a:gd name="T77" fmla="*/ 1327 h 1522"/>
                    <a:gd name="T78" fmla="*/ 600 w 1496"/>
                    <a:gd name="T79" fmla="*/ 1522 h 1522"/>
                    <a:gd name="T80" fmla="*/ 119 w 1496"/>
                    <a:gd name="T81" fmla="*/ 1349 h 1522"/>
                    <a:gd name="T82" fmla="*/ 75 w 1496"/>
                    <a:gd name="T83" fmla="*/ 1500 h 1522"/>
                    <a:gd name="T84" fmla="*/ 874 w 1496"/>
                    <a:gd name="T85" fmla="*/ 1500 h 1522"/>
                    <a:gd name="T86" fmla="*/ 830 w 1496"/>
                    <a:gd name="T87" fmla="*/ 1349 h 1522"/>
                    <a:gd name="T88" fmla="*/ 874 w 1496"/>
                    <a:gd name="T89" fmla="*/ 1500 h 1522"/>
                    <a:gd name="T90" fmla="*/ 1355 w 1496"/>
                    <a:gd name="T91" fmla="*/ 818 h 1522"/>
                    <a:gd name="T92" fmla="*/ 1355 w 1496"/>
                    <a:gd name="T93" fmla="*/ 1013 h 1522"/>
                    <a:gd name="T94" fmla="*/ 1355 w 1496"/>
                    <a:gd name="T95" fmla="*/ 1073 h 1522"/>
                    <a:gd name="T96" fmla="*/ 1452 w 1496"/>
                    <a:gd name="T97" fmla="*/ 1170 h 1522"/>
                    <a:gd name="T98" fmla="*/ 1302 w 1496"/>
                    <a:gd name="T99" fmla="*/ 1170 h 1522"/>
                    <a:gd name="T100" fmla="*/ 1377 w 1496"/>
                    <a:gd name="T101" fmla="*/ 1500 h 1522"/>
                    <a:gd name="T102" fmla="*/ 1333 w 1496"/>
                    <a:gd name="T103" fmla="*/ 1349 h 1522"/>
                    <a:gd name="T104" fmla="*/ 1377 w 1496"/>
                    <a:gd name="T105" fmla="*/ 1500 h 1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496" h="1522">
                      <a:moveTo>
                        <a:pt x="1447" y="15"/>
                      </a:moveTo>
                      <a:cubicBezTo>
                        <a:pt x="1495" y="587"/>
                        <a:pt x="1495" y="587"/>
                        <a:pt x="1495" y="587"/>
                      </a:cubicBezTo>
                      <a:cubicBezTo>
                        <a:pt x="1496" y="596"/>
                        <a:pt x="1488" y="604"/>
                        <a:pt x="1479" y="604"/>
                      </a:cubicBezTo>
                      <a:cubicBezTo>
                        <a:pt x="1177" y="604"/>
                        <a:pt x="1177" y="604"/>
                        <a:pt x="1177" y="604"/>
                      </a:cubicBezTo>
                      <a:cubicBezTo>
                        <a:pt x="1167" y="604"/>
                        <a:pt x="1160" y="596"/>
                        <a:pt x="1161" y="587"/>
                      </a:cubicBezTo>
                      <a:cubicBezTo>
                        <a:pt x="1209" y="15"/>
                        <a:pt x="1209" y="15"/>
                        <a:pt x="1209" y="15"/>
                      </a:cubicBezTo>
                      <a:cubicBezTo>
                        <a:pt x="1210" y="6"/>
                        <a:pt x="1217" y="0"/>
                        <a:pt x="1225" y="0"/>
                      </a:cubicBezTo>
                      <a:cubicBezTo>
                        <a:pt x="1431" y="0"/>
                        <a:pt x="1431" y="0"/>
                        <a:pt x="1431" y="0"/>
                      </a:cubicBezTo>
                      <a:cubicBezTo>
                        <a:pt x="1439" y="0"/>
                        <a:pt x="1446" y="6"/>
                        <a:pt x="1447" y="15"/>
                      </a:cubicBezTo>
                      <a:close/>
                      <a:moveTo>
                        <a:pt x="194" y="915"/>
                      </a:moveTo>
                      <a:cubicBezTo>
                        <a:pt x="194" y="862"/>
                        <a:pt x="151" y="818"/>
                        <a:pt x="97" y="818"/>
                      </a:cubicBezTo>
                      <a:cubicBezTo>
                        <a:pt x="43" y="818"/>
                        <a:pt x="0" y="862"/>
                        <a:pt x="0" y="915"/>
                      </a:cubicBezTo>
                      <a:cubicBezTo>
                        <a:pt x="0" y="969"/>
                        <a:pt x="43" y="1013"/>
                        <a:pt x="97" y="1013"/>
                      </a:cubicBezTo>
                      <a:cubicBezTo>
                        <a:pt x="151" y="1013"/>
                        <a:pt x="194" y="969"/>
                        <a:pt x="194" y="915"/>
                      </a:cubicBezTo>
                      <a:close/>
                      <a:moveTo>
                        <a:pt x="150" y="915"/>
                      </a:moveTo>
                      <a:cubicBezTo>
                        <a:pt x="150" y="945"/>
                        <a:pt x="126" y="969"/>
                        <a:pt x="97" y="969"/>
                      </a:cubicBezTo>
                      <a:cubicBezTo>
                        <a:pt x="68" y="969"/>
                        <a:pt x="44" y="945"/>
                        <a:pt x="44" y="915"/>
                      </a:cubicBezTo>
                      <a:cubicBezTo>
                        <a:pt x="44" y="886"/>
                        <a:pt x="68" y="862"/>
                        <a:pt x="97" y="862"/>
                      </a:cubicBezTo>
                      <a:cubicBezTo>
                        <a:pt x="126" y="862"/>
                        <a:pt x="150" y="886"/>
                        <a:pt x="150" y="915"/>
                      </a:cubicBezTo>
                      <a:close/>
                      <a:moveTo>
                        <a:pt x="371" y="991"/>
                      </a:moveTo>
                      <a:cubicBezTo>
                        <a:pt x="371" y="840"/>
                        <a:pt x="371" y="840"/>
                        <a:pt x="371" y="840"/>
                      </a:cubicBezTo>
                      <a:cubicBezTo>
                        <a:pt x="371" y="828"/>
                        <a:pt x="361" y="818"/>
                        <a:pt x="349" y="818"/>
                      </a:cubicBezTo>
                      <a:cubicBezTo>
                        <a:pt x="336" y="818"/>
                        <a:pt x="327" y="828"/>
                        <a:pt x="327" y="840"/>
                      </a:cubicBezTo>
                      <a:cubicBezTo>
                        <a:pt x="327" y="991"/>
                        <a:pt x="327" y="991"/>
                        <a:pt x="327" y="991"/>
                      </a:cubicBezTo>
                      <a:cubicBezTo>
                        <a:pt x="327" y="1003"/>
                        <a:pt x="336" y="1013"/>
                        <a:pt x="349" y="1013"/>
                      </a:cubicBezTo>
                      <a:cubicBezTo>
                        <a:pt x="361" y="1013"/>
                        <a:pt x="371" y="1003"/>
                        <a:pt x="371" y="991"/>
                      </a:cubicBezTo>
                      <a:close/>
                      <a:moveTo>
                        <a:pt x="698" y="915"/>
                      </a:moveTo>
                      <a:cubicBezTo>
                        <a:pt x="698" y="862"/>
                        <a:pt x="654" y="818"/>
                        <a:pt x="600" y="818"/>
                      </a:cubicBezTo>
                      <a:cubicBezTo>
                        <a:pt x="546" y="818"/>
                        <a:pt x="503" y="862"/>
                        <a:pt x="503" y="915"/>
                      </a:cubicBezTo>
                      <a:cubicBezTo>
                        <a:pt x="503" y="969"/>
                        <a:pt x="546" y="1013"/>
                        <a:pt x="600" y="1013"/>
                      </a:cubicBezTo>
                      <a:cubicBezTo>
                        <a:pt x="654" y="1013"/>
                        <a:pt x="698" y="969"/>
                        <a:pt x="698" y="915"/>
                      </a:cubicBezTo>
                      <a:close/>
                      <a:moveTo>
                        <a:pt x="654" y="915"/>
                      </a:moveTo>
                      <a:cubicBezTo>
                        <a:pt x="654" y="945"/>
                        <a:pt x="630" y="969"/>
                        <a:pt x="600" y="969"/>
                      </a:cubicBezTo>
                      <a:cubicBezTo>
                        <a:pt x="571" y="969"/>
                        <a:pt x="547" y="945"/>
                        <a:pt x="547" y="915"/>
                      </a:cubicBezTo>
                      <a:cubicBezTo>
                        <a:pt x="547" y="886"/>
                        <a:pt x="571" y="862"/>
                        <a:pt x="600" y="862"/>
                      </a:cubicBezTo>
                      <a:cubicBezTo>
                        <a:pt x="630" y="862"/>
                        <a:pt x="654" y="886"/>
                        <a:pt x="654" y="915"/>
                      </a:cubicBezTo>
                      <a:close/>
                      <a:moveTo>
                        <a:pt x="874" y="991"/>
                      </a:moveTo>
                      <a:cubicBezTo>
                        <a:pt x="874" y="840"/>
                        <a:pt x="874" y="840"/>
                        <a:pt x="874" y="840"/>
                      </a:cubicBezTo>
                      <a:cubicBezTo>
                        <a:pt x="874" y="828"/>
                        <a:pt x="864" y="818"/>
                        <a:pt x="852" y="818"/>
                      </a:cubicBezTo>
                      <a:cubicBezTo>
                        <a:pt x="840" y="818"/>
                        <a:pt x="830" y="828"/>
                        <a:pt x="830" y="840"/>
                      </a:cubicBezTo>
                      <a:cubicBezTo>
                        <a:pt x="830" y="991"/>
                        <a:pt x="830" y="991"/>
                        <a:pt x="830" y="991"/>
                      </a:cubicBezTo>
                      <a:cubicBezTo>
                        <a:pt x="830" y="1003"/>
                        <a:pt x="840" y="1013"/>
                        <a:pt x="852" y="1013"/>
                      </a:cubicBezTo>
                      <a:cubicBezTo>
                        <a:pt x="864" y="1013"/>
                        <a:pt x="874" y="1003"/>
                        <a:pt x="874" y="991"/>
                      </a:cubicBezTo>
                      <a:close/>
                      <a:moveTo>
                        <a:pt x="1125" y="991"/>
                      </a:moveTo>
                      <a:cubicBezTo>
                        <a:pt x="1125" y="840"/>
                        <a:pt x="1125" y="840"/>
                        <a:pt x="1125" y="840"/>
                      </a:cubicBezTo>
                      <a:cubicBezTo>
                        <a:pt x="1125" y="828"/>
                        <a:pt x="1116" y="818"/>
                        <a:pt x="1103" y="818"/>
                      </a:cubicBezTo>
                      <a:cubicBezTo>
                        <a:pt x="1091" y="818"/>
                        <a:pt x="1081" y="828"/>
                        <a:pt x="1081" y="840"/>
                      </a:cubicBezTo>
                      <a:cubicBezTo>
                        <a:pt x="1081" y="991"/>
                        <a:pt x="1081" y="991"/>
                        <a:pt x="1081" y="991"/>
                      </a:cubicBezTo>
                      <a:cubicBezTo>
                        <a:pt x="1081" y="1003"/>
                        <a:pt x="1091" y="1013"/>
                        <a:pt x="1103" y="1013"/>
                      </a:cubicBezTo>
                      <a:cubicBezTo>
                        <a:pt x="1116" y="1013"/>
                        <a:pt x="1125" y="1003"/>
                        <a:pt x="1125" y="991"/>
                      </a:cubicBezTo>
                      <a:close/>
                      <a:moveTo>
                        <a:pt x="194" y="1170"/>
                      </a:moveTo>
                      <a:cubicBezTo>
                        <a:pt x="194" y="1116"/>
                        <a:pt x="151" y="1073"/>
                        <a:pt x="97" y="1073"/>
                      </a:cubicBezTo>
                      <a:cubicBezTo>
                        <a:pt x="43" y="1073"/>
                        <a:pt x="0" y="1116"/>
                        <a:pt x="0" y="1170"/>
                      </a:cubicBezTo>
                      <a:cubicBezTo>
                        <a:pt x="0" y="1224"/>
                        <a:pt x="43" y="1267"/>
                        <a:pt x="97" y="1267"/>
                      </a:cubicBezTo>
                      <a:cubicBezTo>
                        <a:pt x="151" y="1267"/>
                        <a:pt x="194" y="1224"/>
                        <a:pt x="194" y="1170"/>
                      </a:cubicBezTo>
                      <a:close/>
                      <a:moveTo>
                        <a:pt x="150" y="1170"/>
                      </a:moveTo>
                      <a:cubicBezTo>
                        <a:pt x="150" y="1199"/>
                        <a:pt x="126" y="1223"/>
                        <a:pt x="97" y="1223"/>
                      </a:cubicBezTo>
                      <a:cubicBezTo>
                        <a:pt x="68" y="1223"/>
                        <a:pt x="44" y="1199"/>
                        <a:pt x="44" y="1170"/>
                      </a:cubicBezTo>
                      <a:cubicBezTo>
                        <a:pt x="44" y="1141"/>
                        <a:pt x="68" y="1117"/>
                        <a:pt x="97" y="1117"/>
                      </a:cubicBezTo>
                      <a:cubicBezTo>
                        <a:pt x="126" y="1117"/>
                        <a:pt x="150" y="1141"/>
                        <a:pt x="150" y="1170"/>
                      </a:cubicBezTo>
                      <a:close/>
                      <a:moveTo>
                        <a:pt x="446" y="1170"/>
                      </a:moveTo>
                      <a:cubicBezTo>
                        <a:pt x="446" y="1116"/>
                        <a:pt x="402" y="1073"/>
                        <a:pt x="349" y="1073"/>
                      </a:cubicBezTo>
                      <a:cubicBezTo>
                        <a:pt x="295" y="1073"/>
                        <a:pt x="251" y="1116"/>
                        <a:pt x="251" y="1170"/>
                      </a:cubicBezTo>
                      <a:cubicBezTo>
                        <a:pt x="251" y="1224"/>
                        <a:pt x="295" y="1267"/>
                        <a:pt x="349" y="1267"/>
                      </a:cubicBezTo>
                      <a:cubicBezTo>
                        <a:pt x="402" y="1267"/>
                        <a:pt x="446" y="1224"/>
                        <a:pt x="446" y="1170"/>
                      </a:cubicBezTo>
                      <a:close/>
                      <a:moveTo>
                        <a:pt x="402" y="1170"/>
                      </a:moveTo>
                      <a:cubicBezTo>
                        <a:pt x="402" y="1199"/>
                        <a:pt x="378" y="1223"/>
                        <a:pt x="349" y="1223"/>
                      </a:cubicBezTo>
                      <a:cubicBezTo>
                        <a:pt x="319" y="1223"/>
                        <a:pt x="295" y="1199"/>
                        <a:pt x="295" y="1170"/>
                      </a:cubicBezTo>
                      <a:cubicBezTo>
                        <a:pt x="295" y="1141"/>
                        <a:pt x="319" y="1117"/>
                        <a:pt x="349" y="1117"/>
                      </a:cubicBezTo>
                      <a:cubicBezTo>
                        <a:pt x="378" y="1117"/>
                        <a:pt x="402" y="1141"/>
                        <a:pt x="402" y="1170"/>
                      </a:cubicBezTo>
                      <a:close/>
                      <a:moveTo>
                        <a:pt x="949" y="1170"/>
                      </a:moveTo>
                      <a:cubicBezTo>
                        <a:pt x="949" y="1116"/>
                        <a:pt x="906" y="1073"/>
                        <a:pt x="852" y="1073"/>
                      </a:cubicBezTo>
                      <a:cubicBezTo>
                        <a:pt x="798" y="1073"/>
                        <a:pt x="754" y="1116"/>
                        <a:pt x="754" y="1170"/>
                      </a:cubicBezTo>
                      <a:cubicBezTo>
                        <a:pt x="754" y="1224"/>
                        <a:pt x="798" y="1267"/>
                        <a:pt x="852" y="1267"/>
                      </a:cubicBezTo>
                      <a:cubicBezTo>
                        <a:pt x="906" y="1267"/>
                        <a:pt x="949" y="1224"/>
                        <a:pt x="949" y="1170"/>
                      </a:cubicBezTo>
                      <a:close/>
                      <a:moveTo>
                        <a:pt x="905" y="1170"/>
                      </a:moveTo>
                      <a:cubicBezTo>
                        <a:pt x="905" y="1199"/>
                        <a:pt x="881" y="1223"/>
                        <a:pt x="852" y="1223"/>
                      </a:cubicBezTo>
                      <a:cubicBezTo>
                        <a:pt x="822" y="1223"/>
                        <a:pt x="798" y="1199"/>
                        <a:pt x="798" y="1170"/>
                      </a:cubicBezTo>
                      <a:cubicBezTo>
                        <a:pt x="798" y="1141"/>
                        <a:pt x="822" y="1117"/>
                        <a:pt x="852" y="1117"/>
                      </a:cubicBezTo>
                      <a:cubicBezTo>
                        <a:pt x="881" y="1117"/>
                        <a:pt x="905" y="1141"/>
                        <a:pt x="905" y="1170"/>
                      </a:cubicBezTo>
                      <a:close/>
                      <a:moveTo>
                        <a:pt x="622" y="1245"/>
                      </a:moveTo>
                      <a:cubicBezTo>
                        <a:pt x="622" y="1095"/>
                        <a:pt x="622" y="1095"/>
                        <a:pt x="622" y="1095"/>
                      </a:cubicBezTo>
                      <a:cubicBezTo>
                        <a:pt x="622" y="1082"/>
                        <a:pt x="612" y="1073"/>
                        <a:pt x="600" y="1073"/>
                      </a:cubicBezTo>
                      <a:cubicBezTo>
                        <a:pt x="588" y="1073"/>
                        <a:pt x="578" y="1082"/>
                        <a:pt x="578" y="1095"/>
                      </a:cubicBezTo>
                      <a:cubicBezTo>
                        <a:pt x="578" y="1245"/>
                        <a:pt x="578" y="1245"/>
                        <a:pt x="578" y="1245"/>
                      </a:cubicBezTo>
                      <a:cubicBezTo>
                        <a:pt x="578" y="1258"/>
                        <a:pt x="588" y="1267"/>
                        <a:pt x="600" y="1267"/>
                      </a:cubicBezTo>
                      <a:cubicBezTo>
                        <a:pt x="612" y="1267"/>
                        <a:pt x="622" y="1258"/>
                        <a:pt x="622" y="1245"/>
                      </a:cubicBezTo>
                      <a:close/>
                      <a:moveTo>
                        <a:pt x="1125" y="1245"/>
                      </a:moveTo>
                      <a:cubicBezTo>
                        <a:pt x="1125" y="1095"/>
                        <a:pt x="1125" y="1095"/>
                        <a:pt x="1125" y="1095"/>
                      </a:cubicBezTo>
                      <a:cubicBezTo>
                        <a:pt x="1125" y="1082"/>
                        <a:pt x="1116" y="1073"/>
                        <a:pt x="1103" y="1073"/>
                      </a:cubicBezTo>
                      <a:cubicBezTo>
                        <a:pt x="1091" y="1073"/>
                        <a:pt x="1081" y="1082"/>
                        <a:pt x="1081" y="1095"/>
                      </a:cubicBezTo>
                      <a:cubicBezTo>
                        <a:pt x="1081" y="1245"/>
                        <a:pt x="1081" y="1245"/>
                        <a:pt x="1081" y="1245"/>
                      </a:cubicBezTo>
                      <a:cubicBezTo>
                        <a:pt x="1081" y="1258"/>
                        <a:pt x="1091" y="1267"/>
                        <a:pt x="1103" y="1267"/>
                      </a:cubicBezTo>
                      <a:cubicBezTo>
                        <a:pt x="1116" y="1267"/>
                        <a:pt x="1125" y="1258"/>
                        <a:pt x="1125" y="1245"/>
                      </a:cubicBezTo>
                      <a:close/>
                      <a:moveTo>
                        <a:pt x="446" y="1425"/>
                      </a:moveTo>
                      <a:cubicBezTo>
                        <a:pt x="446" y="1371"/>
                        <a:pt x="402" y="1327"/>
                        <a:pt x="349" y="1327"/>
                      </a:cubicBezTo>
                      <a:cubicBezTo>
                        <a:pt x="295" y="1327"/>
                        <a:pt x="251" y="1371"/>
                        <a:pt x="251" y="1425"/>
                      </a:cubicBezTo>
                      <a:cubicBezTo>
                        <a:pt x="251" y="1478"/>
                        <a:pt x="295" y="1522"/>
                        <a:pt x="349" y="1522"/>
                      </a:cubicBezTo>
                      <a:cubicBezTo>
                        <a:pt x="402" y="1522"/>
                        <a:pt x="446" y="1478"/>
                        <a:pt x="446" y="1425"/>
                      </a:cubicBezTo>
                      <a:close/>
                      <a:moveTo>
                        <a:pt x="402" y="1425"/>
                      </a:moveTo>
                      <a:cubicBezTo>
                        <a:pt x="402" y="1454"/>
                        <a:pt x="378" y="1478"/>
                        <a:pt x="349" y="1478"/>
                      </a:cubicBezTo>
                      <a:cubicBezTo>
                        <a:pt x="319" y="1478"/>
                        <a:pt x="295" y="1454"/>
                        <a:pt x="295" y="1425"/>
                      </a:cubicBezTo>
                      <a:cubicBezTo>
                        <a:pt x="295" y="1395"/>
                        <a:pt x="319" y="1371"/>
                        <a:pt x="349" y="1371"/>
                      </a:cubicBezTo>
                      <a:cubicBezTo>
                        <a:pt x="378" y="1371"/>
                        <a:pt x="402" y="1395"/>
                        <a:pt x="402" y="1425"/>
                      </a:cubicBezTo>
                      <a:close/>
                      <a:moveTo>
                        <a:pt x="1201" y="1425"/>
                      </a:moveTo>
                      <a:cubicBezTo>
                        <a:pt x="1201" y="1371"/>
                        <a:pt x="1157" y="1327"/>
                        <a:pt x="1103" y="1327"/>
                      </a:cubicBezTo>
                      <a:cubicBezTo>
                        <a:pt x="1050" y="1327"/>
                        <a:pt x="1006" y="1371"/>
                        <a:pt x="1006" y="1425"/>
                      </a:cubicBezTo>
                      <a:cubicBezTo>
                        <a:pt x="1006" y="1478"/>
                        <a:pt x="1050" y="1522"/>
                        <a:pt x="1103" y="1522"/>
                      </a:cubicBezTo>
                      <a:cubicBezTo>
                        <a:pt x="1157" y="1522"/>
                        <a:pt x="1201" y="1478"/>
                        <a:pt x="1201" y="1425"/>
                      </a:cubicBezTo>
                      <a:close/>
                      <a:moveTo>
                        <a:pt x="1157" y="1425"/>
                      </a:moveTo>
                      <a:cubicBezTo>
                        <a:pt x="1157" y="1454"/>
                        <a:pt x="1133" y="1478"/>
                        <a:pt x="1103" y="1478"/>
                      </a:cubicBezTo>
                      <a:cubicBezTo>
                        <a:pt x="1074" y="1478"/>
                        <a:pt x="1050" y="1454"/>
                        <a:pt x="1050" y="1425"/>
                      </a:cubicBezTo>
                      <a:cubicBezTo>
                        <a:pt x="1050" y="1395"/>
                        <a:pt x="1074" y="1371"/>
                        <a:pt x="1103" y="1371"/>
                      </a:cubicBezTo>
                      <a:cubicBezTo>
                        <a:pt x="1133" y="1371"/>
                        <a:pt x="1157" y="1395"/>
                        <a:pt x="1157" y="1425"/>
                      </a:cubicBezTo>
                      <a:close/>
                      <a:moveTo>
                        <a:pt x="622" y="1500"/>
                      </a:moveTo>
                      <a:cubicBezTo>
                        <a:pt x="622" y="1349"/>
                        <a:pt x="622" y="1349"/>
                        <a:pt x="622" y="1349"/>
                      </a:cubicBezTo>
                      <a:cubicBezTo>
                        <a:pt x="622" y="1337"/>
                        <a:pt x="612" y="1327"/>
                        <a:pt x="600" y="1327"/>
                      </a:cubicBezTo>
                      <a:cubicBezTo>
                        <a:pt x="588" y="1327"/>
                        <a:pt x="578" y="1337"/>
                        <a:pt x="578" y="1349"/>
                      </a:cubicBezTo>
                      <a:cubicBezTo>
                        <a:pt x="578" y="1500"/>
                        <a:pt x="578" y="1500"/>
                        <a:pt x="578" y="1500"/>
                      </a:cubicBezTo>
                      <a:cubicBezTo>
                        <a:pt x="578" y="1512"/>
                        <a:pt x="588" y="1522"/>
                        <a:pt x="600" y="1522"/>
                      </a:cubicBezTo>
                      <a:cubicBezTo>
                        <a:pt x="612" y="1522"/>
                        <a:pt x="622" y="1512"/>
                        <a:pt x="622" y="1500"/>
                      </a:cubicBezTo>
                      <a:close/>
                      <a:moveTo>
                        <a:pt x="119" y="1500"/>
                      </a:moveTo>
                      <a:cubicBezTo>
                        <a:pt x="119" y="1349"/>
                        <a:pt x="119" y="1349"/>
                        <a:pt x="119" y="1349"/>
                      </a:cubicBezTo>
                      <a:cubicBezTo>
                        <a:pt x="119" y="1337"/>
                        <a:pt x="109" y="1327"/>
                        <a:pt x="97" y="1327"/>
                      </a:cubicBezTo>
                      <a:cubicBezTo>
                        <a:pt x="85" y="1327"/>
                        <a:pt x="75" y="1337"/>
                        <a:pt x="75" y="1349"/>
                      </a:cubicBezTo>
                      <a:cubicBezTo>
                        <a:pt x="75" y="1500"/>
                        <a:pt x="75" y="1500"/>
                        <a:pt x="75" y="1500"/>
                      </a:cubicBezTo>
                      <a:cubicBezTo>
                        <a:pt x="75" y="1512"/>
                        <a:pt x="85" y="1522"/>
                        <a:pt x="97" y="1522"/>
                      </a:cubicBezTo>
                      <a:cubicBezTo>
                        <a:pt x="109" y="1522"/>
                        <a:pt x="119" y="1512"/>
                        <a:pt x="119" y="1500"/>
                      </a:cubicBezTo>
                      <a:close/>
                      <a:moveTo>
                        <a:pt x="874" y="1500"/>
                      </a:moveTo>
                      <a:cubicBezTo>
                        <a:pt x="874" y="1349"/>
                        <a:pt x="874" y="1349"/>
                        <a:pt x="874" y="1349"/>
                      </a:cubicBezTo>
                      <a:cubicBezTo>
                        <a:pt x="874" y="1337"/>
                        <a:pt x="864" y="1327"/>
                        <a:pt x="852" y="1327"/>
                      </a:cubicBezTo>
                      <a:cubicBezTo>
                        <a:pt x="840" y="1327"/>
                        <a:pt x="830" y="1337"/>
                        <a:pt x="830" y="1349"/>
                      </a:cubicBezTo>
                      <a:cubicBezTo>
                        <a:pt x="830" y="1500"/>
                        <a:pt x="830" y="1500"/>
                        <a:pt x="830" y="1500"/>
                      </a:cubicBezTo>
                      <a:cubicBezTo>
                        <a:pt x="830" y="1512"/>
                        <a:pt x="840" y="1522"/>
                        <a:pt x="852" y="1522"/>
                      </a:cubicBezTo>
                      <a:cubicBezTo>
                        <a:pt x="864" y="1522"/>
                        <a:pt x="874" y="1512"/>
                        <a:pt x="874" y="1500"/>
                      </a:cubicBezTo>
                      <a:close/>
                      <a:moveTo>
                        <a:pt x="1377" y="991"/>
                      </a:moveTo>
                      <a:cubicBezTo>
                        <a:pt x="1377" y="840"/>
                        <a:pt x="1377" y="840"/>
                        <a:pt x="1377" y="840"/>
                      </a:cubicBezTo>
                      <a:cubicBezTo>
                        <a:pt x="1377" y="828"/>
                        <a:pt x="1367" y="818"/>
                        <a:pt x="1355" y="818"/>
                      </a:cubicBezTo>
                      <a:cubicBezTo>
                        <a:pt x="1343" y="818"/>
                        <a:pt x="1333" y="828"/>
                        <a:pt x="1333" y="840"/>
                      </a:cubicBezTo>
                      <a:cubicBezTo>
                        <a:pt x="1333" y="991"/>
                        <a:pt x="1333" y="991"/>
                        <a:pt x="1333" y="991"/>
                      </a:cubicBezTo>
                      <a:cubicBezTo>
                        <a:pt x="1333" y="1003"/>
                        <a:pt x="1343" y="1013"/>
                        <a:pt x="1355" y="1013"/>
                      </a:cubicBezTo>
                      <a:cubicBezTo>
                        <a:pt x="1367" y="1013"/>
                        <a:pt x="1377" y="1003"/>
                        <a:pt x="1377" y="991"/>
                      </a:cubicBezTo>
                      <a:close/>
                      <a:moveTo>
                        <a:pt x="1452" y="1170"/>
                      </a:moveTo>
                      <a:cubicBezTo>
                        <a:pt x="1452" y="1116"/>
                        <a:pt x="1409" y="1073"/>
                        <a:pt x="1355" y="1073"/>
                      </a:cubicBezTo>
                      <a:cubicBezTo>
                        <a:pt x="1301" y="1073"/>
                        <a:pt x="1258" y="1116"/>
                        <a:pt x="1258" y="1170"/>
                      </a:cubicBezTo>
                      <a:cubicBezTo>
                        <a:pt x="1258" y="1224"/>
                        <a:pt x="1301" y="1267"/>
                        <a:pt x="1355" y="1267"/>
                      </a:cubicBezTo>
                      <a:cubicBezTo>
                        <a:pt x="1409" y="1267"/>
                        <a:pt x="1452" y="1224"/>
                        <a:pt x="1452" y="1170"/>
                      </a:cubicBezTo>
                      <a:close/>
                      <a:moveTo>
                        <a:pt x="1408" y="1170"/>
                      </a:moveTo>
                      <a:cubicBezTo>
                        <a:pt x="1408" y="1199"/>
                        <a:pt x="1384" y="1223"/>
                        <a:pt x="1355" y="1223"/>
                      </a:cubicBezTo>
                      <a:cubicBezTo>
                        <a:pt x="1326" y="1223"/>
                        <a:pt x="1302" y="1199"/>
                        <a:pt x="1302" y="1170"/>
                      </a:cubicBezTo>
                      <a:cubicBezTo>
                        <a:pt x="1302" y="1141"/>
                        <a:pt x="1326" y="1117"/>
                        <a:pt x="1355" y="1117"/>
                      </a:cubicBezTo>
                      <a:cubicBezTo>
                        <a:pt x="1384" y="1117"/>
                        <a:pt x="1408" y="1141"/>
                        <a:pt x="1408" y="1170"/>
                      </a:cubicBezTo>
                      <a:close/>
                      <a:moveTo>
                        <a:pt x="1377" y="1500"/>
                      </a:moveTo>
                      <a:cubicBezTo>
                        <a:pt x="1377" y="1349"/>
                        <a:pt x="1377" y="1349"/>
                        <a:pt x="1377" y="1349"/>
                      </a:cubicBezTo>
                      <a:cubicBezTo>
                        <a:pt x="1377" y="1337"/>
                        <a:pt x="1367" y="1327"/>
                        <a:pt x="1355" y="1327"/>
                      </a:cubicBezTo>
                      <a:cubicBezTo>
                        <a:pt x="1343" y="1327"/>
                        <a:pt x="1333" y="1337"/>
                        <a:pt x="1333" y="1349"/>
                      </a:cubicBezTo>
                      <a:cubicBezTo>
                        <a:pt x="1333" y="1500"/>
                        <a:pt x="1333" y="1500"/>
                        <a:pt x="1333" y="1500"/>
                      </a:cubicBezTo>
                      <a:cubicBezTo>
                        <a:pt x="1333" y="1512"/>
                        <a:pt x="1343" y="1522"/>
                        <a:pt x="1355" y="1522"/>
                      </a:cubicBezTo>
                      <a:cubicBezTo>
                        <a:pt x="1367" y="1522"/>
                        <a:pt x="1377" y="1512"/>
                        <a:pt x="1377" y="1500"/>
                      </a:cubicBezTo>
                      <a:close/>
                    </a:path>
                  </a:pathLst>
                </a:custGeom>
                <a:solidFill>
                  <a:srgbClr val="082F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130" tIns="8065" rIns="16130" bIns="806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20" name="ee4pContent1">
              <a:extLst>
                <a:ext uri="{FF2B5EF4-FFF2-40B4-BE49-F238E27FC236}">
                  <a16:creationId xmlns:a16="http://schemas.microsoft.com/office/drawing/2014/main" id="{57FEE03F-F290-0A91-3C8C-D9C98B5B1834}"/>
                </a:ext>
              </a:extLst>
            </p:cNvPr>
            <p:cNvSpPr txBox="1"/>
            <p:nvPr/>
          </p:nvSpPr>
          <p:spPr>
            <a:xfrm>
              <a:off x="7088127" y="1159608"/>
              <a:ext cx="4400667" cy="181361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2000">
                  <a:solidFill>
                    <a:srgbClr val="000000"/>
                  </a:solidFill>
                </a:defRPr>
              </a:lvl1pPr>
              <a:lvl2pPr marL="228600" lvl="1" indent="-228600"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"/>
                <a:defRPr sz="2000">
                  <a:solidFill>
                    <a:srgbClr val="000000"/>
                  </a:solidFill>
                </a:defRPr>
              </a:lvl2pPr>
              <a:lvl3pPr marL="438912" lvl="2" indent="-210312">
                <a:buClr>
                  <a:srgbClr val="000000"/>
                </a:buClr>
                <a:buSzPct val="100000"/>
                <a:buFont typeface="Arial" panose="020B0604020202020204" pitchFamily="34" charset="0"/>
                <a:buChar char="‒"/>
                <a:defRPr sz="2000">
                  <a:solidFill>
                    <a:srgbClr val="000000"/>
                  </a:solidFill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2400" b="1">
                  <a:solidFill>
                    <a:srgbClr val="082F3B"/>
                  </a:solidFill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2400" b="1">
                  <a:solidFill>
                    <a:srgbClr val="000000"/>
                  </a:solidFill>
                </a:defRPr>
              </a:lvl5pPr>
              <a:lvl6pPr marL="228600" lvl="5" indent="-228600">
                <a:buClr>
                  <a:srgbClr val="000000"/>
                </a:buClr>
                <a:buSzPct val="100000"/>
                <a:buFont typeface="Wingdings" panose="05000000000000000000" pitchFamily="2" charset="2"/>
                <a:buChar char=""/>
                <a:defRPr sz="2400">
                  <a:solidFill>
                    <a:srgbClr val="000000"/>
                  </a:solidFill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000000"/>
                  </a:solidFill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6600" b="1">
                  <a:solidFill>
                    <a:srgbClr val="082F3B"/>
                  </a:solidFill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4400" b="1">
                  <a:solidFill>
                    <a:srgbClr val="082F3B"/>
                  </a:solidFill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Develop mRNA technolog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Implement mRNA technology for vaccine(s) production at scale and testing according to GMP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1"/>
                  </a:solidFill>
                  <a:latin typeface="Raleway" pitchFamily="2" charset="0"/>
                </a:rPr>
                <a:t>S</a:t>
              </a:r>
              <a:r>
                <a:rPr lang="en-US" sz="1400" dirty="0">
                  <a:latin typeface="Raleway" pitchFamily="2" charset="0"/>
                </a:rPr>
                <a:t>erve as training center on mRNA technology for recipien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Raleway" pitchFamily="2" charset="0"/>
                </a:rPr>
                <a:t>Develop technology transfer cont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Raleway" pitchFamily="2" charset="0"/>
                </a:rPr>
                <a:t>Assist recipients during technology transfer</a:t>
              </a:r>
            </a:p>
          </p:txBody>
        </p:sp>
      </p:grpSp>
      <p:pic>
        <p:nvPicPr>
          <p:cNvPr id="28" name="Picture 4">
            <a:extLst>
              <a:ext uri="{FF2B5EF4-FFF2-40B4-BE49-F238E27FC236}">
                <a16:creationId xmlns:a16="http://schemas.microsoft.com/office/drawing/2014/main" id="{AA0533F6-1557-A2CE-6EB4-A3858A3D0B3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826" t="26397" r="4469" b="3860"/>
          <a:stretch/>
        </p:blipFill>
        <p:spPr>
          <a:xfrm>
            <a:off x="1161059" y="1805956"/>
            <a:ext cx="4370934" cy="37347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7664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4AA54199-4BF4-B75C-163C-E50CD3F8ABFD}"/>
              </a:ext>
            </a:extLst>
          </p:cNvPr>
          <p:cNvSpPr/>
          <p:nvPr/>
        </p:nvSpPr>
        <p:spPr>
          <a:xfrm>
            <a:off x="161433" y="1620984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2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8C8E582-D72C-488E-949C-F66865574692}"/>
              </a:ext>
            </a:extLst>
          </p:cNvPr>
          <p:cNvSpPr/>
          <p:nvPr/>
        </p:nvSpPr>
        <p:spPr>
          <a:xfrm>
            <a:off x="161433" y="1938735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3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0CB88CF-46CF-4FD1-B757-16E73A1FFA34}"/>
              </a:ext>
            </a:extLst>
          </p:cNvPr>
          <p:cNvSpPr/>
          <p:nvPr/>
        </p:nvSpPr>
        <p:spPr>
          <a:xfrm>
            <a:off x="597690" y="1571351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Vax</a:t>
            </a:r>
            <a:endParaRPr kumimoji="0" lang="en-RO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D7F2A17-E69E-8B5D-5B1E-4156D5ABFA30}"/>
              </a:ext>
            </a:extLst>
          </p:cNvPr>
          <p:cNvSpPr/>
          <p:nvPr/>
        </p:nvSpPr>
        <p:spPr>
          <a:xfrm>
            <a:off x="161433" y="2256486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4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BFE9CB6-9C5A-320D-DE76-74102D6C4926}"/>
              </a:ext>
            </a:extLst>
          </p:cNvPr>
          <p:cNvSpPr/>
          <p:nvPr/>
        </p:nvSpPr>
        <p:spPr>
          <a:xfrm>
            <a:off x="597690" y="1889309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-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Manguinhos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171E1596-39B2-8C6D-19B3-93984F1EEB45}"/>
              </a:ext>
            </a:extLst>
          </p:cNvPr>
          <p:cNvSpPr/>
          <p:nvPr/>
        </p:nvSpPr>
        <p:spPr>
          <a:xfrm>
            <a:off x="161433" y="2574237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5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E3F4FAF1-C309-38A1-444C-F07947960CF8}"/>
              </a:ext>
            </a:extLst>
          </p:cNvPr>
          <p:cNvSpPr/>
          <p:nvPr/>
        </p:nvSpPr>
        <p:spPr>
          <a:xfrm>
            <a:off x="597690" y="2207267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farma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7B45BCA8-E62D-8BC4-045A-9433D3D8F0F3}"/>
              </a:ext>
            </a:extLst>
          </p:cNvPr>
          <p:cNvSpPr/>
          <p:nvPr/>
        </p:nvSpPr>
        <p:spPr>
          <a:xfrm>
            <a:off x="161433" y="2891988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6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26054C67-F995-E64D-AF14-5E687452E984}"/>
              </a:ext>
            </a:extLst>
          </p:cNvPr>
          <p:cNvSpPr/>
          <p:nvPr/>
        </p:nvSpPr>
        <p:spPr>
          <a:xfrm>
            <a:off x="597690" y="2525225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logicalE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4B5587B-976E-C1F0-2B0B-D9C258D888AE}"/>
              </a:ext>
            </a:extLst>
          </p:cNvPr>
          <p:cNvSpPr/>
          <p:nvPr/>
        </p:nvSpPr>
        <p:spPr>
          <a:xfrm>
            <a:off x="161433" y="3209739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7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0F5F8621-C917-34E5-5777-54C0696A8941}"/>
              </a:ext>
            </a:extLst>
          </p:cNvPr>
          <p:cNvSpPr/>
          <p:nvPr/>
        </p:nvSpPr>
        <p:spPr>
          <a:xfrm>
            <a:off x="597690" y="2843183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Generic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Pharma 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C3670410-F3C6-3EF4-B795-50FD6F150866}"/>
              </a:ext>
            </a:extLst>
          </p:cNvPr>
          <p:cNvSpPr/>
          <p:nvPr/>
        </p:nvSpPr>
        <p:spPr>
          <a:xfrm>
            <a:off x="161433" y="3527490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8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4E45CE6A-8B6C-CC91-2470-A41E3D7B9243}"/>
              </a:ext>
            </a:extLst>
          </p:cNvPr>
          <p:cNvSpPr/>
          <p:nvPr/>
        </p:nvSpPr>
        <p:spPr>
          <a:xfrm>
            <a:off x="597690" y="3161141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vaccines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Nigeria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CFA6D551-3760-847D-7A15-F9AAA3C8D5C5}"/>
              </a:ext>
            </a:extLst>
          </p:cNvPr>
          <p:cNvSpPr/>
          <p:nvPr/>
        </p:nvSpPr>
        <p:spPr>
          <a:xfrm>
            <a:off x="161433" y="3845241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9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7A596132-BD78-09B3-A00C-F57C121A5805}"/>
              </a:ext>
            </a:extLst>
          </p:cNvPr>
          <p:cNvSpPr/>
          <p:nvPr/>
        </p:nvSpPr>
        <p:spPr>
          <a:xfrm>
            <a:off x="597690" y="3479099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Darnitsa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AC93A81-B588-5575-9831-20B2D9D55216}"/>
              </a:ext>
            </a:extLst>
          </p:cNvPr>
          <p:cNvSpPr/>
          <p:nvPr/>
        </p:nvSpPr>
        <p:spPr>
          <a:xfrm>
            <a:off x="161433" y="4162992"/>
            <a:ext cx="396000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0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EC3E15D5-B489-89C7-37C0-61701C28A40F}"/>
              </a:ext>
            </a:extLst>
          </p:cNvPr>
          <p:cNvSpPr/>
          <p:nvPr/>
        </p:nvSpPr>
        <p:spPr>
          <a:xfrm>
            <a:off x="597690" y="3797057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Incepta Vaccine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C94A053-6F33-9DAD-4EF7-6129418F7478}"/>
              </a:ext>
            </a:extLst>
          </p:cNvPr>
          <p:cNvSpPr/>
          <p:nvPr/>
        </p:nvSpPr>
        <p:spPr>
          <a:xfrm>
            <a:off x="161433" y="4480743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1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6C9073E8-648D-009D-D730-0DD63403A8E2}"/>
              </a:ext>
            </a:extLst>
          </p:cNvPr>
          <p:cNvSpPr/>
          <p:nvPr/>
        </p:nvSpPr>
        <p:spPr>
          <a:xfrm>
            <a:off x="597690" y="4115015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Institut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Pasteur de Dakar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4CE89D21-5F34-EBFD-70F8-8B51639C6999}"/>
              </a:ext>
            </a:extLst>
          </p:cNvPr>
          <p:cNvSpPr/>
          <p:nvPr/>
        </p:nvSpPr>
        <p:spPr>
          <a:xfrm>
            <a:off x="161433" y="4798494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2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AF3D9511-43B9-8D1B-5BC2-38572C11CF2B}"/>
              </a:ext>
            </a:extLst>
          </p:cNvPr>
          <p:cNvSpPr/>
          <p:nvPr/>
        </p:nvSpPr>
        <p:spPr>
          <a:xfrm>
            <a:off x="597690" y="4432973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Institut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Pasteur de Tunis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933BC206-9BAA-02A6-080F-77090BE73EF9}"/>
              </a:ext>
            </a:extLst>
          </p:cNvPr>
          <p:cNvSpPr/>
          <p:nvPr/>
        </p:nvSpPr>
        <p:spPr>
          <a:xfrm>
            <a:off x="161433" y="5116245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3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84D28EEC-F4CC-5DEA-B928-5B1C21DC287A}"/>
              </a:ext>
            </a:extLst>
          </p:cNvPr>
          <p:cNvSpPr/>
          <p:nvPr/>
        </p:nvSpPr>
        <p:spPr>
          <a:xfrm>
            <a:off x="597690" y="4750931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Institut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Torlak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0DF1CFC5-D506-E21A-6B92-A292E254DB7A}"/>
              </a:ext>
            </a:extLst>
          </p:cNvPr>
          <p:cNvSpPr/>
          <p:nvPr/>
        </p:nvSpPr>
        <p:spPr>
          <a:xfrm>
            <a:off x="161433" y="5433996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4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62480B6E-7609-53D0-9C4C-E7BEB0986E28}"/>
              </a:ext>
            </a:extLst>
          </p:cNvPr>
          <p:cNvSpPr/>
          <p:nvPr/>
        </p:nvSpPr>
        <p:spPr>
          <a:xfrm>
            <a:off x="597689" y="5068889"/>
            <a:ext cx="2111105" cy="285191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National Institute of Health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7E283EF-3017-4616-E0E5-488FEB179498}"/>
              </a:ext>
            </a:extLst>
          </p:cNvPr>
          <p:cNvSpPr/>
          <p:nvPr/>
        </p:nvSpPr>
        <p:spPr>
          <a:xfrm>
            <a:off x="597690" y="5386847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Polyvac</a:t>
            </a:r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A8AD59B4-C9DD-7CE2-3885-0948E3820F1E}"/>
              </a:ext>
            </a:extLst>
          </p:cNvPr>
          <p:cNvSpPr/>
          <p:nvPr/>
        </p:nvSpPr>
        <p:spPr>
          <a:xfrm>
            <a:off x="161433" y="5751741"/>
            <a:ext cx="376334" cy="180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</a:t>
            </a: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5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111" name="Rounded Rectangle 110">
            <a:extLst>
              <a:ext uri="{FF2B5EF4-FFF2-40B4-BE49-F238E27FC236}">
                <a16:creationId xmlns:a16="http://schemas.microsoft.com/office/drawing/2014/main" id="{94DADA39-6185-664F-4DBA-F959F578B459}"/>
              </a:ext>
            </a:extLst>
          </p:cNvPr>
          <p:cNvSpPr/>
          <p:nvPr/>
        </p:nvSpPr>
        <p:spPr>
          <a:xfrm>
            <a:off x="597690" y="5704810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Sinergium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 Biotech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sp>
        <p:nvSpPr>
          <p:cNvPr id="117" name="Rounded Rectangle 116">
            <a:extLst>
              <a:ext uri="{FF2B5EF4-FFF2-40B4-BE49-F238E27FC236}">
                <a16:creationId xmlns:a16="http://schemas.microsoft.com/office/drawing/2014/main" id="{194220AE-D3A9-0052-D07E-98FE1054D7DE}"/>
              </a:ext>
            </a:extLst>
          </p:cNvPr>
          <p:cNvSpPr/>
          <p:nvPr/>
        </p:nvSpPr>
        <p:spPr>
          <a:xfrm>
            <a:off x="161433" y="1149257"/>
            <a:ext cx="376333" cy="18000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1</a:t>
            </a: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AD1AAF6D-F715-73F2-8395-5266BC647186}"/>
              </a:ext>
            </a:extLst>
          </p:cNvPr>
          <p:cNvSpPr/>
          <p:nvPr/>
        </p:nvSpPr>
        <p:spPr>
          <a:xfrm>
            <a:off x="597690" y="1253393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R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Biova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817432-2ADD-3271-8F7A-4F1302C79C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21141" y="385163"/>
            <a:ext cx="9981747" cy="285190"/>
          </a:xfrm>
        </p:spPr>
        <p:txBody>
          <a:bodyPr>
            <a:normAutofit fontScale="90000"/>
          </a:bodyPr>
          <a:lstStyle/>
          <a:p>
            <a:r>
              <a:rPr lang="en-GB" sz="2600" dirty="0">
                <a:solidFill>
                  <a:schemeClr val="accent1"/>
                </a:solidFill>
              </a:rPr>
              <a:t>Partners (manufacturers) in 15 LMICs have joined the programme and participate in the net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2F10E5-E1FF-AA9E-C4C1-58FC9F8A5BD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1C8182-8BBE-B542-ADE5-8820B104469B}" type="slidenum">
              <a:rPr kumimoji="0" lang="en-RO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RO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"/>
              <a:ea typeface="+mn-ea"/>
              <a:cs typeface="+mn-cs"/>
            </a:endParaRPr>
          </a:p>
        </p:txBody>
      </p:sp>
      <p:sp>
        <p:nvSpPr>
          <p:cNvPr id="10" name="Rounded Rectangle 117">
            <a:extLst>
              <a:ext uri="{FF2B5EF4-FFF2-40B4-BE49-F238E27FC236}">
                <a16:creationId xmlns:a16="http://schemas.microsoft.com/office/drawing/2014/main" id="{CA68C530-7657-16F7-0C59-62BDD7459BEB}"/>
              </a:ext>
            </a:extLst>
          </p:cNvPr>
          <p:cNvSpPr/>
          <p:nvPr/>
        </p:nvSpPr>
        <p:spPr>
          <a:xfrm>
            <a:off x="603044" y="935435"/>
            <a:ext cx="2103656" cy="28800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aleway" pitchFamily="2" charset="77"/>
                <a:ea typeface="+mn-ea"/>
                <a:cs typeface="+mn-cs"/>
              </a:rPr>
              <a:t>Afrigen</a:t>
            </a:r>
            <a:endParaRPr kumimoji="0" lang="en-R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167DF4-D480-E807-977B-27F3285D54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6922" y="935435"/>
            <a:ext cx="8885966" cy="5252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8476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5EC1D-BA10-3894-2BAA-225AA6F6C1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06808" y="427896"/>
            <a:ext cx="9308892" cy="469900"/>
          </a:xfrm>
        </p:spPr>
        <p:txBody>
          <a:bodyPr>
            <a:normAutofit fontScale="90000"/>
          </a:bodyPr>
          <a:lstStyle/>
          <a:p>
            <a:r>
              <a:rPr lang="en-US" sz="3200" dirty="0">
                <a:solidFill>
                  <a:schemeClr val="accent1"/>
                </a:solidFill>
              </a:rPr>
              <a:t>Intellectual property and know-how/data sharing under the </a:t>
            </a:r>
            <a:r>
              <a:rPr lang="en-US" sz="3200" dirty="0" err="1">
                <a:solidFill>
                  <a:schemeClr val="accent1"/>
                </a:solidFill>
              </a:rPr>
              <a:t>programme</a:t>
            </a:r>
            <a:endParaRPr lang="en-CH" sz="32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00BF10-E02D-9ACB-160E-58F5FE531D0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92734" y="1202648"/>
            <a:ext cx="11197653" cy="5115602"/>
          </a:xfrm>
        </p:spPr>
        <p:txBody>
          <a:bodyPr>
            <a:normAutofit/>
          </a:bodyPr>
          <a:lstStyle/>
          <a:p>
            <a:pPr marL="457200" indent="-4572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b="1" dirty="0"/>
              <a:t>G</a:t>
            </a:r>
            <a:r>
              <a:rPr lang="en-US" sz="2000" b="1" dirty="0"/>
              <a:t>rant of </a:t>
            </a:r>
            <a:r>
              <a:rPr lang="en-US" sz="2000" b="1" dirty="0" err="1"/>
              <a:t>licence</a:t>
            </a:r>
            <a:r>
              <a:rPr lang="en-US" sz="2000" b="1" dirty="0"/>
              <a:t> to Recipient: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US" sz="2000" dirty="0"/>
              <a:t>Under the </a:t>
            </a:r>
            <a:r>
              <a:rPr lang="en-US" sz="2000" dirty="0" err="1"/>
              <a:t>programme</a:t>
            </a:r>
            <a:r>
              <a:rPr lang="en-US" sz="2000" dirty="0"/>
              <a:t>, each Recipient receives a non-exclusive </a:t>
            </a:r>
            <a:r>
              <a:rPr lang="en-US" sz="2000" dirty="0" err="1"/>
              <a:t>licence</a:t>
            </a:r>
            <a:r>
              <a:rPr lang="en-US" sz="2000" dirty="0"/>
              <a:t> to technology transfer packages to develop and </a:t>
            </a:r>
            <a:r>
              <a:rPr lang="en-US" sz="2000" dirty="0" err="1"/>
              <a:t>commercialise</a:t>
            </a:r>
            <a:r>
              <a:rPr lang="en-US" sz="2000" dirty="0"/>
              <a:t> “Products” based on the technology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endParaRPr lang="en-US" sz="2000" dirty="0"/>
          </a:p>
          <a:p>
            <a:pPr marL="457200" indent="-4572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000" b="1" dirty="0"/>
              <a:t>Recipient grant-back to MPP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US" sz="2000" dirty="0"/>
              <a:t>Each Recipient agrees to grant back a non-exclusive </a:t>
            </a:r>
            <a:r>
              <a:rPr lang="en-US" sz="2000" dirty="0" err="1"/>
              <a:t>licence</a:t>
            </a:r>
            <a:r>
              <a:rPr lang="en-US" sz="2000" dirty="0"/>
              <a:t> to any data or inventions it develops based on the technology transfer to make available to other Recipients (via MPP) 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endParaRPr lang="en-US" sz="2000" dirty="0"/>
          </a:p>
          <a:p>
            <a:pPr marL="457200" indent="-4572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000" b="1" dirty="0"/>
              <a:t>Freedom to Operate (FTO):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US" sz="2000" dirty="0"/>
              <a:t>Ensuring freedom to operate is each </a:t>
            </a:r>
            <a:r>
              <a:rPr lang="en-GB" sz="2000" dirty="0"/>
              <a:t>recipient’s </a:t>
            </a:r>
            <a:r>
              <a:rPr lang="en-US" sz="2000" dirty="0"/>
              <a:t>responsibility.  MPP and WHO provide an intellectual property landscap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3050F3-0781-3360-34CB-611DAAECEDB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</p:spPr>
        <p:txBody>
          <a:bodyPr/>
          <a:lstStyle/>
          <a:p>
            <a:fld id="{1D1C8182-8BBE-B542-ADE5-8820B104469B}" type="slidenum">
              <a:rPr lang="en-RO" smtClean="0"/>
              <a:pPr/>
              <a:t>18</a:t>
            </a:fld>
            <a:endParaRPr lang="en-RO"/>
          </a:p>
        </p:txBody>
      </p:sp>
    </p:spTree>
    <p:extLst>
      <p:ext uri="{BB962C8B-B14F-4D97-AF65-F5344CB8AC3E}">
        <p14:creationId xmlns:p14="http://schemas.microsoft.com/office/powerpoint/2010/main" val="2732744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ounded Rectangle 99">
            <a:extLst>
              <a:ext uri="{FF2B5EF4-FFF2-40B4-BE49-F238E27FC236}">
                <a16:creationId xmlns:a16="http://schemas.microsoft.com/office/drawing/2014/main" id="{51000FDD-982F-8F67-57D6-D2EA28892773}"/>
              </a:ext>
            </a:extLst>
          </p:cNvPr>
          <p:cNvSpPr/>
          <p:nvPr/>
        </p:nvSpPr>
        <p:spPr>
          <a:xfrm>
            <a:off x="8560796" y="2077726"/>
            <a:ext cx="2920701" cy="2746016"/>
          </a:xfrm>
          <a:prstGeom prst="roundRect">
            <a:avLst>
              <a:gd name="adj" fmla="val 13170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33DDF0-4BFD-F1AC-BEA9-871F344D5B4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99055" y="350558"/>
            <a:ext cx="10515600" cy="471488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Technology and know-how sharing proces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31482-62F5-4959-1848-4D29D1ECD52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8775" y="6318250"/>
            <a:ext cx="40322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1C8182-8BBE-B542-ADE5-8820B104469B}" type="slidenum">
              <a:rPr kumimoji="0" lang="en-RO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RO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"/>
              <a:ea typeface="+mn-ea"/>
              <a:cs typeface="+mn-cs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EBC53B8-03A2-EA19-3B0A-219D9ADD03E9}"/>
              </a:ext>
            </a:extLst>
          </p:cNvPr>
          <p:cNvSpPr txBox="1">
            <a:spLocks/>
          </p:cNvSpPr>
          <p:nvPr/>
        </p:nvSpPr>
        <p:spPr>
          <a:xfrm>
            <a:off x="1899055" y="4981995"/>
            <a:ext cx="2451192" cy="482448"/>
          </a:xfrm>
          <a:prstGeom prst="rect">
            <a:avLst/>
          </a:prstGeom>
          <a:ln>
            <a:noFill/>
          </a:ln>
        </p:spPr>
        <p:txBody>
          <a:bodyPr vert="horz" lIns="64304" tIns="32152" rIns="64304" bIns="32152" rtlCol="0">
            <a:noAutofit/>
          </a:bodyPr>
          <a:lstStyle>
            <a:lvl1pPr marL="0" indent="0" algn="l" defTabSz="1733659" rtl="0" eaLnBrk="1" latinLnBrk="0" hangingPunct="1">
              <a:lnSpc>
                <a:spcPct val="90000"/>
              </a:lnSpc>
              <a:spcBef>
                <a:spcPts val="1896"/>
              </a:spcBef>
              <a:buFont typeface="Arial" panose="020B0604020202020204" pitchFamily="34" charset="0"/>
              <a:buNone/>
              <a:defRPr sz="42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1pPr>
            <a:lvl2pPr marL="1494329" indent="-626518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●"/>
              <a:tabLst/>
              <a:defRPr sz="373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2pPr>
            <a:lvl3pPr marL="2086981" indent="-641335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▸"/>
              <a:tabLst/>
              <a:defRPr sz="34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3pPr>
            <a:lvl4pPr marL="2728316" indent="-641335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Courier New" panose="02070309020205020404" pitchFamily="49" charset="0"/>
              <a:buChar char="o"/>
              <a:tabLst/>
              <a:defRPr sz="3200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4pPr>
            <a:lvl5pPr marL="3386582" indent="-592652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.Lucida Grande UI Regular"/>
              <a:buChar char="▪"/>
              <a:tabLst/>
              <a:defRPr sz="30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5pPr>
            <a:lvl6pPr marL="4042732" indent="-590536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.Lucida Grande UI Regular"/>
              <a:buChar char="▹"/>
              <a:tabLst/>
              <a:defRPr sz="293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6pPr>
            <a:lvl7pPr marL="4635384" indent="-543970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◦"/>
              <a:tabLst/>
              <a:defRPr sz="26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7pPr>
            <a:lvl8pPr marL="5046007" indent="-592652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-"/>
              <a:tabLst/>
              <a:defRPr sz="26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8pPr>
            <a:lvl9pPr marL="7368050" indent="-433414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Arial" panose="020B0604020202020204" pitchFamily="34" charset="0"/>
              <a:buChar char="•"/>
              <a:defRPr sz="341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0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OVID-19 validated technology platform Phase III scale</a:t>
            </a:r>
          </a:p>
          <a:p>
            <a:pPr marL="401879" marR="0" lvl="0" indent="-401879" algn="just" defTabSz="121910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  <a:p>
            <a:pPr marL="401879" marR="0" lvl="0" indent="-401879" algn="just" defTabSz="121910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E797869A-074D-CB15-00BE-55F1D396F886}"/>
              </a:ext>
            </a:extLst>
          </p:cNvPr>
          <p:cNvSpPr txBox="1">
            <a:spLocks/>
          </p:cNvSpPr>
          <p:nvPr/>
        </p:nvSpPr>
        <p:spPr>
          <a:xfrm>
            <a:off x="2085793" y="1432418"/>
            <a:ext cx="2598518" cy="760987"/>
          </a:xfrm>
          <a:prstGeom prst="rect">
            <a:avLst/>
          </a:prstGeom>
          <a:ln>
            <a:noFill/>
          </a:ln>
        </p:spPr>
        <p:txBody>
          <a:bodyPr vert="horz" lIns="64304" tIns="32152" rIns="64304" bIns="32152" rtlCol="0">
            <a:noAutofit/>
          </a:bodyPr>
          <a:lstStyle>
            <a:lvl1pPr marL="0" indent="0" algn="l" defTabSz="1733659" rtl="0" eaLnBrk="1" latinLnBrk="0" hangingPunct="1">
              <a:lnSpc>
                <a:spcPct val="90000"/>
              </a:lnSpc>
              <a:spcBef>
                <a:spcPts val="1896"/>
              </a:spcBef>
              <a:buFont typeface="Arial" panose="020B0604020202020204" pitchFamily="34" charset="0"/>
              <a:buNone/>
              <a:defRPr sz="42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1pPr>
            <a:lvl2pPr marL="1494329" indent="-626518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●"/>
              <a:tabLst/>
              <a:defRPr sz="373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2pPr>
            <a:lvl3pPr marL="2086981" indent="-641335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▸"/>
              <a:tabLst/>
              <a:defRPr sz="34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3pPr>
            <a:lvl4pPr marL="2728316" indent="-641335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Courier New" panose="02070309020205020404" pitchFamily="49" charset="0"/>
              <a:buChar char="o"/>
              <a:tabLst/>
              <a:defRPr sz="3200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4pPr>
            <a:lvl5pPr marL="3386582" indent="-592652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.Lucida Grande UI Regular"/>
              <a:buChar char="▪"/>
              <a:tabLst/>
              <a:defRPr sz="30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5pPr>
            <a:lvl6pPr marL="4042732" indent="-590536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.Lucida Grande UI Regular"/>
              <a:buChar char="▹"/>
              <a:tabLst/>
              <a:defRPr sz="293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6pPr>
            <a:lvl7pPr marL="4635384" indent="-543970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◦"/>
              <a:tabLst/>
              <a:defRPr sz="26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7pPr>
            <a:lvl8pPr marL="5046007" indent="-592652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System Font Regular"/>
              <a:buChar char="-"/>
              <a:tabLst/>
              <a:defRPr sz="2667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8pPr>
            <a:lvl9pPr marL="7368050" indent="-433414" algn="l" defTabSz="1733659" rtl="0" eaLnBrk="1" latinLnBrk="0" hangingPunct="1">
              <a:lnSpc>
                <a:spcPct val="90000"/>
              </a:lnSpc>
              <a:spcBef>
                <a:spcPts val="948"/>
              </a:spcBef>
              <a:buFont typeface="Arial" panose="020B0604020202020204" pitchFamily="34" charset="0"/>
              <a:buChar char="•"/>
              <a:defRPr sz="3413" kern="1200">
                <a:solidFill>
                  <a:srgbClr val="283A8A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0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OVID-19 technology platform 2nd generation and other disease targets </a:t>
            </a:r>
          </a:p>
          <a:p>
            <a:pPr marL="0" marR="0" lvl="0" indent="0" algn="l" defTabSz="1219109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</p:txBody>
      </p:sp>
      <p:sp>
        <p:nvSpPr>
          <p:cNvPr id="5" name="Up-down Arrow 4">
            <a:extLst>
              <a:ext uri="{FF2B5EF4-FFF2-40B4-BE49-F238E27FC236}">
                <a16:creationId xmlns:a16="http://schemas.microsoft.com/office/drawing/2014/main" id="{79103CD4-D0B8-FC88-2B09-AA2AE6E49674}"/>
              </a:ext>
            </a:extLst>
          </p:cNvPr>
          <p:cNvSpPr/>
          <p:nvPr/>
        </p:nvSpPr>
        <p:spPr>
          <a:xfrm>
            <a:off x="2622515" y="2205272"/>
            <a:ext cx="476495" cy="648017"/>
          </a:xfrm>
          <a:prstGeom prst="up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1" i="0" u="none" strike="noStrike" kern="1200" cap="none" spc="0" normalizeH="0" baseline="0" noProof="0">
              <a:ln/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Up-down Arrow 5">
            <a:extLst>
              <a:ext uri="{FF2B5EF4-FFF2-40B4-BE49-F238E27FC236}">
                <a16:creationId xmlns:a16="http://schemas.microsoft.com/office/drawing/2014/main" id="{628C1E86-0C35-A3E4-2694-36FD969A041E}"/>
              </a:ext>
            </a:extLst>
          </p:cNvPr>
          <p:cNvSpPr/>
          <p:nvPr/>
        </p:nvSpPr>
        <p:spPr>
          <a:xfrm>
            <a:off x="2622515" y="4283358"/>
            <a:ext cx="476495" cy="648017"/>
          </a:xfrm>
          <a:prstGeom prst="up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1" i="0" u="none" strike="noStrike" kern="1200" cap="none" spc="0" normalizeH="0" baseline="0" noProof="0">
              <a:ln/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63B222-5A1C-2FFC-39D3-A7C64D116B2A}"/>
              </a:ext>
            </a:extLst>
          </p:cNvPr>
          <p:cNvSpPr txBox="1"/>
          <p:nvPr/>
        </p:nvSpPr>
        <p:spPr>
          <a:xfrm>
            <a:off x="2494414" y="2663078"/>
            <a:ext cx="244102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</a:b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COVID-19 technology platform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Phase I/II scale, 1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s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 and 2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nd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 generation and other disease target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81C29C-46A4-1E72-023C-D1DA02F52F8C}"/>
              </a:ext>
            </a:extLst>
          </p:cNvPr>
          <p:cNvSpPr txBox="1"/>
          <p:nvPr/>
        </p:nvSpPr>
        <p:spPr>
          <a:xfrm>
            <a:off x="8738785" y="2462796"/>
            <a:ext cx="2742713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EC6923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RECIPIENTS</a:t>
            </a:r>
            <a:r>
              <a:rPr kumimoji="0" lang="en-GB" sz="3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</a:b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in the LMICs: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will receive the COVID-19 technology platform, further develop it and apply it to other diseases of interes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.</a:t>
            </a:r>
          </a:p>
        </p:txBody>
      </p:sp>
      <p:pic>
        <p:nvPicPr>
          <p:cNvPr id="13" name="Graphic 12" descr="Connections with solid fill">
            <a:extLst>
              <a:ext uri="{FF2B5EF4-FFF2-40B4-BE49-F238E27FC236}">
                <a16:creationId xmlns:a16="http://schemas.microsoft.com/office/drawing/2014/main" id="{B2485173-7DB1-50F1-6905-D5D95F5A14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89476" y="6812995"/>
            <a:ext cx="1946967" cy="1946967"/>
          </a:xfrm>
          <a:prstGeom prst="rect">
            <a:avLst/>
          </a:prstGeom>
        </p:spPr>
      </p:pic>
      <p:pic>
        <p:nvPicPr>
          <p:cNvPr id="15" name="Graphic 14" descr="Earth globe: Americas with solid fill">
            <a:extLst>
              <a:ext uri="{FF2B5EF4-FFF2-40B4-BE49-F238E27FC236}">
                <a16:creationId xmlns:a16="http://schemas.microsoft.com/office/drawing/2014/main" id="{FD0D5987-89ED-25C6-4494-5D2C44C984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53752" y="1641098"/>
            <a:ext cx="914400" cy="914400"/>
          </a:xfrm>
          <a:prstGeom prst="rect">
            <a:avLst/>
          </a:prstGeom>
        </p:spPr>
      </p:pic>
      <p:pic>
        <p:nvPicPr>
          <p:cNvPr id="17" name="Graphic 16" descr="Earth globe: Africa and Europe with solid fill">
            <a:extLst>
              <a:ext uri="{FF2B5EF4-FFF2-40B4-BE49-F238E27FC236}">
                <a16:creationId xmlns:a16="http://schemas.microsoft.com/office/drawing/2014/main" id="{2E855C0C-41CB-F53F-983D-46562AA8DF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93005" y="1620525"/>
            <a:ext cx="914400" cy="914400"/>
          </a:xfrm>
          <a:prstGeom prst="rect">
            <a:avLst/>
          </a:prstGeom>
        </p:spPr>
      </p:pic>
      <p:pic>
        <p:nvPicPr>
          <p:cNvPr id="19" name="Graphic 18" descr="Earth globe: Asia and Australia with solid fill">
            <a:extLst>
              <a:ext uri="{FF2B5EF4-FFF2-40B4-BE49-F238E27FC236}">
                <a16:creationId xmlns:a16="http://schemas.microsoft.com/office/drawing/2014/main" id="{499A8B70-B9A7-0298-C18E-91FC39D8A6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001369" y="4341687"/>
            <a:ext cx="914400" cy="914400"/>
          </a:xfrm>
          <a:prstGeom prst="rect">
            <a:avLst/>
          </a:prstGeom>
        </p:spPr>
      </p:pic>
      <p:pic>
        <p:nvPicPr>
          <p:cNvPr id="21" name="Graphic 20" descr="Earth Globe - Asia with solid fill">
            <a:extLst>
              <a:ext uri="{FF2B5EF4-FFF2-40B4-BE49-F238E27FC236}">
                <a16:creationId xmlns:a16="http://schemas.microsoft.com/office/drawing/2014/main" id="{319035DA-CB33-19F2-2883-96FD6804C2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94255" y="4399567"/>
            <a:ext cx="914400" cy="914400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E05127D-D604-0DAC-F8FF-C3CBE3B402A5}"/>
              </a:ext>
            </a:extLst>
          </p:cNvPr>
          <p:cNvCxnSpPr>
            <a:cxnSpLocks/>
          </p:cNvCxnSpPr>
          <p:nvPr/>
        </p:nvCxnSpPr>
        <p:spPr>
          <a:xfrm>
            <a:off x="9154468" y="2034258"/>
            <a:ext cx="1799284" cy="0"/>
          </a:xfrm>
          <a:prstGeom prst="straightConnector1">
            <a:avLst/>
          </a:prstGeom>
          <a:ln w="47625">
            <a:solidFill>
              <a:srgbClr val="017BC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D8E32A9-6719-721E-72F1-FC57F9EFB1AD}"/>
              </a:ext>
            </a:extLst>
          </p:cNvPr>
          <p:cNvCxnSpPr>
            <a:cxnSpLocks/>
          </p:cNvCxnSpPr>
          <p:nvPr/>
        </p:nvCxnSpPr>
        <p:spPr>
          <a:xfrm>
            <a:off x="9007405" y="4871055"/>
            <a:ext cx="1946347" cy="0"/>
          </a:xfrm>
          <a:prstGeom prst="straightConnector1">
            <a:avLst/>
          </a:prstGeom>
          <a:ln w="47625">
            <a:solidFill>
              <a:srgbClr val="017BC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0EFFC95-1988-0081-0408-AB320C1AD9F2}"/>
              </a:ext>
            </a:extLst>
          </p:cNvPr>
          <p:cNvCxnSpPr>
            <a:cxnSpLocks/>
          </p:cNvCxnSpPr>
          <p:nvPr/>
        </p:nvCxnSpPr>
        <p:spPr>
          <a:xfrm flipV="1">
            <a:off x="8537908" y="2443171"/>
            <a:ext cx="0" cy="1955131"/>
          </a:xfrm>
          <a:prstGeom prst="straightConnector1">
            <a:avLst/>
          </a:prstGeom>
          <a:ln w="47625">
            <a:solidFill>
              <a:srgbClr val="017BC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49DA8D6-FCEC-C7B8-A679-A8A140BF39F0}"/>
              </a:ext>
            </a:extLst>
          </p:cNvPr>
          <p:cNvCxnSpPr>
            <a:cxnSpLocks/>
          </p:cNvCxnSpPr>
          <p:nvPr/>
        </p:nvCxnSpPr>
        <p:spPr>
          <a:xfrm>
            <a:off x="11552500" y="2660206"/>
            <a:ext cx="0" cy="1681481"/>
          </a:xfrm>
          <a:prstGeom prst="straightConnector1">
            <a:avLst/>
          </a:prstGeom>
          <a:ln w="47625">
            <a:solidFill>
              <a:srgbClr val="017BC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ircular Arrow 85">
            <a:extLst>
              <a:ext uri="{FF2B5EF4-FFF2-40B4-BE49-F238E27FC236}">
                <a16:creationId xmlns:a16="http://schemas.microsoft.com/office/drawing/2014/main" id="{8B488491-19F8-1911-4A21-434AFED0CC31}"/>
              </a:ext>
            </a:extLst>
          </p:cNvPr>
          <p:cNvSpPr/>
          <p:nvPr/>
        </p:nvSpPr>
        <p:spPr>
          <a:xfrm>
            <a:off x="4641447" y="1297463"/>
            <a:ext cx="3524623" cy="3167498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0800000"/>
              <a:gd name="adj5" fmla="val 1259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Circular Arrow 86">
            <a:extLst>
              <a:ext uri="{FF2B5EF4-FFF2-40B4-BE49-F238E27FC236}">
                <a16:creationId xmlns:a16="http://schemas.microsoft.com/office/drawing/2014/main" id="{3409E418-2C66-E6FE-A163-7A9E0FC49E6A}"/>
              </a:ext>
            </a:extLst>
          </p:cNvPr>
          <p:cNvSpPr/>
          <p:nvPr/>
        </p:nvSpPr>
        <p:spPr>
          <a:xfrm rot="10800000">
            <a:off x="4687265" y="2786840"/>
            <a:ext cx="3524623" cy="3167498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0800000"/>
              <a:gd name="adj5" fmla="val 1259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7B90A28-3EA2-EEB0-3BD3-9CEBEF11F6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85" y="3372093"/>
            <a:ext cx="1989707" cy="722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DF577B97-F2D8-AA88-3B6F-83144A4F8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31" y="1376483"/>
            <a:ext cx="1537191" cy="83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01896E6C-44F1-4577-0EF9-E939218D6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40" y="4889413"/>
            <a:ext cx="951638" cy="789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C560952C-3EF1-435B-F5ED-D623AECDE441}"/>
              </a:ext>
            </a:extLst>
          </p:cNvPr>
          <p:cNvSpPr txBox="1"/>
          <p:nvPr/>
        </p:nvSpPr>
        <p:spPr>
          <a:xfrm>
            <a:off x="434916" y="2725762"/>
            <a:ext cx="12358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EC6923"/>
                </a:solidFill>
                <a:effectLst/>
                <a:uLnTx/>
                <a:uFillTx/>
                <a:latin typeface="Raleway" pitchFamily="2" charset="0"/>
                <a:ea typeface="+mn-ea"/>
                <a:cs typeface="+mn-cs"/>
              </a:rPr>
              <a:t>HUB</a:t>
            </a:r>
            <a:endParaRPr kumimoji="0" lang="en-CH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88D82C0D-151E-EF5D-88CB-F4CAD986FA09}"/>
              </a:ext>
            </a:extLst>
          </p:cNvPr>
          <p:cNvSpPr/>
          <p:nvPr/>
        </p:nvSpPr>
        <p:spPr>
          <a:xfrm>
            <a:off x="186709" y="1178727"/>
            <a:ext cx="4903228" cy="4807609"/>
          </a:xfrm>
          <a:prstGeom prst="roundRect">
            <a:avLst>
              <a:gd name="adj" fmla="val 13170"/>
            </a:avLst>
          </a:prstGeom>
          <a:solidFill>
            <a:srgbClr val="EC6923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Content Placeholder 9" descr="Logo&#10;&#10;Description automatically generated">
            <a:extLst>
              <a:ext uri="{FF2B5EF4-FFF2-40B4-BE49-F238E27FC236}">
                <a16:creationId xmlns:a16="http://schemas.microsoft.com/office/drawing/2014/main" id="{45FE174C-B9D6-9921-C83F-68D09878F41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584012" y="3093560"/>
            <a:ext cx="2206902" cy="1139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232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33B82D5-3187-C0DD-F08A-D66149BB03C8}"/>
              </a:ext>
            </a:extLst>
          </p:cNvPr>
          <p:cNvSpPr txBox="1">
            <a:spLocks/>
          </p:cNvSpPr>
          <p:nvPr/>
        </p:nvSpPr>
        <p:spPr>
          <a:xfrm>
            <a:off x="494415" y="1204714"/>
            <a:ext cx="6140302" cy="7193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213F99"/>
                    </a:gs>
                    <a:gs pos="100000">
                      <a:srgbClr val="55B4E5"/>
                    </a:gs>
                  </a:gsLst>
                  <a:lin ang="0" scaled="0"/>
                </a:gradFill>
                <a:effectLst/>
                <a:uLnTx/>
                <a:uFillTx/>
                <a:latin typeface="PT Sans"/>
                <a:ea typeface="+mj-ea"/>
                <a:cs typeface="+mj-cs"/>
              </a:rPr>
              <a:t>About the Medicines Patent Poo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328D7B6-6A99-D801-5554-E7421F88798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4415" y="2347912"/>
            <a:ext cx="5664200" cy="216217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>
                <a:solidFill>
                  <a:srgbClr val="283583"/>
                </a:solidFill>
              </a:rPr>
              <a:t>The </a:t>
            </a:r>
            <a:r>
              <a:rPr lang="en-US" b="1" dirty="0">
                <a:solidFill>
                  <a:srgbClr val="283583"/>
                </a:solidFill>
              </a:rPr>
              <a:t>Medicines Patent Pool (MPP) </a:t>
            </a:r>
            <a:r>
              <a:rPr lang="en-US" dirty="0">
                <a:solidFill>
                  <a:srgbClr val="283583"/>
                </a:solidFill>
              </a:rPr>
              <a:t>works to increase access to, and facilitate the development of, life-saving medicines and other health technologies for low- and middle-income countries (LMICs) through </a:t>
            </a:r>
            <a:r>
              <a:rPr lang="en-US" b="1" dirty="0">
                <a:solidFill>
                  <a:srgbClr val="283583"/>
                </a:solidFill>
              </a:rPr>
              <a:t>voluntary licensing</a:t>
            </a:r>
            <a:r>
              <a:rPr lang="en-US" dirty="0">
                <a:solidFill>
                  <a:srgbClr val="283583"/>
                </a:solidFill>
              </a:rPr>
              <a:t> and </a:t>
            </a:r>
            <a:r>
              <a:rPr lang="en-US" b="1" dirty="0">
                <a:solidFill>
                  <a:srgbClr val="283583"/>
                </a:solidFill>
              </a:rPr>
              <a:t>technology transfer</a:t>
            </a:r>
            <a:r>
              <a:rPr lang="en-US" dirty="0">
                <a:solidFill>
                  <a:srgbClr val="283583"/>
                </a:solidFill>
              </a:rPr>
              <a:t>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3BA197-0F06-2267-4144-92F928714940}"/>
              </a:ext>
            </a:extLst>
          </p:cNvPr>
          <p:cNvGrpSpPr/>
          <p:nvPr/>
        </p:nvGrpSpPr>
        <p:grpSpPr>
          <a:xfrm>
            <a:off x="11184397" y="-180724"/>
            <a:ext cx="940491" cy="419231"/>
            <a:chOff x="11184397" y="-97597"/>
            <a:chExt cx="940491" cy="419231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3B86CC1-E813-3A4C-7927-6361F4D6D868}"/>
                </a:ext>
              </a:extLst>
            </p:cNvPr>
            <p:cNvSpPr/>
            <p:nvPr/>
          </p:nvSpPr>
          <p:spPr>
            <a:xfrm>
              <a:off x="11184397" y="-97597"/>
              <a:ext cx="940491" cy="419231"/>
            </a:xfrm>
            <a:prstGeom prst="roundRect">
              <a:avLst>
                <a:gd name="adj" fmla="val 35783"/>
              </a:avLst>
            </a:prstGeom>
            <a:gradFill>
              <a:gsLst>
                <a:gs pos="17000">
                  <a:srgbClr val="283583"/>
                </a:gs>
                <a:gs pos="83000">
                  <a:srgbClr val="27AAE1"/>
                </a:gs>
              </a:gsLst>
              <a:lin ang="4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468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" name="TextBox 5">
              <a:hlinkClick r:id="rId2" action="ppaction://hlinksldjump"/>
              <a:extLst>
                <a:ext uri="{FF2B5EF4-FFF2-40B4-BE49-F238E27FC236}">
                  <a16:creationId xmlns:a16="http://schemas.microsoft.com/office/drawing/2014/main" id="{6956443B-B435-6AEE-55BF-57AF6A5AB38E}"/>
                </a:ext>
              </a:extLst>
            </p:cNvPr>
            <p:cNvSpPr txBox="1"/>
            <p:nvPr/>
          </p:nvSpPr>
          <p:spPr>
            <a:xfrm>
              <a:off x="11253585" y="89510"/>
              <a:ext cx="8021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" panose="020B0503020203020204" pitchFamily="34" charset="0"/>
                  <a:ea typeface="PT Sans" panose="020B0503020203020204" pitchFamily="34" charset="0"/>
                  <a:cs typeface="+mn-cs"/>
                </a:rPr>
                <a:t>BACK TO TOP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5AA8A58-C204-48D7-1ABB-7D14A1B52672}"/>
              </a:ext>
            </a:extLst>
          </p:cNvPr>
          <p:cNvSpPr txBox="1"/>
          <p:nvPr/>
        </p:nvSpPr>
        <p:spPr>
          <a:xfrm>
            <a:off x="494415" y="5283954"/>
            <a:ext cx="20439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0" i="0" u="none" strike="noStrike" kern="1200" cap="none" spc="0" normalizeH="0" baseline="0" noProof="0" dirty="0">
                <a:ln>
                  <a:noFill/>
                </a:ln>
                <a:solidFill>
                  <a:srgbClr val="213F99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Funded by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CC5B60-0133-1855-98F0-8D852A68BBC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0660" y="1716506"/>
            <a:ext cx="4720498" cy="265496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2E9F91DA-6D77-3596-5E27-267CC1C326F8}"/>
              </a:ext>
            </a:extLst>
          </p:cNvPr>
          <p:cNvGrpSpPr/>
          <p:nvPr userDrawn="1"/>
        </p:nvGrpSpPr>
        <p:grpSpPr>
          <a:xfrm>
            <a:off x="938120" y="5858745"/>
            <a:ext cx="6778821" cy="568408"/>
            <a:chOff x="392906" y="5211421"/>
            <a:chExt cx="6778821" cy="568408"/>
          </a:xfrm>
        </p:grpSpPr>
        <p:pic>
          <p:nvPicPr>
            <p:cNvPr id="12" name="Picture 11" descr="A blue text on a black background&#10;&#10;Description automatically generated">
              <a:extLst>
                <a:ext uri="{FF2B5EF4-FFF2-40B4-BE49-F238E27FC236}">
                  <a16:creationId xmlns:a16="http://schemas.microsoft.com/office/drawing/2014/main" id="{1A28A87C-9811-6445-C0BC-7C7C3BE9FF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2906" y="5321747"/>
              <a:ext cx="940594" cy="233724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2880967-C3B9-329D-D1B9-99CE87395A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rcRect/>
            <a:stretch/>
          </p:blipFill>
          <p:spPr>
            <a:xfrm>
              <a:off x="1588955" y="5211421"/>
              <a:ext cx="5582772" cy="5684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74252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A8E8A-7814-A16F-DE2F-F1B932D42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CH" dirty="0">
                <a:solidFill>
                  <a:schemeClr val="accent1"/>
                </a:solidFill>
              </a:rPr>
              <a:t>Conclus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79F3A9C-4C4D-3D14-EAAF-A68C4C347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615" y="963907"/>
            <a:ext cx="11362545" cy="4684686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CH" sz="1800" b="1" dirty="0"/>
              <a:t>Licensing of intellectual property rights </a:t>
            </a:r>
            <a:r>
              <a:rPr lang="en-CH" sz="1800" dirty="0"/>
              <a:t>has become a keymechanism for supporting access (and innovation) for new health technologies, particularly in LMICs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CH" sz="1800" dirty="0"/>
              <a:t>As a public health organization, MPP seeks to bring </a:t>
            </a:r>
            <a:r>
              <a:rPr lang="en-CH" sz="1800" b="1" dirty="0"/>
              <a:t>a public health perspective </a:t>
            </a:r>
            <a:r>
              <a:rPr lang="en-CH" sz="1800" dirty="0"/>
              <a:t>(including key principles and objectives) in the negotiation and the implementation of licences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CH" sz="1800" dirty="0"/>
              <a:t>While at the same time taking into consideration that </a:t>
            </a:r>
            <a:r>
              <a:rPr lang="en-CH" sz="1800" b="1" dirty="0"/>
              <a:t>providers and recipients of technology </a:t>
            </a:r>
            <a:r>
              <a:rPr lang="en-CH" sz="1800" dirty="0"/>
              <a:t>are often commercial entities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CH" sz="1800" dirty="0"/>
              <a:t>MPP licences are public and reflect </a:t>
            </a:r>
            <a:r>
              <a:rPr lang="en-CH" sz="1800" b="1" dirty="0"/>
              <a:t>key principles for public health licensing </a:t>
            </a:r>
            <a:r>
              <a:rPr lang="en-CH" sz="1800" dirty="0"/>
              <a:t>that can be applied for different health technologies, with the necessary adaptation to the context, the technology and the disease</a:t>
            </a:r>
            <a:r>
              <a:rPr lang="en-US" sz="1800" dirty="0"/>
              <a:t> (bespoke licensing</a:t>
            </a:r>
            <a:r>
              <a:rPr lang="en-CH" sz="1800" dirty="0"/>
              <a:t>). 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CH" sz="1800" dirty="0"/>
              <a:t>The </a:t>
            </a:r>
            <a:r>
              <a:rPr lang="en-CH" sz="1800" b="1" dirty="0"/>
              <a:t>mRNA technology transfer programme </a:t>
            </a:r>
            <a:r>
              <a:rPr lang="en-CH" sz="1800" dirty="0"/>
              <a:t>provides an innovative technology transfer</a:t>
            </a:r>
            <a:r>
              <a:rPr lang="en-US" sz="1800" dirty="0"/>
              <a:t> approach</a:t>
            </a:r>
            <a:r>
              <a:rPr lang="en-CH" sz="1800" dirty="0"/>
              <a:t> for a new technology that holds great promise. </a:t>
            </a:r>
            <a:r>
              <a:rPr lang="en-US" sz="1800" dirty="0"/>
              <a:t>Model potentially could be adapted to other important platform technologies.</a:t>
            </a:r>
            <a:endParaRPr lang="en-CH" sz="1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EFADEB-3FC6-D15B-15CE-8AC0E70982E1}"/>
              </a:ext>
            </a:extLst>
          </p:cNvPr>
          <p:cNvSpPr txBox="1"/>
          <p:nvPr/>
        </p:nvSpPr>
        <p:spPr>
          <a:xfrm>
            <a:off x="1207307" y="5890161"/>
            <a:ext cx="102840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sz="1400" dirty="0"/>
              <a:t>R</a:t>
            </a:r>
            <a:r>
              <a:rPr lang="en-GB" sz="1400" dirty="0"/>
              <a:t>e</a:t>
            </a:r>
            <a:r>
              <a:rPr lang="en-CH" sz="1400" dirty="0"/>
              <a:t>ference: </a:t>
            </a:r>
            <a:r>
              <a:rPr lang="en-GB" sz="1400" dirty="0"/>
              <a:t>Gore C, Morin S, </a:t>
            </a:r>
            <a:r>
              <a:rPr lang="en-GB" sz="1400" dirty="0" err="1"/>
              <a:t>Røttingen</a:t>
            </a:r>
            <a:r>
              <a:rPr lang="en-GB" sz="1400" dirty="0"/>
              <a:t> JA, Kieny MP. Negotiating public-health intellectual property licensing agreements to increase access to health technologies: an insider’s story. BMJ Global Health. 2023;8:e012964. </a:t>
            </a:r>
          </a:p>
          <a:p>
            <a:endParaRPr lang="en-CH" sz="1400" dirty="0"/>
          </a:p>
        </p:txBody>
      </p:sp>
    </p:spTree>
    <p:extLst>
      <p:ext uri="{BB962C8B-B14F-4D97-AF65-F5344CB8AC3E}">
        <p14:creationId xmlns:p14="http://schemas.microsoft.com/office/powerpoint/2010/main" val="27242108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8E7EA8F-E495-6055-7952-956617BB4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6489" y="231463"/>
            <a:ext cx="7632700" cy="4609306"/>
          </a:xfrm>
        </p:spPr>
        <p:txBody>
          <a:bodyPr/>
          <a:lstStyle/>
          <a:p>
            <a:pPr algn="ctr"/>
            <a:r>
              <a:rPr lang="en-CH" dirty="0"/>
              <a:t>T</a:t>
            </a:r>
            <a:r>
              <a:rPr lang="en-GB" dirty="0"/>
              <a:t>h</a:t>
            </a:r>
            <a:r>
              <a:rPr lang="en-CH" dirty="0"/>
              <a:t>ank you </a:t>
            </a:r>
            <a:br>
              <a:rPr lang="en-CH" dirty="0"/>
            </a:br>
            <a:br>
              <a:rPr lang="en-CH" dirty="0"/>
            </a:b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817600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4">
            <a:extLst>
              <a:ext uri="{FF2B5EF4-FFF2-40B4-BE49-F238E27FC236}">
                <a16:creationId xmlns:a16="http://schemas.microsoft.com/office/drawing/2014/main" id="{FBFED3B5-0F60-6452-DE89-B2DFEBC8FC3E}"/>
              </a:ext>
            </a:extLst>
          </p:cNvPr>
          <p:cNvSpPr txBox="1">
            <a:spLocks/>
          </p:cNvSpPr>
          <p:nvPr/>
        </p:nvSpPr>
        <p:spPr>
          <a:xfrm>
            <a:off x="2030399" y="284400"/>
            <a:ext cx="7034087" cy="365126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213F99"/>
                    </a:gs>
                    <a:gs pos="100000">
                      <a:srgbClr val="55B4E5"/>
                    </a:gs>
                  </a:gsLst>
                  <a:lin ang="0" scaled="0"/>
                </a:gradFill>
                <a:effectLst/>
                <a:uLnTx/>
                <a:uFillTx/>
                <a:latin typeface="PT Sans"/>
                <a:ea typeface="+mj-ea"/>
                <a:cs typeface="+mj-cs"/>
              </a:rPr>
              <a:t>MPP’s model in practi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E547067-3058-5BAF-66F2-1E26DFC9B518}"/>
              </a:ext>
            </a:extLst>
          </p:cNvPr>
          <p:cNvSpPr txBox="1"/>
          <p:nvPr/>
        </p:nvSpPr>
        <p:spPr>
          <a:xfrm>
            <a:off x="0" y="6372993"/>
            <a:ext cx="9611670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rPr>
              <a:t>More at: </a:t>
            </a: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  <a:hlinkClick r:id="rId2"/>
              </a:rPr>
              <a:t>https://medicinespatentpool.org</a:t>
            </a:r>
            <a:endParaRPr kumimoji="0" lang="en-GB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19" name="Slide Number Placeholder 9">
            <a:extLst>
              <a:ext uri="{FF2B5EF4-FFF2-40B4-BE49-F238E27FC236}">
                <a16:creationId xmlns:a16="http://schemas.microsoft.com/office/drawing/2014/main" id="{5A38D3A3-4696-34E8-3B27-33804519E4C4}"/>
              </a:ext>
            </a:extLst>
          </p:cNvPr>
          <p:cNvSpPr txBox="1">
            <a:spLocks/>
          </p:cNvSpPr>
          <p:nvPr/>
        </p:nvSpPr>
        <p:spPr>
          <a:xfrm>
            <a:off x="9376021" y="6437043"/>
            <a:ext cx="510482" cy="305977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215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CH" sz="1100" b="0" i="0" u="none" strike="noStrike" kern="1200" cap="none" spc="0" normalizeH="0" baseline="0" noProof="0">
                <a:ln>
                  <a:noFill/>
                </a:ln>
                <a:solidFill>
                  <a:srgbClr val="26A9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3215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CH" sz="1100" b="0" i="0" u="none" strike="noStrike" kern="1200" cap="none" spc="0" normalizeH="0" baseline="0" noProof="0">
              <a:ln>
                <a:noFill/>
              </a:ln>
              <a:solidFill>
                <a:srgbClr val="26A9E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1945809A-8D9F-EBD5-30FC-3BB83E35415F}"/>
              </a:ext>
            </a:extLst>
          </p:cNvPr>
          <p:cNvSpPr txBox="1">
            <a:spLocks/>
          </p:cNvSpPr>
          <p:nvPr/>
        </p:nvSpPr>
        <p:spPr>
          <a:xfrm>
            <a:off x="0" y="6642000"/>
            <a:ext cx="6120000" cy="21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283583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283583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rgbClr val="283583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rgbClr val="28358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PP – 3 May 2024 – Update on access to generic LA PrEP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reeform 76">
            <a:extLst>
              <a:ext uri="{FF2B5EF4-FFF2-40B4-BE49-F238E27FC236}">
                <a16:creationId xmlns:a16="http://schemas.microsoft.com/office/drawing/2014/main" id="{964D4948-D6A0-4190-DFB7-EF7A783FFA64}"/>
              </a:ext>
            </a:extLst>
          </p:cNvPr>
          <p:cNvSpPr>
            <a:spLocks/>
          </p:cNvSpPr>
          <p:nvPr/>
        </p:nvSpPr>
        <p:spPr bwMode="auto">
          <a:xfrm flipH="1">
            <a:off x="5892294" y="4173476"/>
            <a:ext cx="1929455" cy="1826798"/>
          </a:xfrm>
          <a:custGeom>
            <a:avLst/>
            <a:gdLst>
              <a:gd name="T0" fmla="*/ 19 w 936"/>
              <a:gd name="T1" fmla="*/ 55 h 886"/>
              <a:gd name="T2" fmla="*/ 203 w 936"/>
              <a:gd name="T3" fmla="*/ 588 h 886"/>
              <a:gd name="T4" fmla="*/ 269 w 936"/>
              <a:gd name="T5" fmla="*/ 672 h 886"/>
              <a:gd name="T6" fmla="*/ 478 w 936"/>
              <a:gd name="T7" fmla="*/ 824 h 886"/>
              <a:gd name="T8" fmla="*/ 774 w 936"/>
              <a:gd name="T9" fmla="*/ 833 h 886"/>
              <a:gd name="T10" fmla="*/ 936 w 936"/>
              <a:gd name="T11" fmla="*/ 721 h 886"/>
              <a:gd name="T12" fmla="*/ 826 w 936"/>
              <a:gd name="T13" fmla="*/ 641 h 886"/>
              <a:gd name="T14" fmla="*/ 97 w 936"/>
              <a:gd name="T15" fmla="*/ 112 h 886"/>
              <a:gd name="T16" fmla="*/ 0 w 936"/>
              <a:gd name="T17" fmla="*/ 0 h 886"/>
              <a:gd name="T18" fmla="*/ 19 w 936"/>
              <a:gd name="T19" fmla="*/ 55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36" h="886">
                <a:moveTo>
                  <a:pt x="19" y="55"/>
                </a:moveTo>
                <a:cubicBezTo>
                  <a:pt x="68" y="196"/>
                  <a:pt x="193" y="559"/>
                  <a:pt x="203" y="588"/>
                </a:cubicBezTo>
                <a:cubicBezTo>
                  <a:pt x="216" y="625"/>
                  <a:pt x="239" y="650"/>
                  <a:pt x="269" y="672"/>
                </a:cubicBezTo>
                <a:cubicBezTo>
                  <a:pt x="478" y="824"/>
                  <a:pt x="478" y="824"/>
                  <a:pt x="478" y="824"/>
                </a:cubicBezTo>
                <a:cubicBezTo>
                  <a:pt x="564" y="886"/>
                  <a:pt x="673" y="871"/>
                  <a:pt x="774" y="833"/>
                </a:cubicBezTo>
                <a:cubicBezTo>
                  <a:pt x="875" y="796"/>
                  <a:pt x="936" y="721"/>
                  <a:pt x="936" y="721"/>
                </a:cubicBezTo>
                <a:cubicBezTo>
                  <a:pt x="826" y="641"/>
                  <a:pt x="826" y="641"/>
                  <a:pt x="826" y="641"/>
                </a:cubicBezTo>
                <a:cubicBezTo>
                  <a:pt x="97" y="112"/>
                  <a:pt x="97" y="112"/>
                  <a:pt x="97" y="112"/>
                </a:cubicBezTo>
                <a:cubicBezTo>
                  <a:pt x="20" y="52"/>
                  <a:pt x="0" y="0"/>
                  <a:pt x="0" y="0"/>
                </a:cubicBezTo>
                <a:cubicBezTo>
                  <a:pt x="0" y="0"/>
                  <a:pt x="8" y="21"/>
                  <a:pt x="19" y="55"/>
                </a:cubicBezTo>
                <a:close/>
              </a:path>
            </a:pathLst>
          </a:custGeom>
          <a:solidFill>
            <a:srgbClr val="B53E8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3" name="Freeform 77">
            <a:extLst>
              <a:ext uri="{FF2B5EF4-FFF2-40B4-BE49-F238E27FC236}">
                <a16:creationId xmlns:a16="http://schemas.microsoft.com/office/drawing/2014/main" id="{12E5C25D-D90F-484A-0D47-4E2878BF1241}"/>
              </a:ext>
            </a:extLst>
          </p:cNvPr>
          <p:cNvSpPr>
            <a:spLocks/>
          </p:cNvSpPr>
          <p:nvPr/>
        </p:nvSpPr>
        <p:spPr bwMode="auto">
          <a:xfrm flipH="1">
            <a:off x="4399439" y="4582866"/>
            <a:ext cx="2138480" cy="1375355"/>
          </a:xfrm>
          <a:custGeom>
            <a:avLst/>
            <a:gdLst>
              <a:gd name="T0" fmla="*/ 58 w 1037"/>
              <a:gd name="T1" fmla="*/ 666 h 667"/>
              <a:gd name="T2" fmla="*/ 622 w 1037"/>
              <a:gd name="T3" fmla="*/ 656 h 667"/>
              <a:gd name="T4" fmla="*/ 722 w 1037"/>
              <a:gd name="T5" fmla="*/ 619 h 667"/>
              <a:gd name="T6" fmla="*/ 931 w 1037"/>
              <a:gd name="T7" fmla="*/ 467 h 667"/>
              <a:gd name="T8" fmla="*/ 1032 w 1037"/>
              <a:gd name="T9" fmla="*/ 189 h 667"/>
              <a:gd name="T10" fmla="*/ 975 w 1037"/>
              <a:gd name="T11" fmla="*/ 0 h 667"/>
              <a:gd name="T12" fmla="*/ 865 w 1037"/>
              <a:gd name="T13" fmla="*/ 80 h 667"/>
              <a:gd name="T14" fmla="*/ 136 w 1037"/>
              <a:gd name="T15" fmla="*/ 610 h 667"/>
              <a:gd name="T16" fmla="*/ 0 w 1037"/>
              <a:gd name="T17" fmla="*/ 667 h 667"/>
              <a:gd name="T18" fmla="*/ 58 w 1037"/>
              <a:gd name="T19" fmla="*/ 666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37" h="667">
                <a:moveTo>
                  <a:pt x="58" y="666"/>
                </a:moveTo>
                <a:cubicBezTo>
                  <a:pt x="207" y="664"/>
                  <a:pt x="591" y="657"/>
                  <a:pt x="622" y="656"/>
                </a:cubicBezTo>
                <a:cubicBezTo>
                  <a:pt x="661" y="656"/>
                  <a:pt x="692" y="641"/>
                  <a:pt x="722" y="619"/>
                </a:cubicBezTo>
                <a:cubicBezTo>
                  <a:pt x="931" y="467"/>
                  <a:pt x="931" y="467"/>
                  <a:pt x="931" y="467"/>
                </a:cubicBezTo>
                <a:cubicBezTo>
                  <a:pt x="1017" y="405"/>
                  <a:pt x="1037" y="297"/>
                  <a:pt x="1032" y="189"/>
                </a:cubicBezTo>
                <a:cubicBezTo>
                  <a:pt x="1027" y="81"/>
                  <a:pt x="975" y="0"/>
                  <a:pt x="975" y="0"/>
                </a:cubicBezTo>
                <a:cubicBezTo>
                  <a:pt x="865" y="80"/>
                  <a:pt x="865" y="80"/>
                  <a:pt x="865" y="80"/>
                </a:cubicBezTo>
                <a:cubicBezTo>
                  <a:pt x="136" y="610"/>
                  <a:pt x="136" y="610"/>
                  <a:pt x="136" y="610"/>
                </a:cubicBezTo>
                <a:cubicBezTo>
                  <a:pt x="56" y="665"/>
                  <a:pt x="0" y="667"/>
                  <a:pt x="0" y="667"/>
                </a:cubicBezTo>
                <a:cubicBezTo>
                  <a:pt x="0" y="667"/>
                  <a:pt x="22" y="667"/>
                  <a:pt x="58" y="666"/>
                </a:cubicBezTo>
                <a:close/>
              </a:path>
            </a:pathLst>
          </a:custGeom>
          <a:solidFill>
            <a:srgbClr val="FC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4" name="Freeform 174">
            <a:extLst>
              <a:ext uri="{FF2B5EF4-FFF2-40B4-BE49-F238E27FC236}">
                <a16:creationId xmlns:a16="http://schemas.microsoft.com/office/drawing/2014/main" id="{C76AA9F8-B3E3-D9EF-D3D7-579E96FF9656}"/>
              </a:ext>
            </a:extLst>
          </p:cNvPr>
          <p:cNvSpPr>
            <a:spLocks/>
          </p:cNvSpPr>
          <p:nvPr/>
        </p:nvSpPr>
        <p:spPr bwMode="auto">
          <a:xfrm flipH="1">
            <a:off x="4038285" y="2884699"/>
            <a:ext cx="1084701" cy="2387082"/>
          </a:xfrm>
          <a:custGeom>
            <a:avLst/>
            <a:gdLst>
              <a:gd name="T0" fmla="*/ 350 w 526"/>
              <a:gd name="T1" fmla="*/ 1102 h 1158"/>
              <a:gd name="T2" fmla="*/ 515 w 526"/>
              <a:gd name="T3" fmla="*/ 563 h 1158"/>
              <a:gd name="T4" fmla="*/ 510 w 526"/>
              <a:gd name="T5" fmla="*/ 456 h 1158"/>
              <a:gd name="T6" fmla="*/ 430 w 526"/>
              <a:gd name="T7" fmla="*/ 210 h 1158"/>
              <a:gd name="T8" fmla="*/ 196 w 526"/>
              <a:gd name="T9" fmla="*/ 28 h 1158"/>
              <a:gd name="T10" fmla="*/ 0 w 526"/>
              <a:gd name="T11" fmla="*/ 24 h 1158"/>
              <a:gd name="T12" fmla="*/ 41 w 526"/>
              <a:gd name="T13" fmla="*/ 153 h 1158"/>
              <a:gd name="T14" fmla="*/ 320 w 526"/>
              <a:gd name="T15" fmla="*/ 1010 h 1158"/>
              <a:gd name="T16" fmla="*/ 333 w 526"/>
              <a:gd name="T17" fmla="*/ 1158 h 1158"/>
              <a:gd name="T18" fmla="*/ 350 w 526"/>
              <a:gd name="T19" fmla="*/ 1102 h 1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6" h="1158">
                <a:moveTo>
                  <a:pt x="350" y="1102"/>
                </a:moveTo>
                <a:cubicBezTo>
                  <a:pt x="393" y="959"/>
                  <a:pt x="505" y="592"/>
                  <a:pt x="515" y="563"/>
                </a:cubicBezTo>
                <a:cubicBezTo>
                  <a:pt x="526" y="525"/>
                  <a:pt x="521" y="491"/>
                  <a:pt x="510" y="456"/>
                </a:cubicBezTo>
                <a:cubicBezTo>
                  <a:pt x="430" y="210"/>
                  <a:pt x="430" y="210"/>
                  <a:pt x="430" y="210"/>
                </a:cubicBezTo>
                <a:cubicBezTo>
                  <a:pt x="397" y="109"/>
                  <a:pt x="300" y="57"/>
                  <a:pt x="196" y="28"/>
                </a:cubicBezTo>
                <a:cubicBezTo>
                  <a:pt x="93" y="0"/>
                  <a:pt x="0" y="24"/>
                  <a:pt x="0" y="24"/>
                </a:cubicBezTo>
                <a:cubicBezTo>
                  <a:pt x="41" y="153"/>
                  <a:pt x="41" y="153"/>
                  <a:pt x="41" y="153"/>
                </a:cubicBezTo>
                <a:cubicBezTo>
                  <a:pt x="320" y="1010"/>
                  <a:pt x="320" y="1010"/>
                  <a:pt x="320" y="1010"/>
                </a:cubicBezTo>
                <a:cubicBezTo>
                  <a:pt x="347" y="1104"/>
                  <a:pt x="333" y="1158"/>
                  <a:pt x="333" y="1158"/>
                </a:cubicBezTo>
                <a:cubicBezTo>
                  <a:pt x="333" y="1158"/>
                  <a:pt x="339" y="1136"/>
                  <a:pt x="350" y="1102"/>
                </a:cubicBezTo>
                <a:close/>
              </a:path>
            </a:pathLst>
          </a:custGeom>
          <a:solidFill>
            <a:srgbClr val="213F9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5" name="Freeform 175">
            <a:extLst>
              <a:ext uri="{FF2B5EF4-FFF2-40B4-BE49-F238E27FC236}">
                <a16:creationId xmlns:a16="http://schemas.microsoft.com/office/drawing/2014/main" id="{6A0081B1-D166-028B-23AC-26CD08108247}"/>
              </a:ext>
            </a:extLst>
          </p:cNvPr>
          <p:cNvSpPr>
            <a:spLocks/>
          </p:cNvSpPr>
          <p:nvPr/>
        </p:nvSpPr>
        <p:spPr bwMode="auto">
          <a:xfrm flipH="1">
            <a:off x="4427887" y="2269994"/>
            <a:ext cx="2435319" cy="795282"/>
          </a:xfrm>
          <a:custGeom>
            <a:avLst/>
            <a:gdLst>
              <a:gd name="T0" fmla="*/ 1133 w 1181"/>
              <a:gd name="T1" fmla="*/ 352 h 386"/>
              <a:gd name="T2" fmla="*/ 671 w 1181"/>
              <a:gd name="T3" fmla="*/ 29 h 386"/>
              <a:gd name="T4" fmla="*/ 568 w 1181"/>
              <a:gd name="T5" fmla="*/ 0 h 386"/>
              <a:gd name="T6" fmla="*/ 310 w 1181"/>
              <a:gd name="T7" fmla="*/ 0 h 386"/>
              <a:gd name="T8" fmla="*/ 64 w 1181"/>
              <a:gd name="T9" fmla="*/ 166 h 386"/>
              <a:gd name="T10" fmla="*/ 0 w 1181"/>
              <a:gd name="T11" fmla="*/ 352 h 386"/>
              <a:gd name="T12" fmla="*/ 135 w 1181"/>
              <a:gd name="T13" fmla="*/ 352 h 386"/>
              <a:gd name="T14" fmla="*/ 1037 w 1181"/>
              <a:gd name="T15" fmla="*/ 352 h 386"/>
              <a:gd name="T16" fmla="*/ 1181 w 1181"/>
              <a:gd name="T17" fmla="*/ 386 h 386"/>
              <a:gd name="T18" fmla="*/ 1133 w 1181"/>
              <a:gd name="T19" fmla="*/ 352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81" h="386">
                <a:moveTo>
                  <a:pt x="1133" y="352"/>
                </a:moveTo>
                <a:cubicBezTo>
                  <a:pt x="1011" y="267"/>
                  <a:pt x="696" y="47"/>
                  <a:pt x="671" y="29"/>
                </a:cubicBezTo>
                <a:cubicBezTo>
                  <a:pt x="639" y="7"/>
                  <a:pt x="605" y="0"/>
                  <a:pt x="568" y="0"/>
                </a:cubicBezTo>
                <a:cubicBezTo>
                  <a:pt x="310" y="0"/>
                  <a:pt x="310" y="0"/>
                  <a:pt x="310" y="0"/>
                </a:cubicBezTo>
                <a:cubicBezTo>
                  <a:pt x="203" y="0"/>
                  <a:pt x="124" y="76"/>
                  <a:pt x="64" y="166"/>
                </a:cubicBezTo>
                <a:cubicBezTo>
                  <a:pt x="5" y="256"/>
                  <a:pt x="0" y="352"/>
                  <a:pt x="0" y="352"/>
                </a:cubicBezTo>
                <a:cubicBezTo>
                  <a:pt x="135" y="352"/>
                  <a:pt x="135" y="352"/>
                  <a:pt x="135" y="352"/>
                </a:cubicBezTo>
                <a:cubicBezTo>
                  <a:pt x="1037" y="352"/>
                  <a:pt x="1037" y="352"/>
                  <a:pt x="1037" y="352"/>
                </a:cubicBezTo>
                <a:cubicBezTo>
                  <a:pt x="1134" y="355"/>
                  <a:pt x="1181" y="386"/>
                  <a:pt x="1181" y="386"/>
                </a:cubicBezTo>
                <a:cubicBezTo>
                  <a:pt x="1181" y="386"/>
                  <a:pt x="1162" y="373"/>
                  <a:pt x="1133" y="352"/>
                </a:cubicBezTo>
                <a:close/>
              </a:path>
            </a:pathLst>
          </a:custGeom>
          <a:solidFill>
            <a:srgbClr val="55B4E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sp>
        <p:nvSpPr>
          <p:cNvPr id="6" name="Freeform 176">
            <a:extLst>
              <a:ext uri="{FF2B5EF4-FFF2-40B4-BE49-F238E27FC236}">
                <a16:creationId xmlns:a16="http://schemas.microsoft.com/office/drawing/2014/main" id="{66CB2C59-4BF4-8C62-B3A4-78A783067358}"/>
              </a:ext>
            </a:extLst>
          </p:cNvPr>
          <p:cNvSpPr>
            <a:spLocks/>
          </p:cNvSpPr>
          <p:nvPr/>
        </p:nvSpPr>
        <p:spPr bwMode="auto">
          <a:xfrm flipH="1">
            <a:off x="6525551" y="2385020"/>
            <a:ext cx="1348145" cy="2234952"/>
          </a:xfrm>
          <a:custGeom>
            <a:avLst/>
            <a:gdLst>
              <a:gd name="T0" fmla="*/ 25 w 654"/>
              <a:gd name="T1" fmla="*/ 867 h 1084"/>
              <a:gd name="T2" fmla="*/ 122 w 654"/>
              <a:gd name="T3" fmla="*/ 979 h 1084"/>
              <a:gd name="T4" fmla="*/ 267 w 654"/>
              <a:gd name="T5" fmla="*/ 1084 h 1084"/>
              <a:gd name="T6" fmla="*/ 299 w 654"/>
              <a:gd name="T7" fmla="*/ 984 h 1084"/>
              <a:gd name="T8" fmla="*/ 578 w 654"/>
              <a:gd name="T9" fmla="*/ 126 h 1084"/>
              <a:gd name="T10" fmla="*/ 654 w 654"/>
              <a:gd name="T11" fmla="*/ 0 h 1084"/>
              <a:gd name="T12" fmla="*/ 607 w 654"/>
              <a:gd name="T13" fmla="*/ 35 h 1084"/>
              <a:gd name="T14" fmla="*/ 157 w 654"/>
              <a:gd name="T15" fmla="*/ 374 h 1084"/>
              <a:gd name="T16" fmla="*/ 98 w 654"/>
              <a:gd name="T17" fmla="*/ 463 h 1084"/>
              <a:gd name="T18" fmla="*/ 18 w 654"/>
              <a:gd name="T19" fmla="*/ 709 h 1084"/>
              <a:gd name="T20" fmla="*/ 26 w 654"/>
              <a:gd name="T21" fmla="*/ 870 h 1084"/>
              <a:gd name="T22" fmla="*/ 25 w 654"/>
              <a:gd name="T23" fmla="*/ 867 h 10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54" h="1084">
                <a:moveTo>
                  <a:pt x="25" y="867"/>
                </a:moveTo>
                <a:cubicBezTo>
                  <a:pt x="25" y="867"/>
                  <a:pt x="45" y="919"/>
                  <a:pt x="122" y="979"/>
                </a:cubicBezTo>
                <a:cubicBezTo>
                  <a:pt x="267" y="1084"/>
                  <a:pt x="267" y="1084"/>
                  <a:pt x="267" y="1084"/>
                </a:cubicBezTo>
                <a:cubicBezTo>
                  <a:pt x="299" y="984"/>
                  <a:pt x="299" y="984"/>
                  <a:pt x="299" y="984"/>
                </a:cubicBezTo>
                <a:cubicBezTo>
                  <a:pt x="578" y="126"/>
                  <a:pt x="578" y="126"/>
                  <a:pt x="578" y="126"/>
                </a:cubicBezTo>
                <a:cubicBezTo>
                  <a:pt x="611" y="34"/>
                  <a:pt x="654" y="0"/>
                  <a:pt x="654" y="0"/>
                </a:cubicBezTo>
                <a:cubicBezTo>
                  <a:pt x="654" y="0"/>
                  <a:pt x="636" y="13"/>
                  <a:pt x="607" y="35"/>
                </a:cubicBezTo>
                <a:cubicBezTo>
                  <a:pt x="488" y="125"/>
                  <a:pt x="182" y="355"/>
                  <a:pt x="157" y="374"/>
                </a:cubicBezTo>
                <a:cubicBezTo>
                  <a:pt x="126" y="398"/>
                  <a:pt x="110" y="428"/>
                  <a:pt x="98" y="463"/>
                </a:cubicBezTo>
                <a:cubicBezTo>
                  <a:pt x="18" y="709"/>
                  <a:pt x="18" y="709"/>
                  <a:pt x="18" y="709"/>
                </a:cubicBezTo>
                <a:cubicBezTo>
                  <a:pt x="0" y="764"/>
                  <a:pt x="6" y="818"/>
                  <a:pt x="26" y="870"/>
                </a:cubicBezTo>
                <a:cubicBezTo>
                  <a:pt x="26" y="868"/>
                  <a:pt x="25" y="867"/>
                  <a:pt x="25" y="867"/>
                </a:cubicBezTo>
                <a:close/>
              </a:path>
            </a:pathLst>
          </a:custGeom>
          <a:solidFill>
            <a:srgbClr val="0095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C814BE0-E2B8-C54A-45F1-5DBC6AC69848}"/>
              </a:ext>
            </a:extLst>
          </p:cNvPr>
          <p:cNvGrpSpPr/>
          <p:nvPr/>
        </p:nvGrpSpPr>
        <p:grpSpPr>
          <a:xfrm flipH="1">
            <a:off x="6856910" y="2247884"/>
            <a:ext cx="1312100" cy="1285291"/>
            <a:chOff x="11865389" y="1317453"/>
            <a:chExt cx="852427" cy="835009"/>
          </a:xfrm>
        </p:grpSpPr>
        <p:sp>
          <p:nvSpPr>
            <p:cNvPr id="16" name="Freeform: Shape 148">
              <a:extLst>
                <a:ext uri="{FF2B5EF4-FFF2-40B4-BE49-F238E27FC236}">
                  <a16:creationId xmlns:a16="http://schemas.microsoft.com/office/drawing/2014/main" id="{5EF7A3E8-33B3-2F69-C148-A33D5E4C4FBE}"/>
                </a:ext>
              </a:extLst>
            </p:cNvPr>
            <p:cNvSpPr/>
            <p:nvPr/>
          </p:nvSpPr>
          <p:spPr>
            <a:xfrm>
              <a:off x="11882807" y="1317453"/>
              <a:ext cx="835009" cy="835009"/>
            </a:xfrm>
            <a:custGeom>
              <a:avLst/>
              <a:gdLst>
                <a:gd name="connsiteX0" fmla="*/ 0 w 479107"/>
                <a:gd name="connsiteY0" fmla="*/ 239554 h 479107"/>
                <a:gd name="connsiteX1" fmla="*/ 239554 w 479107"/>
                <a:gd name="connsiteY1" fmla="*/ 479108 h 479107"/>
                <a:gd name="connsiteX2" fmla="*/ 479108 w 479107"/>
                <a:gd name="connsiteY2" fmla="*/ 239554 h 479107"/>
                <a:gd name="connsiteX3" fmla="*/ 239554 w 479107"/>
                <a:gd name="connsiteY3" fmla="*/ 0 h 479107"/>
                <a:gd name="connsiteX4" fmla="*/ 0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0" y="239554"/>
                  </a:moveTo>
                  <a:cubicBezTo>
                    <a:pt x="0" y="371856"/>
                    <a:pt x="107251" y="479108"/>
                    <a:pt x="239554" y="479108"/>
                  </a:cubicBezTo>
                  <a:cubicBezTo>
                    <a:pt x="371856" y="479108"/>
                    <a:pt x="479108" y="371856"/>
                    <a:pt x="479108" y="239554"/>
                  </a:cubicBezTo>
                  <a:cubicBezTo>
                    <a:pt x="479108" y="107251"/>
                    <a:pt x="371856" y="0"/>
                    <a:pt x="239554" y="0"/>
                  </a:cubicBezTo>
                  <a:cubicBezTo>
                    <a:pt x="107251" y="0"/>
                    <a:pt x="0" y="107251"/>
                    <a:pt x="0" y="239554"/>
                  </a:cubicBezTo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7" name="Freeform: Shape 149">
              <a:extLst>
                <a:ext uri="{FF2B5EF4-FFF2-40B4-BE49-F238E27FC236}">
                  <a16:creationId xmlns:a16="http://schemas.microsoft.com/office/drawing/2014/main" id="{7523420D-26FE-A334-77EB-657C7F6C1DB2}"/>
                </a:ext>
              </a:extLst>
            </p:cNvPr>
            <p:cNvSpPr/>
            <p:nvPr/>
          </p:nvSpPr>
          <p:spPr>
            <a:xfrm>
              <a:off x="11965654" y="1400299"/>
              <a:ext cx="669317" cy="669316"/>
            </a:xfrm>
            <a:custGeom>
              <a:avLst/>
              <a:gdLst>
                <a:gd name="connsiteX0" fmla="*/ 479108 w 479107"/>
                <a:gd name="connsiteY0" fmla="*/ 239554 h 479107"/>
                <a:gd name="connsiteX1" fmla="*/ 239554 w 479107"/>
                <a:gd name="connsiteY1" fmla="*/ 479108 h 479107"/>
                <a:gd name="connsiteX2" fmla="*/ 0 w 479107"/>
                <a:gd name="connsiteY2" fmla="*/ 239554 h 479107"/>
                <a:gd name="connsiteX3" fmla="*/ 239554 w 479107"/>
                <a:gd name="connsiteY3" fmla="*/ 0 h 479107"/>
                <a:gd name="connsiteX4" fmla="*/ 479108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479108" y="239554"/>
                  </a:moveTo>
                  <a:cubicBezTo>
                    <a:pt x="479108" y="371856"/>
                    <a:pt x="371856" y="479108"/>
                    <a:pt x="239554" y="479108"/>
                  </a:cubicBezTo>
                  <a:cubicBezTo>
                    <a:pt x="107251" y="479108"/>
                    <a:pt x="0" y="371856"/>
                    <a:pt x="0" y="239554"/>
                  </a:cubicBezTo>
                  <a:cubicBezTo>
                    <a:pt x="0" y="107251"/>
                    <a:pt x="107251" y="0"/>
                    <a:pt x="239554" y="0"/>
                  </a:cubicBezTo>
                  <a:cubicBezTo>
                    <a:pt x="371856" y="0"/>
                    <a:pt x="479108" y="107251"/>
                    <a:pt x="479108" y="239554"/>
                  </a:cubicBezTo>
                  <a:close/>
                </a:path>
              </a:pathLst>
            </a:custGeom>
            <a:solidFill>
              <a:srgbClr val="0295D9"/>
            </a:solidFill>
            <a:ln w="762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1" name="Freeform: Shape 150">
              <a:extLst>
                <a:ext uri="{FF2B5EF4-FFF2-40B4-BE49-F238E27FC236}">
                  <a16:creationId xmlns:a16="http://schemas.microsoft.com/office/drawing/2014/main" id="{3B6092AD-2527-425C-E912-82184FB112A8}"/>
                </a:ext>
              </a:extLst>
            </p:cNvPr>
            <p:cNvSpPr/>
            <p:nvPr/>
          </p:nvSpPr>
          <p:spPr>
            <a:xfrm>
              <a:off x="11916301" y="1330455"/>
              <a:ext cx="789474" cy="810222"/>
            </a:xfrm>
            <a:custGeom>
              <a:avLst/>
              <a:gdLst>
                <a:gd name="connsiteX0" fmla="*/ 420838 w 452980"/>
                <a:gd name="connsiteY0" fmla="*/ 350204 h 464885"/>
                <a:gd name="connsiteX1" fmla="*/ 450937 w 452980"/>
                <a:gd name="connsiteY1" fmla="*/ 263050 h 464885"/>
                <a:gd name="connsiteX2" fmla="*/ 445507 w 452980"/>
                <a:gd name="connsiteY2" fmla="*/ 174182 h 464885"/>
                <a:gd name="connsiteX3" fmla="*/ 407122 w 452980"/>
                <a:gd name="connsiteY3" fmla="*/ 93791 h 464885"/>
                <a:gd name="connsiteX4" fmla="*/ 338446 w 452980"/>
                <a:gd name="connsiteY4" fmla="*/ 32164 h 464885"/>
                <a:gd name="connsiteX5" fmla="*/ 167473 w 452980"/>
                <a:gd name="connsiteY5" fmla="*/ 6256 h 464885"/>
                <a:gd name="connsiteX6" fmla="*/ 166044 w 452980"/>
                <a:gd name="connsiteY6" fmla="*/ 8637 h 464885"/>
                <a:gd name="connsiteX7" fmla="*/ 168425 w 452980"/>
                <a:gd name="connsiteY7" fmla="*/ 10066 h 464885"/>
                <a:gd name="connsiteX8" fmla="*/ 336541 w 452980"/>
                <a:gd name="connsiteY8" fmla="*/ 35593 h 464885"/>
                <a:gd name="connsiteX9" fmla="*/ 441793 w 452980"/>
                <a:gd name="connsiteY9" fmla="*/ 175134 h 464885"/>
                <a:gd name="connsiteX10" fmla="*/ 417599 w 452980"/>
                <a:gd name="connsiteY10" fmla="*/ 348204 h 464885"/>
                <a:gd name="connsiteX11" fmla="*/ 278058 w 452980"/>
                <a:gd name="connsiteY11" fmla="*/ 453455 h 464885"/>
                <a:gd name="connsiteX12" fmla="*/ 104989 w 452980"/>
                <a:gd name="connsiteY12" fmla="*/ 429261 h 464885"/>
                <a:gd name="connsiteX13" fmla="*/ 3833 w 452980"/>
                <a:gd name="connsiteY13" fmla="*/ 304293 h 464885"/>
                <a:gd name="connsiteX14" fmla="*/ 1357 w 452980"/>
                <a:gd name="connsiteY14" fmla="*/ 303055 h 464885"/>
                <a:gd name="connsiteX15" fmla="*/ 118 w 452980"/>
                <a:gd name="connsiteY15" fmla="*/ 305532 h 464885"/>
                <a:gd name="connsiteX16" fmla="*/ 38599 w 452980"/>
                <a:gd name="connsiteY16" fmla="*/ 377445 h 464885"/>
                <a:gd name="connsiteX17" fmla="*/ 102988 w 452980"/>
                <a:gd name="connsiteY17" fmla="*/ 432786 h 464885"/>
                <a:gd name="connsiteX18" fmla="*/ 190142 w 452980"/>
                <a:gd name="connsiteY18" fmla="*/ 462885 h 464885"/>
                <a:gd name="connsiteX19" fmla="*/ 279010 w 452980"/>
                <a:gd name="connsiteY19" fmla="*/ 457455 h 464885"/>
                <a:gd name="connsiteX20" fmla="*/ 359401 w 452980"/>
                <a:gd name="connsiteY20" fmla="*/ 419070 h 464885"/>
                <a:gd name="connsiteX21" fmla="*/ 421028 w 452980"/>
                <a:gd name="connsiteY21" fmla="*/ 350394 h 46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980" h="464885">
                  <a:moveTo>
                    <a:pt x="420838" y="350204"/>
                  </a:moveTo>
                  <a:cubicBezTo>
                    <a:pt x="436744" y="323153"/>
                    <a:pt x="446841" y="293816"/>
                    <a:pt x="450937" y="263050"/>
                  </a:cubicBezTo>
                  <a:cubicBezTo>
                    <a:pt x="454937" y="233237"/>
                    <a:pt x="453032" y="203328"/>
                    <a:pt x="445507" y="174182"/>
                  </a:cubicBezTo>
                  <a:cubicBezTo>
                    <a:pt x="437983" y="144940"/>
                    <a:pt x="425029" y="117984"/>
                    <a:pt x="407122" y="93791"/>
                  </a:cubicBezTo>
                  <a:cubicBezTo>
                    <a:pt x="388548" y="68835"/>
                    <a:pt x="365497" y="48071"/>
                    <a:pt x="338446" y="32164"/>
                  </a:cubicBezTo>
                  <a:cubicBezTo>
                    <a:pt x="286630" y="1684"/>
                    <a:pt x="225956" y="-7555"/>
                    <a:pt x="167473" y="6256"/>
                  </a:cubicBezTo>
                  <a:cubicBezTo>
                    <a:pt x="166425" y="6542"/>
                    <a:pt x="165758" y="7590"/>
                    <a:pt x="166044" y="8637"/>
                  </a:cubicBezTo>
                  <a:cubicBezTo>
                    <a:pt x="166330" y="9685"/>
                    <a:pt x="167377" y="10352"/>
                    <a:pt x="168425" y="10066"/>
                  </a:cubicBezTo>
                  <a:cubicBezTo>
                    <a:pt x="225956" y="-3459"/>
                    <a:pt x="285583" y="5589"/>
                    <a:pt x="336541" y="35593"/>
                  </a:cubicBezTo>
                  <a:cubicBezTo>
                    <a:pt x="389119" y="66549"/>
                    <a:pt x="426457" y="116079"/>
                    <a:pt x="441793" y="175134"/>
                  </a:cubicBezTo>
                  <a:cubicBezTo>
                    <a:pt x="457128" y="234189"/>
                    <a:pt x="448460" y="295626"/>
                    <a:pt x="417599" y="348204"/>
                  </a:cubicBezTo>
                  <a:cubicBezTo>
                    <a:pt x="386643" y="400782"/>
                    <a:pt x="337113" y="438215"/>
                    <a:pt x="278058" y="453455"/>
                  </a:cubicBezTo>
                  <a:cubicBezTo>
                    <a:pt x="219003" y="468790"/>
                    <a:pt x="157567" y="460122"/>
                    <a:pt x="104989" y="429261"/>
                  </a:cubicBezTo>
                  <a:cubicBezTo>
                    <a:pt x="55744" y="400305"/>
                    <a:pt x="20788" y="357062"/>
                    <a:pt x="3833" y="304293"/>
                  </a:cubicBezTo>
                  <a:cubicBezTo>
                    <a:pt x="3452" y="303246"/>
                    <a:pt x="2404" y="302674"/>
                    <a:pt x="1357" y="303055"/>
                  </a:cubicBezTo>
                  <a:cubicBezTo>
                    <a:pt x="309" y="303436"/>
                    <a:pt x="-263" y="304484"/>
                    <a:pt x="118" y="305532"/>
                  </a:cubicBezTo>
                  <a:cubicBezTo>
                    <a:pt x="8500" y="331821"/>
                    <a:pt x="21550" y="356014"/>
                    <a:pt x="38599" y="377445"/>
                  </a:cubicBezTo>
                  <a:cubicBezTo>
                    <a:pt x="56125" y="399353"/>
                    <a:pt x="77747" y="417927"/>
                    <a:pt x="102988" y="432786"/>
                  </a:cubicBezTo>
                  <a:cubicBezTo>
                    <a:pt x="130039" y="448692"/>
                    <a:pt x="159376" y="458789"/>
                    <a:pt x="190142" y="462885"/>
                  </a:cubicBezTo>
                  <a:cubicBezTo>
                    <a:pt x="219955" y="466790"/>
                    <a:pt x="249864" y="464980"/>
                    <a:pt x="279010" y="457455"/>
                  </a:cubicBezTo>
                  <a:cubicBezTo>
                    <a:pt x="308252" y="449931"/>
                    <a:pt x="335208" y="436977"/>
                    <a:pt x="359401" y="419070"/>
                  </a:cubicBezTo>
                  <a:cubicBezTo>
                    <a:pt x="384357" y="400496"/>
                    <a:pt x="405121" y="377445"/>
                    <a:pt x="421028" y="350394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2" name="Freeform: Shape 151">
              <a:extLst>
                <a:ext uri="{FF2B5EF4-FFF2-40B4-BE49-F238E27FC236}">
                  <a16:creationId xmlns:a16="http://schemas.microsoft.com/office/drawing/2014/main" id="{6BD0BBC6-B7F1-3173-8ADF-BCBB56D484E7}"/>
                </a:ext>
              </a:extLst>
            </p:cNvPr>
            <p:cNvSpPr/>
            <p:nvPr/>
          </p:nvSpPr>
          <p:spPr>
            <a:xfrm>
              <a:off x="11892276" y="1366838"/>
              <a:ext cx="250133" cy="385894"/>
            </a:xfrm>
            <a:custGeom>
              <a:avLst/>
              <a:gdLst>
                <a:gd name="connsiteX0" fmla="*/ 46002 w 143520"/>
                <a:gd name="connsiteY0" fmla="*/ 81583 h 221416"/>
                <a:gd name="connsiteX1" fmla="*/ 45431 w 143520"/>
                <a:gd name="connsiteY1" fmla="*/ 79011 h 221416"/>
                <a:gd name="connsiteX2" fmla="*/ 42669 w 143520"/>
                <a:gd name="connsiteY2" fmla="*/ 79488 h 221416"/>
                <a:gd name="connsiteX3" fmla="*/ 32191 w 143520"/>
                <a:gd name="connsiteY3" fmla="*/ 95775 h 221416"/>
                <a:gd name="connsiteX4" fmla="*/ 31239 w 143520"/>
                <a:gd name="connsiteY4" fmla="*/ 97395 h 221416"/>
                <a:gd name="connsiteX5" fmla="*/ 32001 w 143520"/>
                <a:gd name="connsiteY5" fmla="*/ 100062 h 221416"/>
                <a:gd name="connsiteX6" fmla="*/ 34668 w 143520"/>
                <a:gd name="connsiteY6" fmla="*/ 99395 h 221416"/>
                <a:gd name="connsiteX7" fmla="*/ 34668 w 143520"/>
                <a:gd name="connsiteY7" fmla="*/ 99395 h 221416"/>
                <a:gd name="connsiteX8" fmla="*/ 35620 w 143520"/>
                <a:gd name="connsiteY8" fmla="*/ 97776 h 221416"/>
                <a:gd name="connsiteX9" fmla="*/ 45907 w 143520"/>
                <a:gd name="connsiteY9" fmla="*/ 81774 h 221416"/>
                <a:gd name="connsiteX10" fmla="*/ 45907 w 143520"/>
                <a:gd name="connsiteY10" fmla="*/ 81678 h 221416"/>
                <a:gd name="connsiteX11" fmla="*/ 16856 w 143520"/>
                <a:gd name="connsiteY11" fmla="*/ 137685 h 221416"/>
                <a:gd name="connsiteX12" fmla="*/ 17046 w 143520"/>
                <a:gd name="connsiteY12" fmla="*/ 137304 h 221416"/>
                <a:gd name="connsiteX13" fmla="*/ 24952 w 143520"/>
                <a:gd name="connsiteY13" fmla="*/ 117969 h 221416"/>
                <a:gd name="connsiteX14" fmla="*/ 24000 w 143520"/>
                <a:gd name="connsiteY14" fmla="*/ 115302 h 221416"/>
                <a:gd name="connsiteX15" fmla="*/ 21428 w 143520"/>
                <a:gd name="connsiteY15" fmla="*/ 116254 h 221416"/>
                <a:gd name="connsiteX16" fmla="*/ 13332 w 143520"/>
                <a:gd name="connsiteY16" fmla="*/ 135971 h 221416"/>
                <a:gd name="connsiteX17" fmla="*/ 14570 w 143520"/>
                <a:gd name="connsiteY17" fmla="*/ 138447 h 221416"/>
                <a:gd name="connsiteX18" fmla="*/ 16951 w 143520"/>
                <a:gd name="connsiteY18" fmla="*/ 137590 h 221416"/>
                <a:gd name="connsiteX19" fmla="*/ 73434 w 143520"/>
                <a:gd name="connsiteY19" fmla="*/ 49579 h 221416"/>
                <a:gd name="connsiteX20" fmla="*/ 73149 w 143520"/>
                <a:gd name="connsiteY20" fmla="*/ 47198 h 221416"/>
                <a:gd name="connsiteX21" fmla="*/ 70386 w 143520"/>
                <a:gd name="connsiteY21" fmla="*/ 47198 h 221416"/>
                <a:gd name="connsiteX22" fmla="*/ 55813 w 143520"/>
                <a:gd name="connsiteY22" fmla="*/ 62724 h 221416"/>
                <a:gd name="connsiteX23" fmla="*/ 56004 w 143520"/>
                <a:gd name="connsiteY23" fmla="*/ 65486 h 221416"/>
                <a:gd name="connsiteX24" fmla="*/ 58766 w 143520"/>
                <a:gd name="connsiteY24" fmla="*/ 65295 h 221416"/>
                <a:gd name="connsiteX25" fmla="*/ 73053 w 143520"/>
                <a:gd name="connsiteY25" fmla="*/ 50055 h 221416"/>
                <a:gd name="connsiteX26" fmla="*/ 73339 w 143520"/>
                <a:gd name="connsiteY26" fmla="*/ 49674 h 221416"/>
                <a:gd name="connsiteX27" fmla="*/ 6474 w 143520"/>
                <a:gd name="connsiteY27" fmla="*/ 178548 h 221416"/>
                <a:gd name="connsiteX28" fmla="*/ 6759 w 143520"/>
                <a:gd name="connsiteY28" fmla="*/ 177881 h 221416"/>
                <a:gd name="connsiteX29" fmla="*/ 11046 w 143520"/>
                <a:gd name="connsiteY29" fmla="*/ 157402 h 221416"/>
                <a:gd name="connsiteX30" fmla="*/ 9617 w 143520"/>
                <a:gd name="connsiteY30" fmla="*/ 155021 h 221416"/>
                <a:gd name="connsiteX31" fmla="*/ 7236 w 143520"/>
                <a:gd name="connsiteY31" fmla="*/ 156450 h 221416"/>
                <a:gd name="connsiteX32" fmla="*/ 2949 w 143520"/>
                <a:gd name="connsiteY32" fmla="*/ 177309 h 221416"/>
                <a:gd name="connsiteX33" fmla="*/ 4569 w 143520"/>
                <a:gd name="connsiteY33" fmla="*/ 179595 h 221416"/>
                <a:gd name="connsiteX34" fmla="*/ 6569 w 143520"/>
                <a:gd name="connsiteY34" fmla="*/ 178643 h 221416"/>
                <a:gd name="connsiteX35" fmla="*/ 106105 w 143520"/>
                <a:gd name="connsiteY35" fmla="*/ 23100 h 221416"/>
                <a:gd name="connsiteX36" fmla="*/ 106105 w 143520"/>
                <a:gd name="connsiteY36" fmla="*/ 21004 h 221416"/>
                <a:gd name="connsiteX37" fmla="*/ 103343 w 143520"/>
                <a:gd name="connsiteY37" fmla="*/ 20433 h 221416"/>
                <a:gd name="connsiteX38" fmla="*/ 86198 w 143520"/>
                <a:gd name="connsiteY38" fmla="*/ 33006 h 221416"/>
                <a:gd name="connsiteX39" fmla="*/ 85912 w 143520"/>
                <a:gd name="connsiteY39" fmla="*/ 35768 h 221416"/>
                <a:gd name="connsiteX40" fmla="*/ 88674 w 143520"/>
                <a:gd name="connsiteY40" fmla="*/ 36054 h 221416"/>
                <a:gd name="connsiteX41" fmla="*/ 105534 w 143520"/>
                <a:gd name="connsiteY41" fmla="*/ 23671 h 221416"/>
                <a:gd name="connsiteX42" fmla="*/ 106105 w 143520"/>
                <a:gd name="connsiteY42" fmla="*/ 23004 h 221416"/>
                <a:gd name="connsiteX43" fmla="*/ 3711 w 143520"/>
                <a:gd name="connsiteY43" fmla="*/ 220458 h 221416"/>
                <a:gd name="connsiteX44" fmla="*/ 3997 w 143520"/>
                <a:gd name="connsiteY44" fmla="*/ 219410 h 221416"/>
                <a:gd name="connsiteX45" fmla="*/ 4378 w 143520"/>
                <a:gd name="connsiteY45" fmla="*/ 198550 h 221416"/>
                <a:gd name="connsiteX46" fmla="*/ 2568 w 143520"/>
                <a:gd name="connsiteY46" fmla="*/ 196455 h 221416"/>
                <a:gd name="connsiteX47" fmla="*/ 473 w 143520"/>
                <a:gd name="connsiteY47" fmla="*/ 198264 h 221416"/>
                <a:gd name="connsiteX48" fmla="*/ 92 w 143520"/>
                <a:gd name="connsiteY48" fmla="*/ 219505 h 221416"/>
                <a:gd name="connsiteX49" fmla="*/ 2092 w 143520"/>
                <a:gd name="connsiteY49" fmla="*/ 221410 h 221416"/>
                <a:gd name="connsiteX50" fmla="*/ 3711 w 143520"/>
                <a:gd name="connsiteY50" fmla="*/ 220458 h 221416"/>
                <a:gd name="connsiteX51" fmla="*/ 143253 w 143520"/>
                <a:gd name="connsiteY51" fmla="*/ 3002 h 221416"/>
                <a:gd name="connsiteX52" fmla="*/ 143348 w 143520"/>
                <a:gd name="connsiteY52" fmla="*/ 1192 h 221416"/>
                <a:gd name="connsiteX53" fmla="*/ 140776 w 143520"/>
                <a:gd name="connsiteY53" fmla="*/ 144 h 221416"/>
                <a:gd name="connsiteX54" fmla="*/ 121631 w 143520"/>
                <a:gd name="connsiteY54" fmla="*/ 9384 h 221416"/>
                <a:gd name="connsiteX55" fmla="*/ 120869 w 143520"/>
                <a:gd name="connsiteY55" fmla="*/ 12051 h 221416"/>
                <a:gd name="connsiteX56" fmla="*/ 123536 w 143520"/>
                <a:gd name="connsiteY56" fmla="*/ 12813 h 221416"/>
                <a:gd name="connsiteX57" fmla="*/ 142396 w 143520"/>
                <a:gd name="connsiteY57" fmla="*/ 3669 h 221416"/>
                <a:gd name="connsiteX58" fmla="*/ 143348 w 143520"/>
                <a:gd name="connsiteY58" fmla="*/ 2811 h 221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43520" h="221416">
                  <a:moveTo>
                    <a:pt x="46002" y="81583"/>
                  </a:moveTo>
                  <a:cubicBezTo>
                    <a:pt x="46574" y="80726"/>
                    <a:pt x="46288" y="79583"/>
                    <a:pt x="45431" y="79011"/>
                  </a:cubicBezTo>
                  <a:cubicBezTo>
                    <a:pt x="44574" y="78345"/>
                    <a:pt x="43335" y="78630"/>
                    <a:pt x="42669" y="79488"/>
                  </a:cubicBezTo>
                  <a:cubicBezTo>
                    <a:pt x="38954" y="84726"/>
                    <a:pt x="35430" y="90251"/>
                    <a:pt x="32191" y="95775"/>
                  </a:cubicBezTo>
                  <a:cubicBezTo>
                    <a:pt x="31905" y="96347"/>
                    <a:pt x="31524" y="96918"/>
                    <a:pt x="31239" y="97395"/>
                  </a:cubicBezTo>
                  <a:cubicBezTo>
                    <a:pt x="30667" y="98347"/>
                    <a:pt x="31048" y="99585"/>
                    <a:pt x="32001" y="100062"/>
                  </a:cubicBezTo>
                  <a:cubicBezTo>
                    <a:pt x="32953" y="100633"/>
                    <a:pt x="34191" y="100252"/>
                    <a:pt x="34668" y="99395"/>
                  </a:cubicBezTo>
                  <a:cubicBezTo>
                    <a:pt x="34668" y="99395"/>
                    <a:pt x="34668" y="99395"/>
                    <a:pt x="34668" y="99395"/>
                  </a:cubicBezTo>
                  <a:cubicBezTo>
                    <a:pt x="34953" y="98823"/>
                    <a:pt x="35334" y="98347"/>
                    <a:pt x="35620" y="97776"/>
                  </a:cubicBezTo>
                  <a:cubicBezTo>
                    <a:pt x="38859" y="92346"/>
                    <a:pt x="42288" y="86917"/>
                    <a:pt x="45907" y="81774"/>
                  </a:cubicBezTo>
                  <a:cubicBezTo>
                    <a:pt x="45907" y="81774"/>
                    <a:pt x="45907" y="81774"/>
                    <a:pt x="45907" y="81678"/>
                  </a:cubicBezTo>
                  <a:moveTo>
                    <a:pt x="16856" y="137685"/>
                  </a:moveTo>
                  <a:cubicBezTo>
                    <a:pt x="16856" y="137685"/>
                    <a:pt x="16951" y="137495"/>
                    <a:pt x="17046" y="137304"/>
                  </a:cubicBezTo>
                  <a:cubicBezTo>
                    <a:pt x="19332" y="130827"/>
                    <a:pt x="21999" y="124255"/>
                    <a:pt x="24952" y="117969"/>
                  </a:cubicBezTo>
                  <a:cubicBezTo>
                    <a:pt x="25428" y="117016"/>
                    <a:pt x="24952" y="115778"/>
                    <a:pt x="24000" y="115302"/>
                  </a:cubicBezTo>
                  <a:cubicBezTo>
                    <a:pt x="23047" y="114825"/>
                    <a:pt x="21809" y="115302"/>
                    <a:pt x="21428" y="116254"/>
                  </a:cubicBezTo>
                  <a:cubicBezTo>
                    <a:pt x="18475" y="122636"/>
                    <a:pt x="15713" y="129303"/>
                    <a:pt x="13332" y="135971"/>
                  </a:cubicBezTo>
                  <a:cubicBezTo>
                    <a:pt x="12951" y="137019"/>
                    <a:pt x="13522" y="138162"/>
                    <a:pt x="14570" y="138447"/>
                  </a:cubicBezTo>
                  <a:cubicBezTo>
                    <a:pt x="15522" y="138733"/>
                    <a:pt x="16475" y="138447"/>
                    <a:pt x="16951" y="137590"/>
                  </a:cubicBezTo>
                  <a:moveTo>
                    <a:pt x="73434" y="49579"/>
                  </a:moveTo>
                  <a:cubicBezTo>
                    <a:pt x="73911" y="48817"/>
                    <a:pt x="73815" y="47865"/>
                    <a:pt x="73149" y="47198"/>
                  </a:cubicBezTo>
                  <a:cubicBezTo>
                    <a:pt x="72387" y="46436"/>
                    <a:pt x="71148" y="46341"/>
                    <a:pt x="70386" y="47198"/>
                  </a:cubicBezTo>
                  <a:cubicBezTo>
                    <a:pt x="65338" y="52151"/>
                    <a:pt x="60480" y="57390"/>
                    <a:pt x="55813" y="62724"/>
                  </a:cubicBezTo>
                  <a:cubicBezTo>
                    <a:pt x="55146" y="63581"/>
                    <a:pt x="55242" y="64819"/>
                    <a:pt x="56004" y="65486"/>
                  </a:cubicBezTo>
                  <a:cubicBezTo>
                    <a:pt x="56861" y="66153"/>
                    <a:pt x="58099" y="66057"/>
                    <a:pt x="58766" y="65295"/>
                  </a:cubicBezTo>
                  <a:cubicBezTo>
                    <a:pt x="63243" y="59961"/>
                    <a:pt x="68100" y="54913"/>
                    <a:pt x="73053" y="50055"/>
                  </a:cubicBezTo>
                  <a:cubicBezTo>
                    <a:pt x="73149" y="49960"/>
                    <a:pt x="73339" y="49770"/>
                    <a:pt x="73339" y="49674"/>
                  </a:cubicBezTo>
                  <a:moveTo>
                    <a:pt x="6474" y="178548"/>
                  </a:moveTo>
                  <a:cubicBezTo>
                    <a:pt x="6474" y="178548"/>
                    <a:pt x="6664" y="178071"/>
                    <a:pt x="6759" y="177881"/>
                  </a:cubicBezTo>
                  <a:cubicBezTo>
                    <a:pt x="7902" y="171023"/>
                    <a:pt x="9236" y="164165"/>
                    <a:pt x="11046" y="157402"/>
                  </a:cubicBezTo>
                  <a:cubicBezTo>
                    <a:pt x="11331" y="156354"/>
                    <a:pt x="10665" y="155307"/>
                    <a:pt x="9617" y="155021"/>
                  </a:cubicBezTo>
                  <a:cubicBezTo>
                    <a:pt x="8569" y="154735"/>
                    <a:pt x="7521" y="155402"/>
                    <a:pt x="7236" y="156450"/>
                  </a:cubicBezTo>
                  <a:cubicBezTo>
                    <a:pt x="5521" y="163308"/>
                    <a:pt x="3997" y="170261"/>
                    <a:pt x="2949" y="177309"/>
                  </a:cubicBezTo>
                  <a:cubicBezTo>
                    <a:pt x="2759" y="178357"/>
                    <a:pt x="3521" y="179405"/>
                    <a:pt x="4569" y="179595"/>
                  </a:cubicBezTo>
                  <a:cubicBezTo>
                    <a:pt x="5426" y="179691"/>
                    <a:pt x="6188" y="179310"/>
                    <a:pt x="6569" y="178643"/>
                  </a:cubicBezTo>
                  <a:moveTo>
                    <a:pt x="106105" y="23100"/>
                  </a:moveTo>
                  <a:cubicBezTo>
                    <a:pt x="106486" y="22433"/>
                    <a:pt x="106486" y="21671"/>
                    <a:pt x="106105" y="21004"/>
                  </a:cubicBezTo>
                  <a:cubicBezTo>
                    <a:pt x="105534" y="20052"/>
                    <a:pt x="104295" y="19861"/>
                    <a:pt x="103343" y="20433"/>
                  </a:cubicBezTo>
                  <a:cubicBezTo>
                    <a:pt x="97437" y="24338"/>
                    <a:pt x="91722" y="28624"/>
                    <a:pt x="86198" y="33006"/>
                  </a:cubicBezTo>
                  <a:cubicBezTo>
                    <a:pt x="85341" y="33672"/>
                    <a:pt x="85245" y="34911"/>
                    <a:pt x="85912" y="35768"/>
                  </a:cubicBezTo>
                  <a:cubicBezTo>
                    <a:pt x="86579" y="36625"/>
                    <a:pt x="87817" y="36720"/>
                    <a:pt x="88674" y="36054"/>
                  </a:cubicBezTo>
                  <a:cubicBezTo>
                    <a:pt x="94104" y="31672"/>
                    <a:pt x="99723" y="27576"/>
                    <a:pt x="105534" y="23671"/>
                  </a:cubicBezTo>
                  <a:cubicBezTo>
                    <a:pt x="105819" y="23481"/>
                    <a:pt x="106010" y="23290"/>
                    <a:pt x="106105" y="23004"/>
                  </a:cubicBezTo>
                  <a:moveTo>
                    <a:pt x="3711" y="220458"/>
                  </a:moveTo>
                  <a:cubicBezTo>
                    <a:pt x="3711" y="220458"/>
                    <a:pt x="3997" y="219791"/>
                    <a:pt x="3997" y="219410"/>
                  </a:cubicBezTo>
                  <a:cubicBezTo>
                    <a:pt x="3807" y="212457"/>
                    <a:pt x="3997" y="205408"/>
                    <a:pt x="4378" y="198550"/>
                  </a:cubicBezTo>
                  <a:cubicBezTo>
                    <a:pt x="4378" y="197407"/>
                    <a:pt x="3616" y="196550"/>
                    <a:pt x="2568" y="196455"/>
                  </a:cubicBezTo>
                  <a:cubicBezTo>
                    <a:pt x="1521" y="196455"/>
                    <a:pt x="568" y="197217"/>
                    <a:pt x="473" y="198264"/>
                  </a:cubicBezTo>
                  <a:cubicBezTo>
                    <a:pt x="-3" y="205313"/>
                    <a:pt x="-99" y="212457"/>
                    <a:pt x="92" y="219505"/>
                  </a:cubicBezTo>
                  <a:cubicBezTo>
                    <a:pt x="92" y="220553"/>
                    <a:pt x="1044" y="221505"/>
                    <a:pt x="2092" y="221410"/>
                  </a:cubicBezTo>
                  <a:cubicBezTo>
                    <a:pt x="2759" y="221410"/>
                    <a:pt x="3426" y="221029"/>
                    <a:pt x="3711" y="220458"/>
                  </a:cubicBezTo>
                  <a:moveTo>
                    <a:pt x="143253" y="3002"/>
                  </a:moveTo>
                  <a:cubicBezTo>
                    <a:pt x="143538" y="2526"/>
                    <a:pt x="143634" y="1859"/>
                    <a:pt x="143348" y="1192"/>
                  </a:cubicBezTo>
                  <a:cubicBezTo>
                    <a:pt x="142967" y="144"/>
                    <a:pt x="141729" y="-237"/>
                    <a:pt x="140776" y="144"/>
                  </a:cubicBezTo>
                  <a:cubicBezTo>
                    <a:pt x="134299" y="2907"/>
                    <a:pt x="127822" y="6050"/>
                    <a:pt x="121631" y="9384"/>
                  </a:cubicBezTo>
                  <a:cubicBezTo>
                    <a:pt x="120678" y="9955"/>
                    <a:pt x="120297" y="11098"/>
                    <a:pt x="120869" y="12051"/>
                  </a:cubicBezTo>
                  <a:cubicBezTo>
                    <a:pt x="121345" y="13003"/>
                    <a:pt x="122583" y="13384"/>
                    <a:pt x="123536" y="12813"/>
                  </a:cubicBezTo>
                  <a:cubicBezTo>
                    <a:pt x="129632" y="9479"/>
                    <a:pt x="136014" y="6431"/>
                    <a:pt x="142396" y="3669"/>
                  </a:cubicBezTo>
                  <a:cubicBezTo>
                    <a:pt x="142776" y="3478"/>
                    <a:pt x="143062" y="3192"/>
                    <a:pt x="143348" y="2811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3" name="Freeform: Shape 152">
              <a:extLst>
                <a:ext uri="{FF2B5EF4-FFF2-40B4-BE49-F238E27FC236}">
                  <a16:creationId xmlns:a16="http://schemas.microsoft.com/office/drawing/2014/main" id="{5B9F0DFE-07CB-B337-98F3-8FEF594C27CE}"/>
                </a:ext>
              </a:extLst>
            </p:cNvPr>
            <p:cNvSpPr/>
            <p:nvPr/>
          </p:nvSpPr>
          <p:spPr>
            <a:xfrm>
              <a:off x="11865389" y="1784108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4" name="Freeform: Shape 153">
              <a:extLst>
                <a:ext uri="{FF2B5EF4-FFF2-40B4-BE49-F238E27FC236}">
                  <a16:creationId xmlns:a16="http://schemas.microsoft.com/office/drawing/2014/main" id="{AE96321E-83EE-99B0-6734-27A15CF8D3F0}"/>
                </a:ext>
              </a:extLst>
            </p:cNvPr>
            <p:cNvSpPr/>
            <p:nvPr/>
          </p:nvSpPr>
          <p:spPr>
            <a:xfrm>
              <a:off x="11865389" y="1784108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  <a:close/>
                </a:path>
              </a:pathLst>
            </a:custGeom>
            <a:noFill/>
            <a:ln w="3810" cap="rnd">
              <a:solidFill>
                <a:srgbClr val="0095D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2BDEC4B-FE0A-7D6A-FF07-6AF9FDFA3004}"/>
              </a:ext>
            </a:extLst>
          </p:cNvPr>
          <p:cNvGrpSpPr/>
          <p:nvPr/>
        </p:nvGrpSpPr>
        <p:grpSpPr>
          <a:xfrm flipH="1">
            <a:off x="3529872" y="2908274"/>
            <a:ext cx="1312100" cy="1285291"/>
            <a:chOff x="11865389" y="2364760"/>
            <a:chExt cx="852427" cy="835009"/>
          </a:xfrm>
        </p:grpSpPr>
        <p:sp>
          <p:nvSpPr>
            <p:cNvPr id="26" name="Freeform: Shape 155">
              <a:extLst>
                <a:ext uri="{FF2B5EF4-FFF2-40B4-BE49-F238E27FC236}">
                  <a16:creationId xmlns:a16="http://schemas.microsoft.com/office/drawing/2014/main" id="{23F523B3-B251-BF11-04CB-B16974ED7CDE}"/>
                </a:ext>
              </a:extLst>
            </p:cNvPr>
            <p:cNvSpPr/>
            <p:nvPr/>
          </p:nvSpPr>
          <p:spPr>
            <a:xfrm>
              <a:off x="11882807" y="2364760"/>
              <a:ext cx="835009" cy="835009"/>
            </a:xfrm>
            <a:custGeom>
              <a:avLst/>
              <a:gdLst>
                <a:gd name="connsiteX0" fmla="*/ 0 w 479107"/>
                <a:gd name="connsiteY0" fmla="*/ 239554 h 479107"/>
                <a:gd name="connsiteX1" fmla="*/ 239554 w 479107"/>
                <a:gd name="connsiteY1" fmla="*/ 479108 h 479107"/>
                <a:gd name="connsiteX2" fmla="*/ 479108 w 479107"/>
                <a:gd name="connsiteY2" fmla="*/ 239554 h 479107"/>
                <a:gd name="connsiteX3" fmla="*/ 239554 w 479107"/>
                <a:gd name="connsiteY3" fmla="*/ 0 h 479107"/>
                <a:gd name="connsiteX4" fmla="*/ 0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0" y="239554"/>
                  </a:moveTo>
                  <a:cubicBezTo>
                    <a:pt x="0" y="371856"/>
                    <a:pt x="107251" y="479108"/>
                    <a:pt x="239554" y="479108"/>
                  </a:cubicBezTo>
                  <a:cubicBezTo>
                    <a:pt x="371856" y="479108"/>
                    <a:pt x="479108" y="371856"/>
                    <a:pt x="479108" y="239554"/>
                  </a:cubicBezTo>
                  <a:cubicBezTo>
                    <a:pt x="479108" y="107251"/>
                    <a:pt x="371856" y="0"/>
                    <a:pt x="239554" y="0"/>
                  </a:cubicBezTo>
                  <a:cubicBezTo>
                    <a:pt x="107251" y="0"/>
                    <a:pt x="0" y="107251"/>
                    <a:pt x="0" y="239554"/>
                  </a:cubicBezTo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7" name="Freeform: Shape 156">
              <a:extLst>
                <a:ext uri="{FF2B5EF4-FFF2-40B4-BE49-F238E27FC236}">
                  <a16:creationId xmlns:a16="http://schemas.microsoft.com/office/drawing/2014/main" id="{61FA18D3-CBE8-DB16-5F14-659D1CD0B36F}"/>
                </a:ext>
              </a:extLst>
            </p:cNvPr>
            <p:cNvSpPr/>
            <p:nvPr/>
          </p:nvSpPr>
          <p:spPr>
            <a:xfrm>
              <a:off x="11965654" y="2447606"/>
              <a:ext cx="669317" cy="669316"/>
            </a:xfrm>
            <a:custGeom>
              <a:avLst/>
              <a:gdLst>
                <a:gd name="connsiteX0" fmla="*/ 479108 w 479107"/>
                <a:gd name="connsiteY0" fmla="*/ 239554 h 479107"/>
                <a:gd name="connsiteX1" fmla="*/ 239554 w 479107"/>
                <a:gd name="connsiteY1" fmla="*/ 479108 h 479107"/>
                <a:gd name="connsiteX2" fmla="*/ 0 w 479107"/>
                <a:gd name="connsiteY2" fmla="*/ 239554 h 479107"/>
                <a:gd name="connsiteX3" fmla="*/ 239554 w 479107"/>
                <a:gd name="connsiteY3" fmla="*/ 0 h 479107"/>
                <a:gd name="connsiteX4" fmla="*/ 479108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479108" y="239554"/>
                  </a:moveTo>
                  <a:cubicBezTo>
                    <a:pt x="479108" y="371856"/>
                    <a:pt x="371856" y="479108"/>
                    <a:pt x="239554" y="479108"/>
                  </a:cubicBezTo>
                  <a:cubicBezTo>
                    <a:pt x="107251" y="479108"/>
                    <a:pt x="0" y="371856"/>
                    <a:pt x="0" y="239554"/>
                  </a:cubicBezTo>
                  <a:cubicBezTo>
                    <a:pt x="0" y="107251"/>
                    <a:pt x="107251" y="0"/>
                    <a:pt x="239554" y="0"/>
                  </a:cubicBezTo>
                  <a:cubicBezTo>
                    <a:pt x="371856" y="0"/>
                    <a:pt x="479108" y="107251"/>
                    <a:pt x="479108" y="239554"/>
                  </a:cubicBezTo>
                  <a:close/>
                </a:path>
              </a:pathLst>
            </a:custGeom>
            <a:solidFill>
              <a:srgbClr val="213F99"/>
            </a:solidFill>
            <a:ln w="762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8" name="Freeform: Shape 157">
              <a:extLst>
                <a:ext uri="{FF2B5EF4-FFF2-40B4-BE49-F238E27FC236}">
                  <a16:creationId xmlns:a16="http://schemas.microsoft.com/office/drawing/2014/main" id="{56D43876-5041-FE3E-0D80-E9D6984E09F9}"/>
                </a:ext>
              </a:extLst>
            </p:cNvPr>
            <p:cNvSpPr/>
            <p:nvPr/>
          </p:nvSpPr>
          <p:spPr>
            <a:xfrm>
              <a:off x="11916301" y="2377762"/>
              <a:ext cx="789474" cy="810222"/>
            </a:xfrm>
            <a:custGeom>
              <a:avLst/>
              <a:gdLst>
                <a:gd name="connsiteX0" fmla="*/ 420838 w 452980"/>
                <a:gd name="connsiteY0" fmla="*/ 350204 h 464885"/>
                <a:gd name="connsiteX1" fmla="*/ 450937 w 452980"/>
                <a:gd name="connsiteY1" fmla="*/ 263050 h 464885"/>
                <a:gd name="connsiteX2" fmla="*/ 445507 w 452980"/>
                <a:gd name="connsiteY2" fmla="*/ 174182 h 464885"/>
                <a:gd name="connsiteX3" fmla="*/ 407122 w 452980"/>
                <a:gd name="connsiteY3" fmla="*/ 93791 h 464885"/>
                <a:gd name="connsiteX4" fmla="*/ 338446 w 452980"/>
                <a:gd name="connsiteY4" fmla="*/ 32164 h 464885"/>
                <a:gd name="connsiteX5" fmla="*/ 167473 w 452980"/>
                <a:gd name="connsiteY5" fmla="*/ 6256 h 464885"/>
                <a:gd name="connsiteX6" fmla="*/ 166044 w 452980"/>
                <a:gd name="connsiteY6" fmla="*/ 8637 h 464885"/>
                <a:gd name="connsiteX7" fmla="*/ 168425 w 452980"/>
                <a:gd name="connsiteY7" fmla="*/ 10066 h 464885"/>
                <a:gd name="connsiteX8" fmla="*/ 336541 w 452980"/>
                <a:gd name="connsiteY8" fmla="*/ 35593 h 464885"/>
                <a:gd name="connsiteX9" fmla="*/ 441793 w 452980"/>
                <a:gd name="connsiteY9" fmla="*/ 175134 h 464885"/>
                <a:gd name="connsiteX10" fmla="*/ 417599 w 452980"/>
                <a:gd name="connsiteY10" fmla="*/ 348204 h 464885"/>
                <a:gd name="connsiteX11" fmla="*/ 278058 w 452980"/>
                <a:gd name="connsiteY11" fmla="*/ 453455 h 464885"/>
                <a:gd name="connsiteX12" fmla="*/ 104989 w 452980"/>
                <a:gd name="connsiteY12" fmla="*/ 429261 h 464885"/>
                <a:gd name="connsiteX13" fmla="*/ 3833 w 452980"/>
                <a:gd name="connsiteY13" fmla="*/ 304293 h 464885"/>
                <a:gd name="connsiteX14" fmla="*/ 1357 w 452980"/>
                <a:gd name="connsiteY14" fmla="*/ 303055 h 464885"/>
                <a:gd name="connsiteX15" fmla="*/ 118 w 452980"/>
                <a:gd name="connsiteY15" fmla="*/ 305532 h 464885"/>
                <a:gd name="connsiteX16" fmla="*/ 38599 w 452980"/>
                <a:gd name="connsiteY16" fmla="*/ 377445 h 464885"/>
                <a:gd name="connsiteX17" fmla="*/ 102988 w 452980"/>
                <a:gd name="connsiteY17" fmla="*/ 432786 h 464885"/>
                <a:gd name="connsiteX18" fmla="*/ 190142 w 452980"/>
                <a:gd name="connsiteY18" fmla="*/ 462885 h 464885"/>
                <a:gd name="connsiteX19" fmla="*/ 279010 w 452980"/>
                <a:gd name="connsiteY19" fmla="*/ 457455 h 464885"/>
                <a:gd name="connsiteX20" fmla="*/ 359401 w 452980"/>
                <a:gd name="connsiteY20" fmla="*/ 419070 h 464885"/>
                <a:gd name="connsiteX21" fmla="*/ 421028 w 452980"/>
                <a:gd name="connsiteY21" fmla="*/ 350394 h 46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980" h="464885">
                  <a:moveTo>
                    <a:pt x="420838" y="350204"/>
                  </a:moveTo>
                  <a:cubicBezTo>
                    <a:pt x="436744" y="323153"/>
                    <a:pt x="446841" y="293816"/>
                    <a:pt x="450937" y="263050"/>
                  </a:cubicBezTo>
                  <a:cubicBezTo>
                    <a:pt x="454937" y="233237"/>
                    <a:pt x="453032" y="203328"/>
                    <a:pt x="445507" y="174182"/>
                  </a:cubicBezTo>
                  <a:cubicBezTo>
                    <a:pt x="437983" y="144940"/>
                    <a:pt x="425029" y="117984"/>
                    <a:pt x="407122" y="93791"/>
                  </a:cubicBezTo>
                  <a:cubicBezTo>
                    <a:pt x="388548" y="68835"/>
                    <a:pt x="365497" y="48071"/>
                    <a:pt x="338446" y="32164"/>
                  </a:cubicBezTo>
                  <a:cubicBezTo>
                    <a:pt x="286630" y="1684"/>
                    <a:pt x="225956" y="-7555"/>
                    <a:pt x="167473" y="6256"/>
                  </a:cubicBezTo>
                  <a:cubicBezTo>
                    <a:pt x="166425" y="6542"/>
                    <a:pt x="165758" y="7590"/>
                    <a:pt x="166044" y="8637"/>
                  </a:cubicBezTo>
                  <a:cubicBezTo>
                    <a:pt x="166330" y="9685"/>
                    <a:pt x="167377" y="10352"/>
                    <a:pt x="168425" y="10066"/>
                  </a:cubicBezTo>
                  <a:cubicBezTo>
                    <a:pt x="225956" y="-3459"/>
                    <a:pt x="285583" y="5589"/>
                    <a:pt x="336541" y="35593"/>
                  </a:cubicBezTo>
                  <a:cubicBezTo>
                    <a:pt x="389119" y="66549"/>
                    <a:pt x="426457" y="116079"/>
                    <a:pt x="441793" y="175134"/>
                  </a:cubicBezTo>
                  <a:cubicBezTo>
                    <a:pt x="457128" y="234189"/>
                    <a:pt x="448460" y="295626"/>
                    <a:pt x="417599" y="348204"/>
                  </a:cubicBezTo>
                  <a:cubicBezTo>
                    <a:pt x="386643" y="400782"/>
                    <a:pt x="337113" y="438215"/>
                    <a:pt x="278058" y="453455"/>
                  </a:cubicBezTo>
                  <a:cubicBezTo>
                    <a:pt x="219003" y="468790"/>
                    <a:pt x="157567" y="460122"/>
                    <a:pt x="104989" y="429261"/>
                  </a:cubicBezTo>
                  <a:cubicBezTo>
                    <a:pt x="55744" y="400305"/>
                    <a:pt x="20788" y="357062"/>
                    <a:pt x="3833" y="304293"/>
                  </a:cubicBezTo>
                  <a:cubicBezTo>
                    <a:pt x="3452" y="303246"/>
                    <a:pt x="2404" y="302674"/>
                    <a:pt x="1357" y="303055"/>
                  </a:cubicBezTo>
                  <a:cubicBezTo>
                    <a:pt x="309" y="303436"/>
                    <a:pt x="-263" y="304484"/>
                    <a:pt x="118" y="305532"/>
                  </a:cubicBezTo>
                  <a:cubicBezTo>
                    <a:pt x="8500" y="331821"/>
                    <a:pt x="21550" y="356014"/>
                    <a:pt x="38599" y="377445"/>
                  </a:cubicBezTo>
                  <a:cubicBezTo>
                    <a:pt x="56125" y="399353"/>
                    <a:pt x="77747" y="417927"/>
                    <a:pt x="102988" y="432786"/>
                  </a:cubicBezTo>
                  <a:cubicBezTo>
                    <a:pt x="130039" y="448692"/>
                    <a:pt x="159376" y="458789"/>
                    <a:pt x="190142" y="462885"/>
                  </a:cubicBezTo>
                  <a:cubicBezTo>
                    <a:pt x="219955" y="466790"/>
                    <a:pt x="249864" y="464980"/>
                    <a:pt x="279010" y="457455"/>
                  </a:cubicBezTo>
                  <a:cubicBezTo>
                    <a:pt x="308252" y="449931"/>
                    <a:pt x="335208" y="436977"/>
                    <a:pt x="359401" y="419070"/>
                  </a:cubicBezTo>
                  <a:cubicBezTo>
                    <a:pt x="384357" y="400496"/>
                    <a:pt x="405121" y="377445"/>
                    <a:pt x="421028" y="350394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9" name="Freeform: Shape 158">
              <a:extLst>
                <a:ext uri="{FF2B5EF4-FFF2-40B4-BE49-F238E27FC236}">
                  <a16:creationId xmlns:a16="http://schemas.microsoft.com/office/drawing/2014/main" id="{2754BED0-B1EA-D0D4-5708-86EE3C7240AD}"/>
                </a:ext>
              </a:extLst>
            </p:cNvPr>
            <p:cNvSpPr/>
            <p:nvPr/>
          </p:nvSpPr>
          <p:spPr>
            <a:xfrm>
              <a:off x="11892276" y="2414145"/>
              <a:ext cx="250133" cy="385894"/>
            </a:xfrm>
            <a:custGeom>
              <a:avLst/>
              <a:gdLst>
                <a:gd name="connsiteX0" fmla="*/ 46002 w 143520"/>
                <a:gd name="connsiteY0" fmla="*/ 81583 h 221416"/>
                <a:gd name="connsiteX1" fmla="*/ 45431 w 143520"/>
                <a:gd name="connsiteY1" fmla="*/ 79011 h 221416"/>
                <a:gd name="connsiteX2" fmla="*/ 42669 w 143520"/>
                <a:gd name="connsiteY2" fmla="*/ 79488 h 221416"/>
                <a:gd name="connsiteX3" fmla="*/ 32191 w 143520"/>
                <a:gd name="connsiteY3" fmla="*/ 95775 h 221416"/>
                <a:gd name="connsiteX4" fmla="*/ 31239 w 143520"/>
                <a:gd name="connsiteY4" fmla="*/ 97395 h 221416"/>
                <a:gd name="connsiteX5" fmla="*/ 32001 w 143520"/>
                <a:gd name="connsiteY5" fmla="*/ 100062 h 221416"/>
                <a:gd name="connsiteX6" fmla="*/ 34668 w 143520"/>
                <a:gd name="connsiteY6" fmla="*/ 99395 h 221416"/>
                <a:gd name="connsiteX7" fmla="*/ 34668 w 143520"/>
                <a:gd name="connsiteY7" fmla="*/ 99395 h 221416"/>
                <a:gd name="connsiteX8" fmla="*/ 35620 w 143520"/>
                <a:gd name="connsiteY8" fmla="*/ 97776 h 221416"/>
                <a:gd name="connsiteX9" fmla="*/ 45907 w 143520"/>
                <a:gd name="connsiteY9" fmla="*/ 81774 h 221416"/>
                <a:gd name="connsiteX10" fmla="*/ 45907 w 143520"/>
                <a:gd name="connsiteY10" fmla="*/ 81678 h 221416"/>
                <a:gd name="connsiteX11" fmla="*/ 16856 w 143520"/>
                <a:gd name="connsiteY11" fmla="*/ 137685 h 221416"/>
                <a:gd name="connsiteX12" fmla="*/ 17046 w 143520"/>
                <a:gd name="connsiteY12" fmla="*/ 137304 h 221416"/>
                <a:gd name="connsiteX13" fmla="*/ 24952 w 143520"/>
                <a:gd name="connsiteY13" fmla="*/ 117969 h 221416"/>
                <a:gd name="connsiteX14" fmla="*/ 24000 w 143520"/>
                <a:gd name="connsiteY14" fmla="*/ 115302 h 221416"/>
                <a:gd name="connsiteX15" fmla="*/ 21428 w 143520"/>
                <a:gd name="connsiteY15" fmla="*/ 116254 h 221416"/>
                <a:gd name="connsiteX16" fmla="*/ 13332 w 143520"/>
                <a:gd name="connsiteY16" fmla="*/ 135971 h 221416"/>
                <a:gd name="connsiteX17" fmla="*/ 14570 w 143520"/>
                <a:gd name="connsiteY17" fmla="*/ 138447 h 221416"/>
                <a:gd name="connsiteX18" fmla="*/ 16951 w 143520"/>
                <a:gd name="connsiteY18" fmla="*/ 137590 h 221416"/>
                <a:gd name="connsiteX19" fmla="*/ 73434 w 143520"/>
                <a:gd name="connsiteY19" fmla="*/ 49579 h 221416"/>
                <a:gd name="connsiteX20" fmla="*/ 73149 w 143520"/>
                <a:gd name="connsiteY20" fmla="*/ 47198 h 221416"/>
                <a:gd name="connsiteX21" fmla="*/ 70386 w 143520"/>
                <a:gd name="connsiteY21" fmla="*/ 47198 h 221416"/>
                <a:gd name="connsiteX22" fmla="*/ 55813 w 143520"/>
                <a:gd name="connsiteY22" fmla="*/ 62724 h 221416"/>
                <a:gd name="connsiteX23" fmla="*/ 56004 w 143520"/>
                <a:gd name="connsiteY23" fmla="*/ 65486 h 221416"/>
                <a:gd name="connsiteX24" fmla="*/ 58766 w 143520"/>
                <a:gd name="connsiteY24" fmla="*/ 65295 h 221416"/>
                <a:gd name="connsiteX25" fmla="*/ 73053 w 143520"/>
                <a:gd name="connsiteY25" fmla="*/ 50055 h 221416"/>
                <a:gd name="connsiteX26" fmla="*/ 73339 w 143520"/>
                <a:gd name="connsiteY26" fmla="*/ 49674 h 221416"/>
                <a:gd name="connsiteX27" fmla="*/ 6474 w 143520"/>
                <a:gd name="connsiteY27" fmla="*/ 178548 h 221416"/>
                <a:gd name="connsiteX28" fmla="*/ 6759 w 143520"/>
                <a:gd name="connsiteY28" fmla="*/ 177881 h 221416"/>
                <a:gd name="connsiteX29" fmla="*/ 11046 w 143520"/>
                <a:gd name="connsiteY29" fmla="*/ 157402 h 221416"/>
                <a:gd name="connsiteX30" fmla="*/ 9617 w 143520"/>
                <a:gd name="connsiteY30" fmla="*/ 155021 h 221416"/>
                <a:gd name="connsiteX31" fmla="*/ 7236 w 143520"/>
                <a:gd name="connsiteY31" fmla="*/ 156450 h 221416"/>
                <a:gd name="connsiteX32" fmla="*/ 2949 w 143520"/>
                <a:gd name="connsiteY32" fmla="*/ 177309 h 221416"/>
                <a:gd name="connsiteX33" fmla="*/ 4569 w 143520"/>
                <a:gd name="connsiteY33" fmla="*/ 179595 h 221416"/>
                <a:gd name="connsiteX34" fmla="*/ 6569 w 143520"/>
                <a:gd name="connsiteY34" fmla="*/ 178643 h 221416"/>
                <a:gd name="connsiteX35" fmla="*/ 106105 w 143520"/>
                <a:gd name="connsiteY35" fmla="*/ 23100 h 221416"/>
                <a:gd name="connsiteX36" fmla="*/ 106105 w 143520"/>
                <a:gd name="connsiteY36" fmla="*/ 21004 h 221416"/>
                <a:gd name="connsiteX37" fmla="*/ 103343 w 143520"/>
                <a:gd name="connsiteY37" fmla="*/ 20433 h 221416"/>
                <a:gd name="connsiteX38" fmla="*/ 86198 w 143520"/>
                <a:gd name="connsiteY38" fmla="*/ 33006 h 221416"/>
                <a:gd name="connsiteX39" fmla="*/ 85912 w 143520"/>
                <a:gd name="connsiteY39" fmla="*/ 35768 h 221416"/>
                <a:gd name="connsiteX40" fmla="*/ 88674 w 143520"/>
                <a:gd name="connsiteY40" fmla="*/ 36054 h 221416"/>
                <a:gd name="connsiteX41" fmla="*/ 105534 w 143520"/>
                <a:gd name="connsiteY41" fmla="*/ 23671 h 221416"/>
                <a:gd name="connsiteX42" fmla="*/ 106105 w 143520"/>
                <a:gd name="connsiteY42" fmla="*/ 23004 h 221416"/>
                <a:gd name="connsiteX43" fmla="*/ 3711 w 143520"/>
                <a:gd name="connsiteY43" fmla="*/ 220458 h 221416"/>
                <a:gd name="connsiteX44" fmla="*/ 3997 w 143520"/>
                <a:gd name="connsiteY44" fmla="*/ 219410 h 221416"/>
                <a:gd name="connsiteX45" fmla="*/ 4378 w 143520"/>
                <a:gd name="connsiteY45" fmla="*/ 198550 h 221416"/>
                <a:gd name="connsiteX46" fmla="*/ 2568 w 143520"/>
                <a:gd name="connsiteY46" fmla="*/ 196455 h 221416"/>
                <a:gd name="connsiteX47" fmla="*/ 473 w 143520"/>
                <a:gd name="connsiteY47" fmla="*/ 198264 h 221416"/>
                <a:gd name="connsiteX48" fmla="*/ 92 w 143520"/>
                <a:gd name="connsiteY48" fmla="*/ 219505 h 221416"/>
                <a:gd name="connsiteX49" fmla="*/ 2092 w 143520"/>
                <a:gd name="connsiteY49" fmla="*/ 221410 h 221416"/>
                <a:gd name="connsiteX50" fmla="*/ 3711 w 143520"/>
                <a:gd name="connsiteY50" fmla="*/ 220458 h 221416"/>
                <a:gd name="connsiteX51" fmla="*/ 143253 w 143520"/>
                <a:gd name="connsiteY51" fmla="*/ 3002 h 221416"/>
                <a:gd name="connsiteX52" fmla="*/ 143348 w 143520"/>
                <a:gd name="connsiteY52" fmla="*/ 1192 h 221416"/>
                <a:gd name="connsiteX53" fmla="*/ 140776 w 143520"/>
                <a:gd name="connsiteY53" fmla="*/ 144 h 221416"/>
                <a:gd name="connsiteX54" fmla="*/ 121631 w 143520"/>
                <a:gd name="connsiteY54" fmla="*/ 9384 h 221416"/>
                <a:gd name="connsiteX55" fmla="*/ 120869 w 143520"/>
                <a:gd name="connsiteY55" fmla="*/ 12051 h 221416"/>
                <a:gd name="connsiteX56" fmla="*/ 123536 w 143520"/>
                <a:gd name="connsiteY56" fmla="*/ 12813 h 221416"/>
                <a:gd name="connsiteX57" fmla="*/ 142396 w 143520"/>
                <a:gd name="connsiteY57" fmla="*/ 3669 h 221416"/>
                <a:gd name="connsiteX58" fmla="*/ 143348 w 143520"/>
                <a:gd name="connsiteY58" fmla="*/ 2811 h 221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43520" h="221416">
                  <a:moveTo>
                    <a:pt x="46002" y="81583"/>
                  </a:moveTo>
                  <a:cubicBezTo>
                    <a:pt x="46574" y="80726"/>
                    <a:pt x="46288" y="79583"/>
                    <a:pt x="45431" y="79011"/>
                  </a:cubicBezTo>
                  <a:cubicBezTo>
                    <a:pt x="44574" y="78345"/>
                    <a:pt x="43335" y="78630"/>
                    <a:pt x="42669" y="79488"/>
                  </a:cubicBezTo>
                  <a:cubicBezTo>
                    <a:pt x="38954" y="84726"/>
                    <a:pt x="35430" y="90251"/>
                    <a:pt x="32191" y="95775"/>
                  </a:cubicBezTo>
                  <a:cubicBezTo>
                    <a:pt x="31905" y="96347"/>
                    <a:pt x="31524" y="96918"/>
                    <a:pt x="31239" y="97395"/>
                  </a:cubicBezTo>
                  <a:cubicBezTo>
                    <a:pt x="30667" y="98347"/>
                    <a:pt x="31048" y="99585"/>
                    <a:pt x="32001" y="100062"/>
                  </a:cubicBezTo>
                  <a:cubicBezTo>
                    <a:pt x="32953" y="100633"/>
                    <a:pt x="34191" y="100252"/>
                    <a:pt x="34668" y="99395"/>
                  </a:cubicBezTo>
                  <a:cubicBezTo>
                    <a:pt x="34668" y="99395"/>
                    <a:pt x="34668" y="99395"/>
                    <a:pt x="34668" y="99395"/>
                  </a:cubicBezTo>
                  <a:cubicBezTo>
                    <a:pt x="34953" y="98823"/>
                    <a:pt x="35334" y="98347"/>
                    <a:pt x="35620" y="97776"/>
                  </a:cubicBezTo>
                  <a:cubicBezTo>
                    <a:pt x="38859" y="92346"/>
                    <a:pt x="42288" y="86917"/>
                    <a:pt x="45907" y="81774"/>
                  </a:cubicBezTo>
                  <a:cubicBezTo>
                    <a:pt x="45907" y="81774"/>
                    <a:pt x="45907" y="81774"/>
                    <a:pt x="45907" y="81678"/>
                  </a:cubicBezTo>
                  <a:moveTo>
                    <a:pt x="16856" y="137685"/>
                  </a:moveTo>
                  <a:cubicBezTo>
                    <a:pt x="16856" y="137685"/>
                    <a:pt x="16951" y="137495"/>
                    <a:pt x="17046" y="137304"/>
                  </a:cubicBezTo>
                  <a:cubicBezTo>
                    <a:pt x="19332" y="130827"/>
                    <a:pt x="21999" y="124255"/>
                    <a:pt x="24952" y="117969"/>
                  </a:cubicBezTo>
                  <a:cubicBezTo>
                    <a:pt x="25428" y="117016"/>
                    <a:pt x="24952" y="115778"/>
                    <a:pt x="24000" y="115302"/>
                  </a:cubicBezTo>
                  <a:cubicBezTo>
                    <a:pt x="23047" y="114825"/>
                    <a:pt x="21809" y="115302"/>
                    <a:pt x="21428" y="116254"/>
                  </a:cubicBezTo>
                  <a:cubicBezTo>
                    <a:pt x="18475" y="122636"/>
                    <a:pt x="15713" y="129303"/>
                    <a:pt x="13332" y="135971"/>
                  </a:cubicBezTo>
                  <a:cubicBezTo>
                    <a:pt x="12951" y="137019"/>
                    <a:pt x="13522" y="138162"/>
                    <a:pt x="14570" y="138447"/>
                  </a:cubicBezTo>
                  <a:cubicBezTo>
                    <a:pt x="15522" y="138733"/>
                    <a:pt x="16475" y="138447"/>
                    <a:pt x="16951" y="137590"/>
                  </a:cubicBezTo>
                  <a:moveTo>
                    <a:pt x="73434" y="49579"/>
                  </a:moveTo>
                  <a:cubicBezTo>
                    <a:pt x="73911" y="48817"/>
                    <a:pt x="73815" y="47865"/>
                    <a:pt x="73149" y="47198"/>
                  </a:cubicBezTo>
                  <a:cubicBezTo>
                    <a:pt x="72387" y="46436"/>
                    <a:pt x="71148" y="46341"/>
                    <a:pt x="70386" y="47198"/>
                  </a:cubicBezTo>
                  <a:cubicBezTo>
                    <a:pt x="65338" y="52151"/>
                    <a:pt x="60480" y="57390"/>
                    <a:pt x="55813" y="62724"/>
                  </a:cubicBezTo>
                  <a:cubicBezTo>
                    <a:pt x="55146" y="63581"/>
                    <a:pt x="55242" y="64819"/>
                    <a:pt x="56004" y="65486"/>
                  </a:cubicBezTo>
                  <a:cubicBezTo>
                    <a:pt x="56861" y="66153"/>
                    <a:pt x="58099" y="66057"/>
                    <a:pt x="58766" y="65295"/>
                  </a:cubicBezTo>
                  <a:cubicBezTo>
                    <a:pt x="63243" y="59961"/>
                    <a:pt x="68100" y="54913"/>
                    <a:pt x="73053" y="50055"/>
                  </a:cubicBezTo>
                  <a:cubicBezTo>
                    <a:pt x="73149" y="49960"/>
                    <a:pt x="73339" y="49770"/>
                    <a:pt x="73339" y="49674"/>
                  </a:cubicBezTo>
                  <a:moveTo>
                    <a:pt x="6474" y="178548"/>
                  </a:moveTo>
                  <a:cubicBezTo>
                    <a:pt x="6474" y="178548"/>
                    <a:pt x="6664" y="178071"/>
                    <a:pt x="6759" y="177881"/>
                  </a:cubicBezTo>
                  <a:cubicBezTo>
                    <a:pt x="7902" y="171023"/>
                    <a:pt x="9236" y="164165"/>
                    <a:pt x="11046" y="157402"/>
                  </a:cubicBezTo>
                  <a:cubicBezTo>
                    <a:pt x="11331" y="156354"/>
                    <a:pt x="10665" y="155307"/>
                    <a:pt x="9617" y="155021"/>
                  </a:cubicBezTo>
                  <a:cubicBezTo>
                    <a:pt x="8569" y="154735"/>
                    <a:pt x="7521" y="155402"/>
                    <a:pt x="7236" y="156450"/>
                  </a:cubicBezTo>
                  <a:cubicBezTo>
                    <a:pt x="5521" y="163308"/>
                    <a:pt x="3997" y="170261"/>
                    <a:pt x="2949" y="177309"/>
                  </a:cubicBezTo>
                  <a:cubicBezTo>
                    <a:pt x="2759" y="178357"/>
                    <a:pt x="3521" y="179405"/>
                    <a:pt x="4569" y="179595"/>
                  </a:cubicBezTo>
                  <a:cubicBezTo>
                    <a:pt x="5426" y="179691"/>
                    <a:pt x="6188" y="179310"/>
                    <a:pt x="6569" y="178643"/>
                  </a:cubicBezTo>
                  <a:moveTo>
                    <a:pt x="106105" y="23100"/>
                  </a:moveTo>
                  <a:cubicBezTo>
                    <a:pt x="106486" y="22433"/>
                    <a:pt x="106486" y="21671"/>
                    <a:pt x="106105" y="21004"/>
                  </a:cubicBezTo>
                  <a:cubicBezTo>
                    <a:pt x="105534" y="20052"/>
                    <a:pt x="104295" y="19861"/>
                    <a:pt x="103343" y="20433"/>
                  </a:cubicBezTo>
                  <a:cubicBezTo>
                    <a:pt x="97437" y="24338"/>
                    <a:pt x="91722" y="28624"/>
                    <a:pt x="86198" y="33006"/>
                  </a:cubicBezTo>
                  <a:cubicBezTo>
                    <a:pt x="85341" y="33672"/>
                    <a:pt x="85245" y="34911"/>
                    <a:pt x="85912" y="35768"/>
                  </a:cubicBezTo>
                  <a:cubicBezTo>
                    <a:pt x="86579" y="36625"/>
                    <a:pt x="87817" y="36720"/>
                    <a:pt x="88674" y="36054"/>
                  </a:cubicBezTo>
                  <a:cubicBezTo>
                    <a:pt x="94104" y="31672"/>
                    <a:pt x="99723" y="27576"/>
                    <a:pt x="105534" y="23671"/>
                  </a:cubicBezTo>
                  <a:cubicBezTo>
                    <a:pt x="105819" y="23481"/>
                    <a:pt x="106010" y="23290"/>
                    <a:pt x="106105" y="23004"/>
                  </a:cubicBezTo>
                  <a:moveTo>
                    <a:pt x="3711" y="220458"/>
                  </a:moveTo>
                  <a:cubicBezTo>
                    <a:pt x="3711" y="220458"/>
                    <a:pt x="3997" y="219791"/>
                    <a:pt x="3997" y="219410"/>
                  </a:cubicBezTo>
                  <a:cubicBezTo>
                    <a:pt x="3807" y="212457"/>
                    <a:pt x="3997" y="205408"/>
                    <a:pt x="4378" y="198550"/>
                  </a:cubicBezTo>
                  <a:cubicBezTo>
                    <a:pt x="4378" y="197407"/>
                    <a:pt x="3616" y="196550"/>
                    <a:pt x="2568" y="196455"/>
                  </a:cubicBezTo>
                  <a:cubicBezTo>
                    <a:pt x="1521" y="196455"/>
                    <a:pt x="568" y="197217"/>
                    <a:pt x="473" y="198264"/>
                  </a:cubicBezTo>
                  <a:cubicBezTo>
                    <a:pt x="-3" y="205313"/>
                    <a:pt x="-99" y="212457"/>
                    <a:pt x="92" y="219505"/>
                  </a:cubicBezTo>
                  <a:cubicBezTo>
                    <a:pt x="92" y="220553"/>
                    <a:pt x="1044" y="221505"/>
                    <a:pt x="2092" y="221410"/>
                  </a:cubicBezTo>
                  <a:cubicBezTo>
                    <a:pt x="2759" y="221410"/>
                    <a:pt x="3426" y="221029"/>
                    <a:pt x="3711" y="220458"/>
                  </a:cubicBezTo>
                  <a:moveTo>
                    <a:pt x="143253" y="3002"/>
                  </a:moveTo>
                  <a:cubicBezTo>
                    <a:pt x="143538" y="2526"/>
                    <a:pt x="143634" y="1859"/>
                    <a:pt x="143348" y="1192"/>
                  </a:cubicBezTo>
                  <a:cubicBezTo>
                    <a:pt x="142967" y="144"/>
                    <a:pt x="141729" y="-237"/>
                    <a:pt x="140776" y="144"/>
                  </a:cubicBezTo>
                  <a:cubicBezTo>
                    <a:pt x="134299" y="2907"/>
                    <a:pt x="127822" y="6050"/>
                    <a:pt x="121631" y="9384"/>
                  </a:cubicBezTo>
                  <a:cubicBezTo>
                    <a:pt x="120678" y="9955"/>
                    <a:pt x="120297" y="11098"/>
                    <a:pt x="120869" y="12051"/>
                  </a:cubicBezTo>
                  <a:cubicBezTo>
                    <a:pt x="121345" y="13003"/>
                    <a:pt x="122583" y="13384"/>
                    <a:pt x="123536" y="12813"/>
                  </a:cubicBezTo>
                  <a:cubicBezTo>
                    <a:pt x="129632" y="9479"/>
                    <a:pt x="136014" y="6431"/>
                    <a:pt x="142396" y="3669"/>
                  </a:cubicBezTo>
                  <a:cubicBezTo>
                    <a:pt x="142776" y="3478"/>
                    <a:pt x="143062" y="3192"/>
                    <a:pt x="143348" y="2811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0" name="Freeform: Shape 159">
              <a:extLst>
                <a:ext uri="{FF2B5EF4-FFF2-40B4-BE49-F238E27FC236}">
                  <a16:creationId xmlns:a16="http://schemas.microsoft.com/office/drawing/2014/main" id="{56AF3D15-CBA3-FA7D-D3D4-DD3EABEB2C7C}"/>
                </a:ext>
              </a:extLst>
            </p:cNvPr>
            <p:cNvSpPr/>
            <p:nvPr/>
          </p:nvSpPr>
          <p:spPr>
            <a:xfrm>
              <a:off x="11865389" y="2831415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1" name="Freeform: Shape 160">
              <a:extLst>
                <a:ext uri="{FF2B5EF4-FFF2-40B4-BE49-F238E27FC236}">
                  <a16:creationId xmlns:a16="http://schemas.microsoft.com/office/drawing/2014/main" id="{06E84C78-8086-A66E-D706-1036F7CB5254}"/>
                </a:ext>
              </a:extLst>
            </p:cNvPr>
            <p:cNvSpPr/>
            <p:nvPr/>
          </p:nvSpPr>
          <p:spPr>
            <a:xfrm>
              <a:off x="11865389" y="2831415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  <a:close/>
                </a:path>
              </a:pathLst>
            </a:custGeom>
            <a:noFill/>
            <a:ln w="3810" cap="rnd">
              <a:solidFill>
                <a:srgbClr val="0095D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302A177-CF90-C643-FC1D-0CED8B8DE7B0}"/>
              </a:ext>
            </a:extLst>
          </p:cNvPr>
          <p:cNvGrpSpPr/>
          <p:nvPr/>
        </p:nvGrpSpPr>
        <p:grpSpPr>
          <a:xfrm flipH="1">
            <a:off x="4115968" y="5018247"/>
            <a:ext cx="1312100" cy="1285291"/>
            <a:chOff x="11865389" y="3396118"/>
            <a:chExt cx="852427" cy="835009"/>
          </a:xfrm>
        </p:grpSpPr>
        <p:sp>
          <p:nvSpPr>
            <p:cNvPr id="33" name="Freeform: Shape 162">
              <a:extLst>
                <a:ext uri="{FF2B5EF4-FFF2-40B4-BE49-F238E27FC236}">
                  <a16:creationId xmlns:a16="http://schemas.microsoft.com/office/drawing/2014/main" id="{A9340C15-733C-136A-0443-0E3FE941FC68}"/>
                </a:ext>
              </a:extLst>
            </p:cNvPr>
            <p:cNvSpPr/>
            <p:nvPr/>
          </p:nvSpPr>
          <p:spPr>
            <a:xfrm>
              <a:off x="11882807" y="3396118"/>
              <a:ext cx="835009" cy="835009"/>
            </a:xfrm>
            <a:custGeom>
              <a:avLst/>
              <a:gdLst>
                <a:gd name="connsiteX0" fmla="*/ 0 w 479107"/>
                <a:gd name="connsiteY0" fmla="*/ 239554 h 479107"/>
                <a:gd name="connsiteX1" fmla="*/ 239554 w 479107"/>
                <a:gd name="connsiteY1" fmla="*/ 479108 h 479107"/>
                <a:gd name="connsiteX2" fmla="*/ 479108 w 479107"/>
                <a:gd name="connsiteY2" fmla="*/ 239554 h 479107"/>
                <a:gd name="connsiteX3" fmla="*/ 239554 w 479107"/>
                <a:gd name="connsiteY3" fmla="*/ 0 h 479107"/>
                <a:gd name="connsiteX4" fmla="*/ 0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0" y="239554"/>
                  </a:moveTo>
                  <a:cubicBezTo>
                    <a:pt x="0" y="371856"/>
                    <a:pt x="107251" y="479108"/>
                    <a:pt x="239554" y="479108"/>
                  </a:cubicBezTo>
                  <a:cubicBezTo>
                    <a:pt x="371856" y="479108"/>
                    <a:pt x="479108" y="371856"/>
                    <a:pt x="479108" y="239554"/>
                  </a:cubicBezTo>
                  <a:cubicBezTo>
                    <a:pt x="479108" y="107251"/>
                    <a:pt x="371856" y="0"/>
                    <a:pt x="239554" y="0"/>
                  </a:cubicBezTo>
                  <a:cubicBezTo>
                    <a:pt x="107251" y="0"/>
                    <a:pt x="0" y="107251"/>
                    <a:pt x="0" y="239554"/>
                  </a:cubicBezTo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4" name="Freeform: Shape 163">
              <a:extLst>
                <a:ext uri="{FF2B5EF4-FFF2-40B4-BE49-F238E27FC236}">
                  <a16:creationId xmlns:a16="http://schemas.microsoft.com/office/drawing/2014/main" id="{C5A1E1B0-6282-7A25-3064-FA47F5780880}"/>
                </a:ext>
              </a:extLst>
            </p:cNvPr>
            <p:cNvSpPr/>
            <p:nvPr/>
          </p:nvSpPr>
          <p:spPr>
            <a:xfrm>
              <a:off x="11965654" y="3478964"/>
              <a:ext cx="669317" cy="669316"/>
            </a:xfrm>
            <a:custGeom>
              <a:avLst/>
              <a:gdLst>
                <a:gd name="connsiteX0" fmla="*/ 479108 w 479107"/>
                <a:gd name="connsiteY0" fmla="*/ 239554 h 479107"/>
                <a:gd name="connsiteX1" fmla="*/ 239554 w 479107"/>
                <a:gd name="connsiteY1" fmla="*/ 479108 h 479107"/>
                <a:gd name="connsiteX2" fmla="*/ 0 w 479107"/>
                <a:gd name="connsiteY2" fmla="*/ 239554 h 479107"/>
                <a:gd name="connsiteX3" fmla="*/ 239554 w 479107"/>
                <a:gd name="connsiteY3" fmla="*/ 0 h 479107"/>
                <a:gd name="connsiteX4" fmla="*/ 479108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479108" y="239554"/>
                  </a:moveTo>
                  <a:cubicBezTo>
                    <a:pt x="479108" y="371856"/>
                    <a:pt x="371856" y="479108"/>
                    <a:pt x="239554" y="479108"/>
                  </a:cubicBezTo>
                  <a:cubicBezTo>
                    <a:pt x="107251" y="479108"/>
                    <a:pt x="0" y="371856"/>
                    <a:pt x="0" y="239554"/>
                  </a:cubicBezTo>
                  <a:cubicBezTo>
                    <a:pt x="0" y="107251"/>
                    <a:pt x="107251" y="0"/>
                    <a:pt x="239554" y="0"/>
                  </a:cubicBezTo>
                  <a:cubicBezTo>
                    <a:pt x="371856" y="0"/>
                    <a:pt x="479108" y="107251"/>
                    <a:pt x="479108" y="239554"/>
                  </a:cubicBezTo>
                  <a:close/>
                </a:path>
              </a:pathLst>
            </a:custGeom>
            <a:solidFill>
              <a:srgbClr val="FCB414"/>
            </a:solidFill>
            <a:ln w="762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5" name="Freeform: Shape 164">
              <a:extLst>
                <a:ext uri="{FF2B5EF4-FFF2-40B4-BE49-F238E27FC236}">
                  <a16:creationId xmlns:a16="http://schemas.microsoft.com/office/drawing/2014/main" id="{27736FEF-7817-91C3-9EC4-A923B91A7CC1}"/>
                </a:ext>
              </a:extLst>
            </p:cNvPr>
            <p:cNvSpPr/>
            <p:nvPr/>
          </p:nvSpPr>
          <p:spPr>
            <a:xfrm>
              <a:off x="11916301" y="3409120"/>
              <a:ext cx="789474" cy="810222"/>
            </a:xfrm>
            <a:custGeom>
              <a:avLst/>
              <a:gdLst>
                <a:gd name="connsiteX0" fmla="*/ 420838 w 452980"/>
                <a:gd name="connsiteY0" fmla="*/ 350204 h 464885"/>
                <a:gd name="connsiteX1" fmla="*/ 450937 w 452980"/>
                <a:gd name="connsiteY1" fmla="*/ 263050 h 464885"/>
                <a:gd name="connsiteX2" fmla="*/ 445507 w 452980"/>
                <a:gd name="connsiteY2" fmla="*/ 174182 h 464885"/>
                <a:gd name="connsiteX3" fmla="*/ 407122 w 452980"/>
                <a:gd name="connsiteY3" fmla="*/ 93791 h 464885"/>
                <a:gd name="connsiteX4" fmla="*/ 338446 w 452980"/>
                <a:gd name="connsiteY4" fmla="*/ 32164 h 464885"/>
                <a:gd name="connsiteX5" fmla="*/ 167473 w 452980"/>
                <a:gd name="connsiteY5" fmla="*/ 6256 h 464885"/>
                <a:gd name="connsiteX6" fmla="*/ 166044 w 452980"/>
                <a:gd name="connsiteY6" fmla="*/ 8637 h 464885"/>
                <a:gd name="connsiteX7" fmla="*/ 168425 w 452980"/>
                <a:gd name="connsiteY7" fmla="*/ 10066 h 464885"/>
                <a:gd name="connsiteX8" fmla="*/ 336541 w 452980"/>
                <a:gd name="connsiteY8" fmla="*/ 35593 h 464885"/>
                <a:gd name="connsiteX9" fmla="*/ 441793 w 452980"/>
                <a:gd name="connsiteY9" fmla="*/ 175134 h 464885"/>
                <a:gd name="connsiteX10" fmla="*/ 417599 w 452980"/>
                <a:gd name="connsiteY10" fmla="*/ 348204 h 464885"/>
                <a:gd name="connsiteX11" fmla="*/ 278058 w 452980"/>
                <a:gd name="connsiteY11" fmla="*/ 453455 h 464885"/>
                <a:gd name="connsiteX12" fmla="*/ 104989 w 452980"/>
                <a:gd name="connsiteY12" fmla="*/ 429261 h 464885"/>
                <a:gd name="connsiteX13" fmla="*/ 3833 w 452980"/>
                <a:gd name="connsiteY13" fmla="*/ 304293 h 464885"/>
                <a:gd name="connsiteX14" fmla="*/ 1357 w 452980"/>
                <a:gd name="connsiteY14" fmla="*/ 303055 h 464885"/>
                <a:gd name="connsiteX15" fmla="*/ 118 w 452980"/>
                <a:gd name="connsiteY15" fmla="*/ 305532 h 464885"/>
                <a:gd name="connsiteX16" fmla="*/ 38599 w 452980"/>
                <a:gd name="connsiteY16" fmla="*/ 377445 h 464885"/>
                <a:gd name="connsiteX17" fmla="*/ 102988 w 452980"/>
                <a:gd name="connsiteY17" fmla="*/ 432786 h 464885"/>
                <a:gd name="connsiteX18" fmla="*/ 190142 w 452980"/>
                <a:gd name="connsiteY18" fmla="*/ 462885 h 464885"/>
                <a:gd name="connsiteX19" fmla="*/ 279010 w 452980"/>
                <a:gd name="connsiteY19" fmla="*/ 457455 h 464885"/>
                <a:gd name="connsiteX20" fmla="*/ 359401 w 452980"/>
                <a:gd name="connsiteY20" fmla="*/ 419070 h 464885"/>
                <a:gd name="connsiteX21" fmla="*/ 421028 w 452980"/>
                <a:gd name="connsiteY21" fmla="*/ 350394 h 46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980" h="464885">
                  <a:moveTo>
                    <a:pt x="420838" y="350204"/>
                  </a:moveTo>
                  <a:cubicBezTo>
                    <a:pt x="436744" y="323153"/>
                    <a:pt x="446841" y="293816"/>
                    <a:pt x="450937" y="263050"/>
                  </a:cubicBezTo>
                  <a:cubicBezTo>
                    <a:pt x="454937" y="233237"/>
                    <a:pt x="453032" y="203328"/>
                    <a:pt x="445507" y="174182"/>
                  </a:cubicBezTo>
                  <a:cubicBezTo>
                    <a:pt x="437983" y="144940"/>
                    <a:pt x="425029" y="117984"/>
                    <a:pt x="407122" y="93791"/>
                  </a:cubicBezTo>
                  <a:cubicBezTo>
                    <a:pt x="388548" y="68835"/>
                    <a:pt x="365497" y="48071"/>
                    <a:pt x="338446" y="32164"/>
                  </a:cubicBezTo>
                  <a:cubicBezTo>
                    <a:pt x="286630" y="1684"/>
                    <a:pt x="225956" y="-7555"/>
                    <a:pt x="167473" y="6256"/>
                  </a:cubicBezTo>
                  <a:cubicBezTo>
                    <a:pt x="166425" y="6542"/>
                    <a:pt x="165758" y="7590"/>
                    <a:pt x="166044" y="8637"/>
                  </a:cubicBezTo>
                  <a:cubicBezTo>
                    <a:pt x="166330" y="9685"/>
                    <a:pt x="167377" y="10352"/>
                    <a:pt x="168425" y="10066"/>
                  </a:cubicBezTo>
                  <a:cubicBezTo>
                    <a:pt x="225956" y="-3459"/>
                    <a:pt x="285583" y="5589"/>
                    <a:pt x="336541" y="35593"/>
                  </a:cubicBezTo>
                  <a:cubicBezTo>
                    <a:pt x="389119" y="66549"/>
                    <a:pt x="426457" y="116079"/>
                    <a:pt x="441793" y="175134"/>
                  </a:cubicBezTo>
                  <a:cubicBezTo>
                    <a:pt x="457128" y="234189"/>
                    <a:pt x="448460" y="295626"/>
                    <a:pt x="417599" y="348204"/>
                  </a:cubicBezTo>
                  <a:cubicBezTo>
                    <a:pt x="386643" y="400782"/>
                    <a:pt x="337113" y="438215"/>
                    <a:pt x="278058" y="453455"/>
                  </a:cubicBezTo>
                  <a:cubicBezTo>
                    <a:pt x="219003" y="468790"/>
                    <a:pt x="157567" y="460122"/>
                    <a:pt x="104989" y="429261"/>
                  </a:cubicBezTo>
                  <a:cubicBezTo>
                    <a:pt x="55744" y="400305"/>
                    <a:pt x="20788" y="357062"/>
                    <a:pt x="3833" y="304293"/>
                  </a:cubicBezTo>
                  <a:cubicBezTo>
                    <a:pt x="3452" y="303246"/>
                    <a:pt x="2404" y="302674"/>
                    <a:pt x="1357" y="303055"/>
                  </a:cubicBezTo>
                  <a:cubicBezTo>
                    <a:pt x="309" y="303436"/>
                    <a:pt x="-263" y="304484"/>
                    <a:pt x="118" y="305532"/>
                  </a:cubicBezTo>
                  <a:cubicBezTo>
                    <a:pt x="8500" y="331821"/>
                    <a:pt x="21550" y="356014"/>
                    <a:pt x="38599" y="377445"/>
                  </a:cubicBezTo>
                  <a:cubicBezTo>
                    <a:pt x="56125" y="399353"/>
                    <a:pt x="77747" y="417927"/>
                    <a:pt x="102988" y="432786"/>
                  </a:cubicBezTo>
                  <a:cubicBezTo>
                    <a:pt x="130039" y="448692"/>
                    <a:pt x="159376" y="458789"/>
                    <a:pt x="190142" y="462885"/>
                  </a:cubicBezTo>
                  <a:cubicBezTo>
                    <a:pt x="219955" y="466790"/>
                    <a:pt x="249864" y="464980"/>
                    <a:pt x="279010" y="457455"/>
                  </a:cubicBezTo>
                  <a:cubicBezTo>
                    <a:pt x="308252" y="449931"/>
                    <a:pt x="335208" y="436977"/>
                    <a:pt x="359401" y="419070"/>
                  </a:cubicBezTo>
                  <a:cubicBezTo>
                    <a:pt x="384357" y="400496"/>
                    <a:pt x="405121" y="377445"/>
                    <a:pt x="421028" y="350394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6" name="Freeform: Shape 165">
              <a:extLst>
                <a:ext uri="{FF2B5EF4-FFF2-40B4-BE49-F238E27FC236}">
                  <a16:creationId xmlns:a16="http://schemas.microsoft.com/office/drawing/2014/main" id="{649AEE84-6C81-C6C6-3E96-0419149559A0}"/>
                </a:ext>
              </a:extLst>
            </p:cNvPr>
            <p:cNvSpPr/>
            <p:nvPr/>
          </p:nvSpPr>
          <p:spPr>
            <a:xfrm>
              <a:off x="11892276" y="3445503"/>
              <a:ext cx="250133" cy="385894"/>
            </a:xfrm>
            <a:custGeom>
              <a:avLst/>
              <a:gdLst>
                <a:gd name="connsiteX0" fmla="*/ 46002 w 143520"/>
                <a:gd name="connsiteY0" fmla="*/ 81583 h 221416"/>
                <a:gd name="connsiteX1" fmla="*/ 45431 w 143520"/>
                <a:gd name="connsiteY1" fmla="*/ 79011 h 221416"/>
                <a:gd name="connsiteX2" fmla="*/ 42669 w 143520"/>
                <a:gd name="connsiteY2" fmla="*/ 79488 h 221416"/>
                <a:gd name="connsiteX3" fmla="*/ 32191 w 143520"/>
                <a:gd name="connsiteY3" fmla="*/ 95775 h 221416"/>
                <a:gd name="connsiteX4" fmla="*/ 31239 w 143520"/>
                <a:gd name="connsiteY4" fmla="*/ 97395 h 221416"/>
                <a:gd name="connsiteX5" fmla="*/ 32001 w 143520"/>
                <a:gd name="connsiteY5" fmla="*/ 100062 h 221416"/>
                <a:gd name="connsiteX6" fmla="*/ 34668 w 143520"/>
                <a:gd name="connsiteY6" fmla="*/ 99395 h 221416"/>
                <a:gd name="connsiteX7" fmla="*/ 34668 w 143520"/>
                <a:gd name="connsiteY7" fmla="*/ 99395 h 221416"/>
                <a:gd name="connsiteX8" fmla="*/ 35620 w 143520"/>
                <a:gd name="connsiteY8" fmla="*/ 97776 h 221416"/>
                <a:gd name="connsiteX9" fmla="*/ 45907 w 143520"/>
                <a:gd name="connsiteY9" fmla="*/ 81774 h 221416"/>
                <a:gd name="connsiteX10" fmla="*/ 45907 w 143520"/>
                <a:gd name="connsiteY10" fmla="*/ 81678 h 221416"/>
                <a:gd name="connsiteX11" fmla="*/ 16856 w 143520"/>
                <a:gd name="connsiteY11" fmla="*/ 137685 h 221416"/>
                <a:gd name="connsiteX12" fmla="*/ 17046 w 143520"/>
                <a:gd name="connsiteY12" fmla="*/ 137304 h 221416"/>
                <a:gd name="connsiteX13" fmla="*/ 24952 w 143520"/>
                <a:gd name="connsiteY13" fmla="*/ 117969 h 221416"/>
                <a:gd name="connsiteX14" fmla="*/ 24000 w 143520"/>
                <a:gd name="connsiteY14" fmla="*/ 115302 h 221416"/>
                <a:gd name="connsiteX15" fmla="*/ 21428 w 143520"/>
                <a:gd name="connsiteY15" fmla="*/ 116254 h 221416"/>
                <a:gd name="connsiteX16" fmla="*/ 13332 w 143520"/>
                <a:gd name="connsiteY16" fmla="*/ 135971 h 221416"/>
                <a:gd name="connsiteX17" fmla="*/ 14570 w 143520"/>
                <a:gd name="connsiteY17" fmla="*/ 138447 h 221416"/>
                <a:gd name="connsiteX18" fmla="*/ 16951 w 143520"/>
                <a:gd name="connsiteY18" fmla="*/ 137590 h 221416"/>
                <a:gd name="connsiteX19" fmla="*/ 73434 w 143520"/>
                <a:gd name="connsiteY19" fmla="*/ 49579 h 221416"/>
                <a:gd name="connsiteX20" fmla="*/ 73149 w 143520"/>
                <a:gd name="connsiteY20" fmla="*/ 47198 h 221416"/>
                <a:gd name="connsiteX21" fmla="*/ 70386 w 143520"/>
                <a:gd name="connsiteY21" fmla="*/ 47198 h 221416"/>
                <a:gd name="connsiteX22" fmla="*/ 55813 w 143520"/>
                <a:gd name="connsiteY22" fmla="*/ 62724 h 221416"/>
                <a:gd name="connsiteX23" fmla="*/ 56004 w 143520"/>
                <a:gd name="connsiteY23" fmla="*/ 65486 h 221416"/>
                <a:gd name="connsiteX24" fmla="*/ 58766 w 143520"/>
                <a:gd name="connsiteY24" fmla="*/ 65295 h 221416"/>
                <a:gd name="connsiteX25" fmla="*/ 73053 w 143520"/>
                <a:gd name="connsiteY25" fmla="*/ 50055 h 221416"/>
                <a:gd name="connsiteX26" fmla="*/ 73339 w 143520"/>
                <a:gd name="connsiteY26" fmla="*/ 49674 h 221416"/>
                <a:gd name="connsiteX27" fmla="*/ 6474 w 143520"/>
                <a:gd name="connsiteY27" fmla="*/ 178548 h 221416"/>
                <a:gd name="connsiteX28" fmla="*/ 6759 w 143520"/>
                <a:gd name="connsiteY28" fmla="*/ 177881 h 221416"/>
                <a:gd name="connsiteX29" fmla="*/ 11046 w 143520"/>
                <a:gd name="connsiteY29" fmla="*/ 157402 h 221416"/>
                <a:gd name="connsiteX30" fmla="*/ 9617 w 143520"/>
                <a:gd name="connsiteY30" fmla="*/ 155021 h 221416"/>
                <a:gd name="connsiteX31" fmla="*/ 7236 w 143520"/>
                <a:gd name="connsiteY31" fmla="*/ 156450 h 221416"/>
                <a:gd name="connsiteX32" fmla="*/ 2949 w 143520"/>
                <a:gd name="connsiteY32" fmla="*/ 177309 h 221416"/>
                <a:gd name="connsiteX33" fmla="*/ 4569 w 143520"/>
                <a:gd name="connsiteY33" fmla="*/ 179595 h 221416"/>
                <a:gd name="connsiteX34" fmla="*/ 6569 w 143520"/>
                <a:gd name="connsiteY34" fmla="*/ 178643 h 221416"/>
                <a:gd name="connsiteX35" fmla="*/ 106105 w 143520"/>
                <a:gd name="connsiteY35" fmla="*/ 23100 h 221416"/>
                <a:gd name="connsiteX36" fmla="*/ 106105 w 143520"/>
                <a:gd name="connsiteY36" fmla="*/ 21004 h 221416"/>
                <a:gd name="connsiteX37" fmla="*/ 103343 w 143520"/>
                <a:gd name="connsiteY37" fmla="*/ 20433 h 221416"/>
                <a:gd name="connsiteX38" fmla="*/ 86198 w 143520"/>
                <a:gd name="connsiteY38" fmla="*/ 33006 h 221416"/>
                <a:gd name="connsiteX39" fmla="*/ 85912 w 143520"/>
                <a:gd name="connsiteY39" fmla="*/ 35768 h 221416"/>
                <a:gd name="connsiteX40" fmla="*/ 88674 w 143520"/>
                <a:gd name="connsiteY40" fmla="*/ 36054 h 221416"/>
                <a:gd name="connsiteX41" fmla="*/ 105534 w 143520"/>
                <a:gd name="connsiteY41" fmla="*/ 23671 h 221416"/>
                <a:gd name="connsiteX42" fmla="*/ 106105 w 143520"/>
                <a:gd name="connsiteY42" fmla="*/ 23004 h 221416"/>
                <a:gd name="connsiteX43" fmla="*/ 3711 w 143520"/>
                <a:gd name="connsiteY43" fmla="*/ 220458 h 221416"/>
                <a:gd name="connsiteX44" fmla="*/ 3997 w 143520"/>
                <a:gd name="connsiteY44" fmla="*/ 219410 h 221416"/>
                <a:gd name="connsiteX45" fmla="*/ 4378 w 143520"/>
                <a:gd name="connsiteY45" fmla="*/ 198550 h 221416"/>
                <a:gd name="connsiteX46" fmla="*/ 2568 w 143520"/>
                <a:gd name="connsiteY46" fmla="*/ 196455 h 221416"/>
                <a:gd name="connsiteX47" fmla="*/ 473 w 143520"/>
                <a:gd name="connsiteY47" fmla="*/ 198264 h 221416"/>
                <a:gd name="connsiteX48" fmla="*/ 92 w 143520"/>
                <a:gd name="connsiteY48" fmla="*/ 219505 h 221416"/>
                <a:gd name="connsiteX49" fmla="*/ 2092 w 143520"/>
                <a:gd name="connsiteY49" fmla="*/ 221410 h 221416"/>
                <a:gd name="connsiteX50" fmla="*/ 3711 w 143520"/>
                <a:gd name="connsiteY50" fmla="*/ 220458 h 221416"/>
                <a:gd name="connsiteX51" fmla="*/ 143253 w 143520"/>
                <a:gd name="connsiteY51" fmla="*/ 3002 h 221416"/>
                <a:gd name="connsiteX52" fmla="*/ 143348 w 143520"/>
                <a:gd name="connsiteY52" fmla="*/ 1192 h 221416"/>
                <a:gd name="connsiteX53" fmla="*/ 140776 w 143520"/>
                <a:gd name="connsiteY53" fmla="*/ 144 h 221416"/>
                <a:gd name="connsiteX54" fmla="*/ 121631 w 143520"/>
                <a:gd name="connsiteY54" fmla="*/ 9384 h 221416"/>
                <a:gd name="connsiteX55" fmla="*/ 120869 w 143520"/>
                <a:gd name="connsiteY55" fmla="*/ 12051 h 221416"/>
                <a:gd name="connsiteX56" fmla="*/ 123536 w 143520"/>
                <a:gd name="connsiteY56" fmla="*/ 12813 h 221416"/>
                <a:gd name="connsiteX57" fmla="*/ 142396 w 143520"/>
                <a:gd name="connsiteY57" fmla="*/ 3669 h 221416"/>
                <a:gd name="connsiteX58" fmla="*/ 143348 w 143520"/>
                <a:gd name="connsiteY58" fmla="*/ 2811 h 221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43520" h="221416">
                  <a:moveTo>
                    <a:pt x="46002" y="81583"/>
                  </a:moveTo>
                  <a:cubicBezTo>
                    <a:pt x="46574" y="80726"/>
                    <a:pt x="46288" y="79583"/>
                    <a:pt x="45431" y="79011"/>
                  </a:cubicBezTo>
                  <a:cubicBezTo>
                    <a:pt x="44574" y="78345"/>
                    <a:pt x="43335" y="78630"/>
                    <a:pt x="42669" y="79488"/>
                  </a:cubicBezTo>
                  <a:cubicBezTo>
                    <a:pt x="38954" y="84726"/>
                    <a:pt x="35430" y="90251"/>
                    <a:pt x="32191" y="95775"/>
                  </a:cubicBezTo>
                  <a:cubicBezTo>
                    <a:pt x="31905" y="96347"/>
                    <a:pt x="31524" y="96918"/>
                    <a:pt x="31239" y="97395"/>
                  </a:cubicBezTo>
                  <a:cubicBezTo>
                    <a:pt x="30667" y="98347"/>
                    <a:pt x="31048" y="99585"/>
                    <a:pt x="32001" y="100062"/>
                  </a:cubicBezTo>
                  <a:cubicBezTo>
                    <a:pt x="32953" y="100633"/>
                    <a:pt x="34191" y="100252"/>
                    <a:pt x="34668" y="99395"/>
                  </a:cubicBezTo>
                  <a:cubicBezTo>
                    <a:pt x="34668" y="99395"/>
                    <a:pt x="34668" y="99395"/>
                    <a:pt x="34668" y="99395"/>
                  </a:cubicBezTo>
                  <a:cubicBezTo>
                    <a:pt x="34953" y="98823"/>
                    <a:pt x="35334" y="98347"/>
                    <a:pt x="35620" y="97776"/>
                  </a:cubicBezTo>
                  <a:cubicBezTo>
                    <a:pt x="38859" y="92346"/>
                    <a:pt x="42288" y="86917"/>
                    <a:pt x="45907" y="81774"/>
                  </a:cubicBezTo>
                  <a:cubicBezTo>
                    <a:pt x="45907" y="81774"/>
                    <a:pt x="45907" y="81774"/>
                    <a:pt x="45907" y="81678"/>
                  </a:cubicBezTo>
                  <a:moveTo>
                    <a:pt x="16856" y="137685"/>
                  </a:moveTo>
                  <a:cubicBezTo>
                    <a:pt x="16856" y="137685"/>
                    <a:pt x="16951" y="137495"/>
                    <a:pt x="17046" y="137304"/>
                  </a:cubicBezTo>
                  <a:cubicBezTo>
                    <a:pt x="19332" y="130827"/>
                    <a:pt x="21999" y="124255"/>
                    <a:pt x="24952" y="117969"/>
                  </a:cubicBezTo>
                  <a:cubicBezTo>
                    <a:pt x="25428" y="117016"/>
                    <a:pt x="24952" y="115778"/>
                    <a:pt x="24000" y="115302"/>
                  </a:cubicBezTo>
                  <a:cubicBezTo>
                    <a:pt x="23047" y="114825"/>
                    <a:pt x="21809" y="115302"/>
                    <a:pt x="21428" y="116254"/>
                  </a:cubicBezTo>
                  <a:cubicBezTo>
                    <a:pt x="18475" y="122636"/>
                    <a:pt x="15713" y="129303"/>
                    <a:pt x="13332" y="135971"/>
                  </a:cubicBezTo>
                  <a:cubicBezTo>
                    <a:pt x="12951" y="137019"/>
                    <a:pt x="13522" y="138162"/>
                    <a:pt x="14570" y="138447"/>
                  </a:cubicBezTo>
                  <a:cubicBezTo>
                    <a:pt x="15522" y="138733"/>
                    <a:pt x="16475" y="138447"/>
                    <a:pt x="16951" y="137590"/>
                  </a:cubicBezTo>
                  <a:moveTo>
                    <a:pt x="73434" y="49579"/>
                  </a:moveTo>
                  <a:cubicBezTo>
                    <a:pt x="73911" y="48817"/>
                    <a:pt x="73815" y="47865"/>
                    <a:pt x="73149" y="47198"/>
                  </a:cubicBezTo>
                  <a:cubicBezTo>
                    <a:pt x="72387" y="46436"/>
                    <a:pt x="71148" y="46341"/>
                    <a:pt x="70386" y="47198"/>
                  </a:cubicBezTo>
                  <a:cubicBezTo>
                    <a:pt x="65338" y="52151"/>
                    <a:pt x="60480" y="57390"/>
                    <a:pt x="55813" y="62724"/>
                  </a:cubicBezTo>
                  <a:cubicBezTo>
                    <a:pt x="55146" y="63581"/>
                    <a:pt x="55242" y="64819"/>
                    <a:pt x="56004" y="65486"/>
                  </a:cubicBezTo>
                  <a:cubicBezTo>
                    <a:pt x="56861" y="66153"/>
                    <a:pt x="58099" y="66057"/>
                    <a:pt x="58766" y="65295"/>
                  </a:cubicBezTo>
                  <a:cubicBezTo>
                    <a:pt x="63243" y="59961"/>
                    <a:pt x="68100" y="54913"/>
                    <a:pt x="73053" y="50055"/>
                  </a:cubicBezTo>
                  <a:cubicBezTo>
                    <a:pt x="73149" y="49960"/>
                    <a:pt x="73339" y="49770"/>
                    <a:pt x="73339" y="49674"/>
                  </a:cubicBezTo>
                  <a:moveTo>
                    <a:pt x="6474" y="178548"/>
                  </a:moveTo>
                  <a:cubicBezTo>
                    <a:pt x="6474" y="178548"/>
                    <a:pt x="6664" y="178071"/>
                    <a:pt x="6759" y="177881"/>
                  </a:cubicBezTo>
                  <a:cubicBezTo>
                    <a:pt x="7902" y="171023"/>
                    <a:pt x="9236" y="164165"/>
                    <a:pt x="11046" y="157402"/>
                  </a:cubicBezTo>
                  <a:cubicBezTo>
                    <a:pt x="11331" y="156354"/>
                    <a:pt x="10665" y="155307"/>
                    <a:pt x="9617" y="155021"/>
                  </a:cubicBezTo>
                  <a:cubicBezTo>
                    <a:pt x="8569" y="154735"/>
                    <a:pt x="7521" y="155402"/>
                    <a:pt x="7236" y="156450"/>
                  </a:cubicBezTo>
                  <a:cubicBezTo>
                    <a:pt x="5521" y="163308"/>
                    <a:pt x="3997" y="170261"/>
                    <a:pt x="2949" y="177309"/>
                  </a:cubicBezTo>
                  <a:cubicBezTo>
                    <a:pt x="2759" y="178357"/>
                    <a:pt x="3521" y="179405"/>
                    <a:pt x="4569" y="179595"/>
                  </a:cubicBezTo>
                  <a:cubicBezTo>
                    <a:pt x="5426" y="179691"/>
                    <a:pt x="6188" y="179310"/>
                    <a:pt x="6569" y="178643"/>
                  </a:cubicBezTo>
                  <a:moveTo>
                    <a:pt x="106105" y="23100"/>
                  </a:moveTo>
                  <a:cubicBezTo>
                    <a:pt x="106486" y="22433"/>
                    <a:pt x="106486" y="21671"/>
                    <a:pt x="106105" y="21004"/>
                  </a:cubicBezTo>
                  <a:cubicBezTo>
                    <a:pt x="105534" y="20052"/>
                    <a:pt x="104295" y="19861"/>
                    <a:pt x="103343" y="20433"/>
                  </a:cubicBezTo>
                  <a:cubicBezTo>
                    <a:pt x="97437" y="24338"/>
                    <a:pt x="91722" y="28624"/>
                    <a:pt x="86198" y="33006"/>
                  </a:cubicBezTo>
                  <a:cubicBezTo>
                    <a:pt x="85341" y="33672"/>
                    <a:pt x="85245" y="34911"/>
                    <a:pt x="85912" y="35768"/>
                  </a:cubicBezTo>
                  <a:cubicBezTo>
                    <a:pt x="86579" y="36625"/>
                    <a:pt x="87817" y="36720"/>
                    <a:pt x="88674" y="36054"/>
                  </a:cubicBezTo>
                  <a:cubicBezTo>
                    <a:pt x="94104" y="31672"/>
                    <a:pt x="99723" y="27576"/>
                    <a:pt x="105534" y="23671"/>
                  </a:cubicBezTo>
                  <a:cubicBezTo>
                    <a:pt x="105819" y="23481"/>
                    <a:pt x="106010" y="23290"/>
                    <a:pt x="106105" y="23004"/>
                  </a:cubicBezTo>
                  <a:moveTo>
                    <a:pt x="3711" y="220458"/>
                  </a:moveTo>
                  <a:cubicBezTo>
                    <a:pt x="3711" y="220458"/>
                    <a:pt x="3997" y="219791"/>
                    <a:pt x="3997" y="219410"/>
                  </a:cubicBezTo>
                  <a:cubicBezTo>
                    <a:pt x="3807" y="212457"/>
                    <a:pt x="3997" y="205408"/>
                    <a:pt x="4378" y="198550"/>
                  </a:cubicBezTo>
                  <a:cubicBezTo>
                    <a:pt x="4378" y="197407"/>
                    <a:pt x="3616" y="196550"/>
                    <a:pt x="2568" y="196455"/>
                  </a:cubicBezTo>
                  <a:cubicBezTo>
                    <a:pt x="1521" y="196455"/>
                    <a:pt x="568" y="197217"/>
                    <a:pt x="473" y="198264"/>
                  </a:cubicBezTo>
                  <a:cubicBezTo>
                    <a:pt x="-3" y="205313"/>
                    <a:pt x="-99" y="212457"/>
                    <a:pt x="92" y="219505"/>
                  </a:cubicBezTo>
                  <a:cubicBezTo>
                    <a:pt x="92" y="220553"/>
                    <a:pt x="1044" y="221505"/>
                    <a:pt x="2092" y="221410"/>
                  </a:cubicBezTo>
                  <a:cubicBezTo>
                    <a:pt x="2759" y="221410"/>
                    <a:pt x="3426" y="221029"/>
                    <a:pt x="3711" y="220458"/>
                  </a:cubicBezTo>
                  <a:moveTo>
                    <a:pt x="143253" y="3002"/>
                  </a:moveTo>
                  <a:cubicBezTo>
                    <a:pt x="143538" y="2526"/>
                    <a:pt x="143634" y="1859"/>
                    <a:pt x="143348" y="1192"/>
                  </a:cubicBezTo>
                  <a:cubicBezTo>
                    <a:pt x="142967" y="144"/>
                    <a:pt x="141729" y="-237"/>
                    <a:pt x="140776" y="144"/>
                  </a:cubicBezTo>
                  <a:cubicBezTo>
                    <a:pt x="134299" y="2907"/>
                    <a:pt x="127822" y="6050"/>
                    <a:pt x="121631" y="9384"/>
                  </a:cubicBezTo>
                  <a:cubicBezTo>
                    <a:pt x="120678" y="9955"/>
                    <a:pt x="120297" y="11098"/>
                    <a:pt x="120869" y="12051"/>
                  </a:cubicBezTo>
                  <a:cubicBezTo>
                    <a:pt x="121345" y="13003"/>
                    <a:pt x="122583" y="13384"/>
                    <a:pt x="123536" y="12813"/>
                  </a:cubicBezTo>
                  <a:cubicBezTo>
                    <a:pt x="129632" y="9479"/>
                    <a:pt x="136014" y="6431"/>
                    <a:pt x="142396" y="3669"/>
                  </a:cubicBezTo>
                  <a:cubicBezTo>
                    <a:pt x="142776" y="3478"/>
                    <a:pt x="143062" y="3192"/>
                    <a:pt x="143348" y="2811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7" name="Freeform: Shape 166">
              <a:extLst>
                <a:ext uri="{FF2B5EF4-FFF2-40B4-BE49-F238E27FC236}">
                  <a16:creationId xmlns:a16="http://schemas.microsoft.com/office/drawing/2014/main" id="{CC9F27CC-6FFF-F831-AC4A-1F36699C0A2C}"/>
                </a:ext>
              </a:extLst>
            </p:cNvPr>
            <p:cNvSpPr/>
            <p:nvPr/>
          </p:nvSpPr>
          <p:spPr>
            <a:xfrm>
              <a:off x="11865389" y="3862773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8" name="Freeform: Shape 167">
              <a:extLst>
                <a:ext uri="{FF2B5EF4-FFF2-40B4-BE49-F238E27FC236}">
                  <a16:creationId xmlns:a16="http://schemas.microsoft.com/office/drawing/2014/main" id="{784EF41C-BEC5-8FD1-D983-42600A0CFE5B}"/>
                </a:ext>
              </a:extLst>
            </p:cNvPr>
            <p:cNvSpPr/>
            <p:nvPr/>
          </p:nvSpPr>
          <p:spPr>
            <a:xfrm>
              <a:off x="11865389" y="3862773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  <a:close/>
                </a:path>
              </a:pathLst>
            </a:custGeom>
            <a:noFill/>
            <a:ln w="3810" cap="rnd">
              <a:solidFill>
                <a:srgbClr val="0095D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13CF958-381B-1E4C-1B78-C82709CF0F19}"/>
              </a:ext>
            </a:extLst>
          </p:cNvPr>
          <p:cNvGrpSpPr/>
          <p:nvPr/>
        </p:nvGrpSpPr>
        <p:grpSpPr>
          <a:xfrm flipH="1">
            <a:off x="6750750" y="4717251"/>
            <a:ext cx="1312100" cy="1285291"/>
            <a:chOff x="11865389" y="4457884"/>
            <a:chExt cx="852427" cy="835009"/>
          </a:xfrm>
        </p:grpSpPr>
        <p:sp>
          <p:nvSpPr>
            <p:cNvPr id="40" name="Freeform: Shape 169">
              <a:extLst>
                <a:ext uri="{FF2B5EF4-FFF2-40B4-BE49-F238E27FC236}">
                  <a16:creationId xmlns:a16="http://schemas.microsoft.com/office/drawing/2014/main" id="{E109BB9E-F3D0-2662-1C72-F1836236DAAE}"/>
                </a:ext>
              </a:extLst>
            </p:cNvPr>
            <p:cNvSpPr/>
            <p:nvPr/>
          </p:nvSpPr>
          <p:spPr>
            <a:xfrm>
              <a:off x="11882807" y="4457884"/>
              <a:ext cx="835009" cy="835009"/>
            </a:xfrm>
            <a:custGeom>
              <a:avLst/>
              <a:gdLst>
                <a:gd name="connsiteX0" fmla="*/ 0 w 479107"/>
                <a:gd name="connsiteY0" fmla="*/ 239554 h 479107"/>
                <a:gd name="connsiteX1" fmla="*/ 239554 w 479107"/>
                <a:gd name="connsiteY1" fmla="*/ 479108 h 479107"/>
                <a:gd name="connsiteX2" fmla="*/ 479108 w 479107"/>
                <a:gd name="connsiteY2" fmla="*/ 239554 h 479107"/>
                <a:gd name="connsiteX3" fmla="*/ 239554 w 479107"/>
                <a:gd name="connsiteY3" fmla="*/ 0 h 479107"/>
                <a:gd name="connsiteX4" fmla="*/ 0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0" y="239554"/>
                  </a:moveTo>
                  <a:cubicBezTo>
                    <a:pt x="0" y="371856"/>
                    <a:pt x="107251" y="479108"/>
                    <a:pt x="239554" y="479108"/>
                  </a:cubicBezTo>
                  <a:cubicBezTo>
                    <a:pt x="371856" y="479108"/>
                    <a:pt x="479108" y="371856"/>
                    <a:pt x="479108" y="239554"/>
                  </a:cubicBezTo>
                  <a:cubicBezTo>
                    <a:pt x="479108" y="107251"/>
                    <a:pt x="371856" y="0"/>
                    <a:pt x="239554" y="0"/>
                  </a:cubicBezTo>
                  <a:cubicBezTo>
                    <a:pt x="107251" y="0"/>
                    <a:pt x="0" y="107251"/>
                    <a:pt x="0" y="239554"/>
                  </a:cubicBezTo>
                </a:path>
              </a:pathLst>
            </a:custGeom>
            <a:no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41" name="Freeform: Shape 170">
              <a:extLst>
                <a:ext uri="{FF2B5EF4-FFF2-40B4-BE49-F238E27FC236}">
                  <a16:creationId xmlns:a16="http://schemas.microsoft.com/office/drawing/2014/main" id="{6DCD4202-0803-94BC-1BF4-F19DFE9B0B34}"/>
                </a:ext>
              </a:extLst>
            </p:cNvPr>
            <p:cNvSpPr/>
            <p:nvPr/>
          </p:nvSpPr>
          <p:spPr>
            <a:xfrm>
              <a:off x="11965654" y="4540730"/>
              <a:ext cx="669317" cy="669316"/>
            </a:xfrm>
            <a:custGeom>
              <a:avLst/>
              <a:gdLst>
                <a:gd name="connsiteX0" fmla="*/ 479108 w 479107"/>
                <a:gd name="connsiteY0" fmla="*/ 239554 h 479107"/>
                <a:gd name="connsiteX1" fmla="*/ 239554 w 479107"/>
                <a:gd name="connsiteY1" fmla="*/ 479108 h 479107"/>
                <a:gd name="connsiteX2" fmla="*/ 0 w 479107"/>
                <a:gd name="connsiteY2" fmla="*/ 239554 h 479107"/>
                <a:gd name="connsiteX3" fmla="*/ 239554 w 479107"/>
                <a:gd name="connsiteY3" fmla="*/ 0 h 479107"/>
                <a:gd name="connsiteX4" fmla="*/ 479108 w 479107"/>
                <a:gd name="connsiteY4" fmla="*/ 239554 h 479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9107" h="479107">
                  <a:moveTo>
                    <a:pt x="479108" y="239554"/>
                  </a:moveTo>
                  <a:cubicBezTo>
                    <a:pt x="479108" y="371856"/>
                    <a:pt x="371856" y="479108"/>
                    <a:pt x="239554" y="479108"/>
                  </a:cubicBezTo>
                  <a:cubicBezTo>
                    <a:pt x="107251" y="479108"/>
                    <a:pt x="0" y="371856"/>
                    <a:pt x="0" y="239554"/>
                  </a:cubicBezTo>
                  <a:cubicBezTo>
                    <a:pt x="0" y="107251"/>
                    <a:pt x="107251" y="0"/>
                    <a:pt x="239554" y="0"/>
                  </a:cubicBezTo>
                  <a:cubicBezTo>
                    <a:pt x="371856" y="0"/>
                    <a:pt x="479108" y="107251"/>
                    <a:pt x="479108" y="239554"/>
                  </a:cubicBezTo>
                  <a:close/>
                </a:path>
              </a:pathLst>
            </a:custGeom>
            <a:solidFill>
              <a:srgbClr val="B53E8A"/>
            </a:solidFill>
            <a:ln w="762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42" name="Freeform: Shape 171">
              <a:extLst>
                <a:ext uri="{FF2B5EF4-FFF2-40B4-BE49-F238E27FC236}">
                  <a16:creationId xmlns:a16="http://schemas.microsoft.com/office/drawing/2014/main" id="{878F1C1E-EC49-10F9-C1CB-0216102BCD51}"/>
                </a:ext>
              </a:extLst>
            </p:cNvPr>
            <p:cNvSpPr/>
            <p:nvPr/>
          </p:nvSpPr>
          <p:spPr>
            <a:xfrm>
              <a:off x="11916301" y="4470886"/>
              <a:ext cx="789474" cy="810222"/>
            </a:xfrm>
            <a:custGeom>
              <a:avLst/>
              <a:gdLst>
                <a:gd name="connsiteX0" fmla="*/ 420838 w 452980"/>
                <a:gd name="connsiteY0" fmla="*/ 350204 h 464885"/>
                <a:gd name="connsiteX1" fmla="*/ 450937 w 452980"/>
                <a:gd name="connsiteY1" fmla="*/ 263050 h 464885"/>
                <a:gd name="connsiteX2" fmla="*/ 445507 w 452980"/>
                <a:gd name="connsiteY2" fmla="*/ 174182 h 464885"/>
                <a:gd name="connsiteX3" fmla="*/ 407122 w 452980"/>
                <a:gd name="connsiteY3" fmla="*/ 93791 h 464885"/>
                <a:gd name="connsiteX4" fmla="*/ 338446 w 452980"/>
                <a:gd name="connsiteY4" fmla="*/ 32164 h 464885"/>
                <a:gd name="connsiteX5" fmla="*/ 167473 w 452980"/>
                <a:gd name="connsiteY5" fmla="*/ 6256 h 464885"/>
                <a:gd name="connsiteX6" fmla="*/ 166044 w 452980"/>
                <a:gd name="connsiteY6" fmla="*/ 8637 h 464885"/>
                <a:gd name="connsiteX7" fmla="*/ 168425 w 452980"/>
                <a:gd name="connsiteY7" fmla="*/ 10066 h 464885"/>
                <a:gd name="connsiteX8" fmla="*/ 336541 w 452980"/>
                <a:gd name="connsiteY8" fmla="*/ 35593 h 464885"/>
                <a:gd name="connsiteX9" fmla="*/ 441793 w 452980"/>
                <a:gd name="connsiteY9" fmla="*/ 175134 h 464885"/>
                <a:gd name="connsiteX10" fmla="*/ 417599 w 452980"/>
                <a:gd name="connsiteY10" fmla="*/ 348204 h 464885"/>
                <a:gd name="connsiteX11" fmla="*/ 278058 w 452980"/>
                <a:gd name="connsiteY11" fmla="*/ 453455 h 464885"/>
                <a:gd name="connsiteX12" fmla="*/ 104989 w 452980"/>
                <a:gd name="connsiteY12" fmla="*/ 429261 h 464885"/>
                <a:gd name="connsiteX13" fmla="*/ 3833 w 452980"/>
                <a:gd name="connsiteY13" fmla="*/ 304293 h 464885"/>
                <a:gd name="connsiteX14" fmla="*/ 1357 w 452980"/>
                <a:gd name="connsiteY14" fmla="*/ 303055 h 464885"/>
                <a:gd name="connsiteX15" fmla="*/ 118 w 452980"/>
                <a:gd name="connsiteY15" fmla="*/ 305532 h 464885"/>
                <a:gd name="connsiteX16" fmla="*/ 38599 w 452980"/>
                <a:gd name="connsiteY16" fmla="*/ 377445 h 464885"/>
                <a:gd name="connsiteX17" fmla="*/ 102988 w 452980"/>
                <a:gd name="connsiteY17" fmla="*/ 432786 h 464885"/>
                <a:gd name="connsiteX18" fmla="*/ 190142 w 452980"/>
                <a:gd name="connsiteY18" fmla="*/ 462885 h 464885"/>
                <a:gd name="connsiteX19" fmla="*/ 279010 w 452980"/>
                <a:gd name="connsiteY19" fmla="*/ 457455 h 464885"/>
                <a:gd name="connsiteX20" fmla="*/ 359401 w 452980"/>
                <a:gd name="connsiteY20" fmla="*/ 419070 h 464885"/>
                <a:gd name="connsiteX21" fmla="*/ 421028 w 452980"/>
                <a:gd name="connsiteY21" fmla="*/ 350394 h 464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52980" h="464885">
                  <a:moveTo>
                    <a:pt x="420838" y="350204"/>
                  </a:moveTo>
                  <a:cubicBezTo>
                    <a:pt x="436744" y="323153"/>
                    <a:pt x="446841" y="293816"/>
                    <a:pt x="450937" y="263050"/>
                  </a:cubicBezTo>
                  <a:cubicBezTo>
                    <a:pt x="454937" y="233237"/>
                    <a:pt x="453032" y="203328"/>
                    <a:pt x="445507" y="174182"/>
                  </a:cubicBezTo>
                  <a:cubicBezTo>
                    <a:pt x="437983" y="144940"/>
                    <a:pt x="425029" y="117984"/>
                    <a:pt x="407122" y="93791"/>
                  </a:cubicBezTo>
                  <a:cubicBezTo>
                    <a:pt x="388548" y="68835"/>
                    <a:pt x="365497" y="48071"/>
                    <a:pt x="338446" y="32164"/>
                  </a:cubicBezTo>
                  <a:cubicBezTo>
                    <a:pt x="286630" y="1684"/>
                    <a:pt x="225956" y="-7555"/>
                    <a:pt x="167473" y="6256"/>
                  </a:cubicBezTo>
                  <a:cubicBezTo>
                    <a:pt x="166425" y="6542"/>
                    <a:pt x="165758" y="7590"/>
                    <a:pt x="166044" y="8637"/>
                  </a:cubicBezTo>
                  <a:cubicBezTo>
                    <a:pt x="166330" y="9685"/>
                    <a:pt x="167377" y="10352"/>
                    <a:pt x="168425" y="10066"/>
                  </a:cubicBezTo>
                  <a:cubicBezTo>
                    <a:pt x="225956" y="-3459"/>
                    <a:pt x="285583" y="5589"/>
                    <a:pt x="336541" y="35593"/>
                  </a:cubicBezTo>
                  <a:cubicBezTo>
                    <a:pt x="389119" y="66549"/>
                    <a:pt x="426457" y="116079"/>
                    <a:pt x="441793" y="175134"/>
                  </a:cubicBezTo>
                  <a:cubicBezTo>
                    <a:pt x="457128" y="234189"/>
                    <a:pt x="448460" y="295626"/>
                    <a:pt x="417599" y="348204"/>
                  </a:cubicBezTo>
                  <a:cubicBezTo>
                    <a:pt x="386643" y="400782"/>
                    <a:pt x="337113" y="438215"/>
                    <a:pt x="278058" y="453455"/>
                  </a:cubicBezTo>
                  <a:cubicBezTo>
                    <a:pt x="219003" y="468790"/>
                    <a:pt x="157567" y="460122"/>
                    <a:pt x="104989" y="429261"/>
                  </a:cubicBezTo>
                  <a:cubicBezTo>
                    <a:pt x="55744" y="400305"/>
                    <a:pt x="20788" y="357062"/>
                    <a:pt x="3833" y="304293"/>
                  </a:cubicBezTo>
                  <a:cubicBezTo>
                    <a:pt x="3452" y="303246"/>
                    <a:pt x="2404" y="302674"/>
                    <a:pt x="1357" y="303055"/>
                  </a:cubicBezTo>
                  <a:cubicBezTo>
                    <a:pt x="309" y="303436"/>
                    <a:pt x="-263" y="304484"/>
                    <a:pt x="118" y="305532"/>
                  </a:cubicBezTo>
                  <a:cubicBezTo>
                    <a:pt x="8500" y="331821"/>
                    <a:pt x="21550" y="356014"/>
                    <a:pt x="38599" y="377445"/>
                  </a:cubicBezTo>
                  <a:cubicBezTo>
                    <a:pt x="56125" y="399353"/>
                    <a:pt x="77747" y="417927"/>
                    <a:pt x="102988" y="432786"/>
                  </a:cubicBezTo>
                  <a:cubicBezTo>
                    <a:pt x="130039" y="448692"/>
                    <a:pt x="159376" y="458789"/>
                    <a:pt x="190142" y="462885"/>
                  </a:cubicBezTo>
                  <a:cubicBezTo>
                    <a:pt x="219955" y="466790"/>
                    <a:pt x="249864" y="464980"/>
                    <a:pt x="279010" y="457455"/>
                  </a:cubicBezTo>
                  <a:cubicBezTo>
                    <a:pt x="308252" y="449931"/>
                    <a:pt x="335208" y="436977"/>
                    <a:pt x="359401" y="419070"/>
                  </a:cubicBezTo>
                  <a:cubicBezTo>
                    <a:pt x="384357" y="400496"/>
                    <a:pt x="405121" y="377445"/>
                    <a:pt x="421028" y="350394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43" name="Freeform: Shape 172">
              <a:extLst>
                <a:ext uri="{FF2B5EF4-FFF2-40B4-BE49-F238E27FC236}">
                  <a16:creationId xmlns:a16="http://schemas.microsoft.com/office/drawing/2014/main" id="{9629D2AC-227E-3FDD-F76A-1ED29DECC1B0}"/>
                </a:ext>
              </a:extLst>
            </p:cNvPr>
            <p:cNvSpPr/>
            <p:nvPr/>
          </p:nvSpPr>
          <p:spPr>
            <a:xfrm>
              <a:off x="11892276" y="4507269"/>
              <a:ext cx="250133" cy="385894"/>
            </a:xfrm>
            <a:custGeom>
              <a:avLst/>
              <a:gdLst>
                <a:gd name="connsiteX0" fmla="*/ 46002 w 143520"/>
                <a:gd name="connsiteY0" fmla="*/ 81583 h 221416"/>
                <a:gd name="connsiteX1" fmla="*/ 45431 w 143520"/>
                <a:gd name="connsiteY1" fmla="*/ 79011 h 221416"/>
                <a:gd name="connsiteX2" fmla="*/ 42669 w 143520"/>
                <a:gd name="connsiteY2" fmla="*/ 79488 h 221416"/>
                <a:gd name="connsiteX3" fmla="*/ 32191 w 143520"/>
                <a:gd name="connsiteY3" fmla="*/ 95775 h 221416"/>
                <a:gd name="connsiteX4" fmla="*/ 31239 w 143520"/>
                <a:gd name="connsiteY4" fmla="*/ 97395 h 221416"/>
                <a:gd name="connsiteX5" fmla="*/ 32001 w 143520"/>
                <a:gd name="connsiteY5" fmla="*/ 100062 h 221416"/>
                <a:gd name="connsiteX6" fmla="*/ 34668 w 143520"/>
                <a:gd name="connsiteY6" fmla="*/ 99395 h 221416"/>
                <a:gd name="connsiteX7" fmla="*/ 34668 w 143520"/>
                <a:gd name="connsiteY7" fmla="*/ 99395 h 221416"/>
                <a:gd name="connsiteX8" fmla="*/ 35620 w 143520"/>
                <a:gd name="connsiteY8" fmla="*/ 97776 h 221416"/>
                <a:gd name="connsiteX9" fmla="*/ 45907 w 143520"/>
                <a:gd name="connsiteY9" fmla="*/ 81774 h 221416"/>
                <a:gd name="connsiteX10" fmla="*/ 45907 w 143520"/>
                <a:gd name="connsiteY10" fmla="*/ 81678 h 221416"/>
                <a:gd name="connsiteX11" fmla="*/ 16856 w 143520"/>
                <a:gd name="connsiteY11" fmla="*/ 137685 h 221416"/>
                <a:gd name="connsiteX12" fmla="*/ 17046 w 143520"/>
                <a:gd name="connsiteY12" fmla="*/ 137304 h 221416"/>
                <a:gd name="connsiteX13" fmla="*/ 24952 w 143520"/>
                <a:gd name="connsiteY13" fmla="*/ 117969 h 221416"/>
                <a:gd name="connsiteX14" fmla="*/ 24000 w 143520"/>
                <a:gd name="connsiteY14" fmla="*/ 115302 h 221416"/>
                <a:gd name="connsiteX15" fmla="*/ 21428 w 143520"/>
                <a:gd name="connsiteY15" fmla="*/ 116254 h 221416"/>
                <a:gd name="connsiteX16" fmla="*/ 13332 w 143520"/>
                <a:gd name="connsiteY16" fmla="*/ 135971 h 221416"/>
                <a:gd name="connsiteX17" fmla="*/ 14570 w 143520"/>
                <a:gd name="connsiteY17" fmla="*/ 138447 h 221416"/>
                <a:gd name="connsiteX18" fmla="*/ 16951 w 143520"/>
                <a:gd name="connsiteY18" fmla="*/ 137590 h 221416"/>
                <a:gd name="connsiteX19" fmla="*/ 73434 w 143520"/>
                <a:gd name="connsiteY19" fmla="*/ 49579 h 221416"/>
                <a:gd name="connsiteX20" fmla="*/ 73149 w 143520"/>
                <a:gd name="connsiteY20" fmla="*/ 47198 h 221416"/>
                <a:gd name="connsiteX21" fmla="*/ 70386 w 143520"/>
                <a:gd name="connsiteY21" fmla="*/ 47198 h 221416"/>
                <a:gd name="connsiteX22" fmla="*/ 55813 w 143520"/>
                <a:gd name="connsiteY22" fmla="*/ 62724 h 221416"/>
                <a:gd name="connsiteX23" fmla="*/ 56004 w 143520"/>
                <a:gd name="connsiteY23" fmla="*/ 65486 h 221416"/>
                <a:gd name="connsiteX24" fmla="*/ 58766 w 143520"/>
                <a:gd name="connsiteY24" fmla="*/ 65295 h 221416"/>
                <a:gd name="connsiteX25" fmla="*/ 73053 w 143520"/>
                <a:gd name="connsiteY25" fmla="*/ 50055 h 221416"/>
                <a:gd name="connsiteX26" fmla="*/ 73339 w 143520"/>
                <a:gd name="connsiteY26" fmla="*/ 49674 h 221416"/>
                <a:gd name="connsiteX27" fmla="*/ 6474 w 143520"/>
                <a:gd name="connsiteY27" fmla="*/ 178548 h 221416"/>
                <a:gd name="connsiteX28" fmla="*/ 6759 w 143520"/>
                <a:gd name="connsiteY28" fmla="*/ 177881 h 221416"/>
                <a:gd name="connsiteX29" fmla="*/ 11046 w 143520"/>
                <a:gd name="connsiteY29" fmla="*/ 157402 h 221416"/>
                <a:gd name="connsiteX30" fmla="*/ 9617 w 143520"/>
                <a:gd name="connsiteY30" fmla="*/ 155021 h 221416"/>
                <a:gd name="connsiteX31" fmla="*/ 7236 w 143520"/>
                <a:gd name="connsiteY31" fmla="*/ 156450 h 221416"/>
                <a:gd name="connsiteX32" fmla="*/ 2949 w 143520"/>
                <a:gd name="connsiteY32" fmla="*/ 177309 h 221416"/>
                <a:gd name="connsiteX33" fmla="*/ 4569 w 143520"/>
                <a:gd name="connsiteY33" fmla="*/ 179595 h 221416"/>
                <a:gd name="connsiteX34" fmla="*/ 6569 w 143520"/>
                <a:gd name="connsiteY34" fmla="*/ 178643 h 221416"/>
                <a:gd name="connsiteX35" fmla="*/ 106105 w 143520"/>
                <a:gd name="connsiteY35" fmla="*/ 23100 h 221416"/>
                <a:gd name="connsiteX36" fmla="*/ 106105 w 143520"/>
                <a:gd name="connsiteY36" fmla="*/ 21004 h 221416"/>
                <a:gd name="connsiteX37" fmla="*/ 103343 w 143520"/>
                <a:gd name="connsiteY37" fmla="*/ 20433 h 221416"/>
                <a:gd name="connsiteX38" fmla="*/ 86198 w 143520"/>
                <a:gd name="connsiteY38" fmla="*/ 33006 h 221416"/>
                <a:gd name="connsiteX39" fmla="*/ 85912 w 143520"/>
                <a:gd name="connsiteY39" fmla="*/ 35768 h 221416"/>
                <a:gd name="connsiteX40" fmla="*/ 88674 w 143520"/>
                <a:gd name="connsiteY40" fmla="*/ 36054 h 221416"/>
                <a:gd name="connsiteX41" fmla="*/ 105534 w 143520"/>
                <a:gd name="connsiteY41" fmla="*/ 23671 h 221416"/>
                <a:gd name="connsiteX42" fmla="*/ 106105 w 143520"/>
                <a:gd name="connsiteY42" fmla="*/ 23004 h 221416"/>
                <a:gd name="connsiteX43" fmla="*/ 3711 w 143520"/>
                <a:gd name="connsiteY43" fmla="*/ 220458 h 221416"/>
                <a:gd name="connsiteX44" fmla="*/ 3997 w 143520"/>
                <a:gd name="connsiteY44" fmla="*/ 219410 h 221416"/>
                <a:gd name="connsiteX45" fmla="*/ 4378 w 143520"/>
                <a:gd name="connsiteY45" fmla="*/ 198550 h 221416"/>
                <a:gd name="connsiteX46" fmla="*/ 2568 w 143520"/>
                <a:gd name="connsiteY46" fmla="*/ 196455 h 221416"/>
                <a:gd name="connsiteX47" fmla="*/ 473 w 143520"/>
                <a:gd name="connsiteY47" fmla="*/ 198264 h 221416"/>
                <a:gd name="connsiteX48" fmla="*/ 92 w 143520"/>
                <a:gd name="connsiteY48" fmla="*/ 219505 h 221416"/>
                <a:gd name="connsiteX49" fmla="*/ 2092 w 143520"/>
                <a:gd name="connsiteY49" fmla="*/ 221410 h 221416"/>
                <a:gd name="connsiteX50" fmla="*/ 3711 w 143520"/>
                <a:gd name="connsiteY50" fmla="*/ 220458 h 221416"/>
                <a:gd name="connsiteX51" fmla="*/ 143253 w 143520"/>
                <a:gd name="connsiteY51" fmla="*/ 3002 h 221416"/>
                <a:gd name="connsiteX52" fmla="*/ 143348 w 143520"/>
                <a:gd name="connsiteY52" fmla="*/ 1192 h 221416"/>
                <a:gd name="connsiteX53" fmla="*/ 140776 w 143520"/>
                <a:gd name="connsiteY53" fmla="*/ 144 h 221416"/>
                <a:gd name="connsiteX54" fmla="*/ 121631 w 143520"/>
                <a:gd name="connsiteY54" fmla="*/ 9384 h 221416"/>
                <a:gd name="connsiteX55" fmla="*/ 120869 w 143520"/>
                <a:gd name="connsiteY55" fmla="*/ 12051 h 221416"/>
                <a:gd name="connsiteX56" fmla="*/ 123536 w 143520"/>
                <a:gd name="connsiteY56" fmla="*/ 12813 h 221416"/>
                <a:gd name="connsiteX57" fmla="*/ 142396 w 143520"/>
                <a:gd name="connsiteY57" fmla="*/ 3669 h 221416"/>
                <a:gd name="connsiteX58" fmla="*/ 143348 w 143520"/>
                <a:gd name="connsiteY58" fmla="*/ 2811 h 221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43520" h="221416">
                  <a:moveTo>
                    <a:pt x="46002" y="81583"/>
                  </a:moveTo>
                  <a:cubicBezTo>
                    <a:pt x="46574" y="80726"/>
                    <a:pt x="46288" y="79583"/>
                    <a:pt x="45431" y="79011"/>
                  </a:cubicBezTo>
                  <a:cubicBezTo>
                    <a:pt x="44574" y="78345"/>
                    <a:pt x="43335" y="78630"/>
                    <a:pt x="42669" y="79488"/>
                  </a:cubicBezTo>
                  <a:cubicBezTo>
                    <a:pt x="38954" y="84726"/>
                    <a:pt x="35430" y="90251"/>
                    <a:pt x="32191" y="95775"/>
                  </a:cubicBezTo>
                  <a:cubicBezTo>
                    <a:pt x="31905" y="96347"/>
                    <a:pt x="31524" y="96918"/>
                    <a:pt x="31239" y="97395"/>
                  </a:cubicBezTo>
                  <a:cubicBezTo>
                    <a:pt x="30667" y="98347"/>
                    <a:pt x="31048" y="99585"/>
                    <a:pt x="32001" y="100062"/>
                  </a:cubicBezTo>
                  <a:cubicBezTo>
                    <a:pt x="32953" y="100633"/>
                    <a:pt x="34191" y="100252"/>
                    <a:pt x="34668" y="99395"/>
                  </a:cubicBezTo>
                  <a:cubicBezTo>
                    <a:pt x="34668" y="99395"/>
                    <a:pt x="34668" y="99395"/>
                    <a:pt x="34668" y="99395"/>
                  </a:cubicBezTo>
                  <a:cubicBezTo>
                    <a:pt x="34953" y="98823"/>
                    <a:pt x="35334" y="98347"/>
                    <a:pt x="35620" y="97776"/>
                  </a:cubicBezTo>
                  <a:cubicBezTo>
                    <a:pt x="38859" y="92346"/>
                    <a:pt x="42288" y="86917"/>
                    <a:pt x="45907" y="81774"/>
                  </a:cubicBezTo>
                  <a:cubicBezTo>
                    <a:pt x="45907" y="81774"/>
                    <a:pt x="45907" y="81774"/>
                    <a:pt x="45907" y="81678"/>
                  </a:cubicBezTo>
                  <a:moveTo>
                    <a:pt x="16856" y="137685"/>
                  </a:moveTo>
                  <a:cubicBezTo>
                    <a:pt x="16856" y="137685"/>
                    <a:pt x="16951" y="137495"/>
                    <a:pt x="17046" y="137304"/>
                  </a:cubicBezTo>
                  <a:cubicBezTo>
                    <a:pt x="19332" y="130827"/>
                    <a:pt x="21999" y="124255"/>
                    <a:pt x="24952" y="117969"/>
                  </a:cubicBezTo>
                  <a:cubicBezTo>
                    <a:pt x="25428" y="117016"/>
                    <a:pt x="24952" y="115778"/>
                    <a:pt x="24000" y="115302"/>
                  </a:cubicBezTo>
                  <a:cubicBezTo>
                    <a:pt x="23047" y="114825"/>
                    <a:pt x="21809" y="115302"/>
                    <a:pt x="21428" y="116254"/>
                  </a:cubicBezTo>
                  <a:cubicBezTo>
                    <a:pt x="18475" y="122636"/>
                    <a:pt x="15713" y="129303"/>
                    <a:pt x="13332" y="135971"/>
                  </a:cubicBezTo>
                  <a:cubicBezTo>
                    <a:pt x="12951" y="137019"/>
                    <a:pt x="13522" y="138162"/>
                    <a:pt x="14570" y="138447"/>
                  </a:cubicBezTo>
                  <a:cubicBezTo>
                    <a:pt x="15522" y="138733"/>
                    <a:pt x="16475" y="138447"/>
                    <a:pt x="16951" y="137590"/>
                  </a:cubicBezTo>
                  <a:moveTo>
                    <a:pt x="73434" y="49579"/>
                  </a:moveTo>
                  <a:cubicBezTo>
                    <a:pt x="73911" y="48817"/>
                    <a:pt x="73815" y="47865"/>
                    <a:pt x="73149" y="47198"/>
                  </a:cubicBezTo>
                  <a:cubicBezTo>
                    <a:pt x="72387" y="46436"/>
                    <a:pt x="71148" y="46341"/>
                    <a:pt x="70386" y="47198"/>
                  </a:cubicBezTo>
                  <a:cubicBezTo>
                    <a:pt x="65338" y="52151"/>
                    <a:pt x="60480" y="57390"/>
                    <a:pt x="55813" y="62724"/>
                  </a:cubicBezTo>
                  <a:cubicBezTo>
                    <a:pt x="55146" y="63581"/>
                    <a:pt x="55242" y="64819"/>
                    <a:pt x="56004" y="65486"/>
                  </a:cubicBezTo>
                  <a:cubicBezTo>
                    <a:pt x="56861" y="66153"/>
                    <a:pt x="58099" y="66057"/>
                    <a:pt x="58766" y="65295"/>
                  </a:cubicBezTo>
                  <a:cubicBezTo>
                    <a:pt x="63243" y="59961"/>
                    <a:pt x="68100" y="54913"/>
                    <a:pt x="73053" y="50055"/>
                  </a:cubicBezTo>
                  <a:cubicBezTo>
                    <a:pt x="73149" y="49960"/>
                    <a:pt x="73339" y="49770"/>
                    <a:pt x="73339" y="49674"/>
                  </a:cubicBezTo>
                  <a:moveTo>
                    <a:pt x="6474" y="178548"/>
                  </a:moveTo>
                  <a:cubicBezTo>
                    <a:pt x="6474" y="178548"/>
                    <a:pt x="6664" y="178071"/>
                    <a:pt x="6759" y="177881"/>
                  </a:cubicBezTo>
                  <a:cubicBezTo>
                    <a:pt x="7902" y="171023"/>
                    <a:pt x="9236" y="164165"/>
                    <a:pt x="11046" y="157402"/>
                  </a:cubicBezTo>
                  <a:cubicBezTo>
                    <a:pt x="11331" y="156354"/>
                    <a:pt x="10665" y="155307"/>
                    <a:pt x="9617" y="155021"/>
                  </a:cubicBezTo>
                  <a:cubicBezTo>
                    <a:pt x="8569" y="154735"/>
                    <a:pt x="7521" y="155402"/>
                    <a:pt x="7236" y="156450"/>
                  </a:cubicBezTo>
                  <a:cubicBezTo>
                    <a:pt x="5521" y="163308"/>
                    <a:pt x="3997" y="170261"/>
                    <a:pt x="2949" y="177309"/>
                  </a:cubicBezTo>
                  <a:cubicBezTo>
                    <a:pt x="2759" y="178357"/>
                    <a:pt x="3521" y="179405"/>
                    <a:pt x="4569" y="179595"/>
                  </a:cubicBezTo>
                  <a:cubicBezTo>
                    <a:pt x="5426" y="179691"/>
                    <a:pt x="6188" y="179310"/>
                    <a:pt x="6569" y="178643"/>
                  </a:cubicBezTo>
                  <a:moveTo>
                    <a:pt x="106105" y="23100"/>
                  </a:moveTo>
                  <a:cubicBezTo>
                    <a:pt x="106486" y="22433"/>
                    <a:pt x="106486" y="21671"/>
                    <a:pt x="106105" y="21004"/>
                  </a:cubicBezTo>
                  <a:cubicBezTo>
                    <a:pt x="105534" y="20052"/>
                    <a:pt x="104295" y="19861"/>
                    <a:pt x="103343" y="20433"/>
                  </a:cubicBezTo>
                  <a:cubicBezTo>
                    <a:pt x="97437" y="24338"/>
                    <a:pt x="91722" y="28624"/>
                    <a:pt x="86198" y="33006"/>
                  </a:cubicBezTo>
                  <a:cubicBezTo>
                    <a:pt x="85341" y="33672"/>
                    <a:pt x="85245" y="34911"/>
                    <a:pt x="85912" y="35768"/>
                  </a:cubicBezTo>
                  <a:cubicBezTo>
                    <a:pt x="86579" y="36625"/>
                    <a:pt x="87817" y="36720"/>
                    <a:pt x="88674" y="36054"/>
                  </a:cubicBezTo>
                  <a:cubicBezTo>
                    <a:pt x="94104" y="31672"/>
                    <a:pt x="99723" y="27576"/>
                    <a:pt x="105534" y="23671"/>
                  </a:cubicBezTo>
                  <a:cubicBezTo>
                    <a:pt x="105819" y="23481"/>
                    <a:pt x="106010" y="23290"/>
                    <a:pt x="106105" y="23004"/>
                  </a:cubicBezTo>
                  <a:moveTo>
                    <a:pt x="3711" y="220458"/>
                  </a:moveTo>
                  <a:cubicBezTo>
                    <a:pt x="3711" y="220458"/>
                    <a:pt x="3997" y="219791"/>
                    <a:pt x="3997" y="219410"/>
                  </a:cubicBezTo>
                  <a:cubicBezTo>
                    <a:pt x="3807" y="212457"/>
                    <a:pt x="3997" y="205408"/>
                    <a:pt x="4378" y="198550"/>
                  </a:cubicBezTo>
                  <a:cubicBezTo>
                    <a:pt x="4378" y="197407"/>
                    <a:pt x="3616" y="196550"/>
                    <a:pt x="2568" y="196455"/>
                  </a:cubicBezTo>
                  <a:cubicBezTo>
                    <a:pt x="1521" y="196455"/>
                    <a:pt x="568" y="197217"/>
                    <a:pt x="473" y="198264"/>
                  </a:cubicBezTo>
                  <a:cubicBezTo>
                    <a:pt x="-3" y="205313"/>
                    <a:pt x="-99" y="212457"/>
                    <a:pt x="92" y="219505"/>
                  </a:cubicBezTo>
                  <a:cubicBezTo>
                    <a:pt x="92" y="220553"/>
                    <a:pt x="1044" y="221505"/>
                    <a:pt x="2092" y="221410"/>
                  </a:cubicBezTo>
                  <a:cubicBezTo>
                    <a:pt x="2759" y="221410"/>
                    <a:pt x="3426" y="221029"/>
                    <a:pt x="3711" y="220458"/>
                  </a:cubicBezTo>
                  <a:moveTo>
                    <a:pt x="143253" y="3002"/>
                  </a:moveTo>
                  <a:cubicBezTo>
                    <a:pt x="143538" y="2526"/>
                    <a:pt x="143634" y="1859"/>
                    <a:pt x="143348" y="1192"/>
                  </a:cubicBezTo>
                  <a:cubicBezTo>
                    <a:pt x="142967" y="144"/>
                    <a:pt x="141729" y="-237"/>
                    <a:pt x="140776" y="144"/>
                  </a:cubicBezTo>
                  <a:cubicBezTo>
                    <a:pt x="134299" y="2907"/>
                    <a:pt x="127822" y="6050"/>
                    <a:pt x="121631" y="9384"/>
                  </a:cubicBezTo>
                  <a:cubicBezTo>
                    <a:pt x="120678" y="9955"/>
                    <a:pt x="120297" y="11098"/>
                    <a:pt x="120869" y="12051"/>
                  </a:cubicBezTo>
                  <a:cubicBezTo>
                    <a:pt x="121345" y="13003"/>
                    <a:pt x="122583" y="13384"/>
                    <a:pt x="123536" y="12813"/>
                  </a:cubicBezTo>
                  <a:cubicBezTo>
                    <a:pt x="129632" y="9479"/>
                    <a:pt x="136014" y="6431"/>
                    <a:pt x="142396" y="3669"/>
                  </a:cubicBezTo>
                  <a:cubicBezTo>
                    <a:pt x="142776" y="3478"/>
                    <a:pt x="143062" y="3192"/>
                    <a:pt x="143348" y="2811"/>
                  </a:cubicBezTo>
                </a:path>
              </a:pathLst>
            </a:custGeom>
            <a:solidFill>
              <a:srgbClr val="0095D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44" name="Freeform: Shape 173">
              <a:extLst>
                <a:ext uri="{FF2B5EF4-FFF2-40B4-BE49-F238E27FC236}">
                  <a16:creationId xmlns:a16="http://schemas.microsoft.com/office/drawing/2014/main" id="{8B98E158-F578-D713-B1CE-D8EDD6791387}"/>
                </a:ext>
              </a:extLst>
            </p:cNvPr>
            <p:cNvSpPr/>
            <p:nvPr/>
          </p:nvSpPr>
          <p:spPr>
            <a:xfrm>
              <a:off x="11865389" y="4924539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45" name="Freeform: Shape 174">
              <a:extLst>
                <a:ext uri="{FF2B5EF4-FFF2-40B4-BE49-F238E27FC236}">
                  <a16:creationId xmlns:a16="http://schemas.microsoft.com/office/drawing/2014/main" id="{0F450EC8-E221-7D9D-2A62-16BA14FDAC39}"/>
                </a:ext>
              </a:extLst>
            </p:cNvPr>
            <p:cNvSpPr/>
            <p:nvPr/>
          </p:nvSpPr>
          <p:spPr>
            <a:xfrm>
              <a:off x="11865389" y="4924539"/>
              <a:ext cx="88622" cy="88622"/>
            </a:xfrm>
            <a:custGeom>
              <a:avLst/>
              <a:gdLst>
                <a:gd name="connsiteX0" fmla="*/ 12471 w 50849"/>
                <a:gd name="connsiteY0" fmla="*/ 47332 h 50849"/>
                <a:gd name="connsiteX1" fmla="*/ 47332 w 50849"/>
                <a:gd name="connsiteY1" fmla="*/ 38283 h 50849"/>
                <a:gd name="connsiteX2" fmla="*/ 38283 w 50849"/>
                <a:gd name="connsiteY2" fmla="*/ 3517 h 50849"/>
                <a:gd name="connsiteX3" fmla="*/ 3517 w 50849"/>
                <a:gd name="connsiteY3" fmla="*/ 12566 h 50849"/>
                <a:gd name="connsiteX4" fmla="*/ 12566 w 50849"/>
                <a:gd name="connsiteY4" fmla="*/ 47427 h 5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49" h="50849">
                  <a:moveTo>
                    <a:pt x="12471" y="47332"/>
                  </a:moveTo>
                  <a:cubicBezTo>
                    <a:pt x="24567" y="54476"/>
                    <a:pt x="40188" y="50380"/>
                    <a:pt x="47332" y="38283"/>
                  </a:cubicBezTo>
                  <a:cubicBezTo>
                    <a:pt x="54476" y="26187"/>
                    <a:pt x="50380" y="10566"/>
                    <a:pt x="38283" y="3517"/>
                  </a:cubicBezTo>
                  <a:cubicBezTo>
                    <a:pt x="26187" y="-3627"/>
                    <a:pt x="10566" y="469"/>
                    <a:pt x="3517" y="12566"/>
                  </a:cubicBezTo>
                  <a:cubicBezTo>
                    <a:pt x="-3627" y="24663"/>
                    <a:pt x="469" y="40284"/>
                    <a:pt x="12566" y="47427"/>
                  </a:cubicBezTo>
                  <a:close/>
                </a:path>
              </a:pathLst>
            </a:custGeom>
            <a:noFill/>
            <a:ln w="3810" cap="rnd">
              <a:solidFill>
                <a:srgbClr val="0095D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sp>
        <p:nvSpPr>
          <p:cNvPr id="46" name="CaixaDeTexto 16">
            <a:extLst>
              <a:ext uri="{FF2B5EF4-FFF2-40B4-BE49-F238E27FC236}">
                <a16:creationId xmlns:a16="http://schemas.microsoft.com/office/drawing/2014/main" id="{BF06170C-E711-A583-B989-F5DB6E4E25FC}"/>
              </a:ext>
            </a:extLst>
          </p:cNvPr>
          <p:cNvSpPr txBox="1"/>
          <p:nvPr/>
        </p:nvSpPr>
        <p:spPr>
          <a:xfrm flipH="1">
            <a:off x="8382855" y="1993531"/>
            <a:ext cx="2046662" cy="1170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295D9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4.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295D9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Work with manufacturer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295D9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to accelerate the development and registration of needed formulations for LMICs</a:t>
            </a:r>
          </a:p>
        </p:txBody>
      </p:sp>
      <p:sp>
        <p:nvSpPr>
          <p:cNvPr id="47" name="CaixaDeTexto 19">
            <a:extLst>
              <a:ext uri="{FF2B5EF4-FFF2-40B4-BE49-F238E27FC236}">
                <a16:creationId xmlns:a16="http://schemas.microsoft.com/office/drawing/2014/main" id="{6069C9AD-7D50-255E-7DA8-1C0DB3251680}"/>
              </a:ext>
            </a:extLst>
          </p:cNvPr>
          <p:cNvSpPr txBox="1"/>
          <p:nvPr/>
        </p:nvSpPr>
        <p:spPr>
          <a:xfrm flipH="1">
            <a:off x="1550970" y="5222232"/>
            <a:ext cx="2576165" cy="1170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3AB22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2.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3AB22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Negotiate licences and/</a:t>
            </a:r>
            <a:r>
              <a:rPr lang="en-GB" sz="1400" b="1" kern="0" dirty="0">
                <a:solidFill>
                  <a:srgbClr val="F3AB22"/>
                </a:solidFill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or technology transfer agreement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F3AB22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with innovators from a public health perspective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3AB2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8" name="CaixaDeTexto 20">
            <a:extLst>
              <a:ext uri="{FF2B5EF4-FFF2-40B4-BE49-F238E27FC236}">
                <a16:creationId xmlns:a16="http://schemas.microsoft.com/office/drawing/2014/main" id="{B5EF861E-821D-C55B-8BCA-1C87C55B150B}"/>
              </a:ext>
            </a:extLst>
          </p:cNvPr>
          <p:cNvSpPr txBox="1"/>
          <p:nvPr/>
        </p:nvSpPr>
        <p:spPr>
          <a:xfrm flipH="1">
            <a:off x="1139251" y="3111553"/>
            <a:ext cx="2109605" cy="1170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213F99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1.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213F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 Medium"/>
              </a:rPr>
              <a:t>Identify medicines or other health technologies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213F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 Medium"/>
              </a:rPr>
              <a:t>needed in low- and middle-income countries where licensing can improve access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213F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 Medium"/>
            </a:endParaRP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213F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9" name="CaixaDeTexto 17">
            <a:extLst>
              <a:ext uri="{FF2B5EF4-FFF2-40B4-BE49-F238E27FC236}">
                <a16:creationId xmlns:a16="http://schemas.microsoft.com/office/drawing/2014/main" id="{3014E713-F234-629B-FA33-45E7C2F69B4E}"/>
              </a:ext>
            </a:extLst>
          </p:cNvPr>
          <p:cNvSpPr txBox="1"/>
          <p:nvPr/>
        </p:nvSpPr>
        <p:spPr>
          <a:xfrm flipH="1">
            <a:off x="8198204" y="4818021"/>
            <a:ext cx="1949444" cy="1170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B53E8A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3.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B53E8A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Sublicense 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53E8A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to selected pharmaceutical companies committed to supplying LMICs</a:t>
            </a:r>
          </a:p>
        </p:txBody>
      </p:sp>
      <p:sp>
        <p:nvSpPr>
          <p:cNvPr id="50" name="Seta para Baixo 30">
            <a:extLst>
              <a:ext uri="{FF2B5EF4-FFF2-40B4-BE49-F238E27FC236}">
                <a16:creationId xmlns:a16="http://schemas.microsoft.com/office/drawing/2014/main" id="{F91079B8-6C48-7121-5AEE-E94A78F3BD95}"/>
              </a:ext>
            </a:extLst>
          </p:cNvPr>
          <p:cNvSpPr/>
          <p:nvPr/>
        </p:nvSpPr>
        <p:spPr>
          <a:xfrm flipH="1">
            <a:off x="5359680" y="1692548"/>
            <a:ext cx="1204925" cy="982071"/>
          </a:xfrm>
          <a:prstGeom prst="downArrow">
            <a:avLst/>
          </a:prstGeom>
          <a:solidFill>
            <a:srgbClr val="55B4E6"/>
          </a:solid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/>
              <a:ea typeface="+mn-ea"/>
              <a:cs typeface="+mn-cs"/>
            </a:endParaRPr>
          </a:p>
        </p:txBody>
      </p:sp>
      <p:grpSp>
        <p:nvGrpSpPr>
          <p:cNvPr id="51" name="Group 28">
            <a:extLst>
              <a:ext uri="{FF2B5EF4-FFF2-40B4-BE49-F238E27FC236}">
                <a16:creationId xmlns:a16="http://schemas.microsoft.com/office/drawing/2014/main" id="{F5CA523B-2954-6675-5F8C-976370AAD103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5522661" y="3660919"/>
            <a:ext cx="866656" cy="948431"/>
            <a:chOff x="3574" y="3115"/>
            <a:chExt cx="975" cy="1067"/>
          </a:xfrm>
          <a:solidFill>
            <a:srgbClr val="55B4E5"/>
          </a:solidFill>
        </p:grpSpPr>
        <p:sp>
          <p:nvSpPr>
            <p:cNvPr id="52" name="Freeform 29">
              <a:extLst>
                <a:ext uri="{FF2B5EF4-FFF2-40B4-BE49-F238E27FC236}">
                  <a16:creationId xmlns:a16="http://schemas.microsoft.com/office/drawing/2014/main" id="{7F617BAD-FDEB-B622-82F6-2338BFE416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6" y="3707"/>
              <a:ext cx="136" cy="136"/>
            </a:xfrm>
            <a:custGeom>
              <a:avLst/>
              <a:gdLst>
                <a:gd name="T0" fmla="*/ 436 w 872"/>
                <a:gd name="T1" fmla="*/ 200 h 872"/>
                <a:gd name="T2" fmla="*/ 436 w 872"/>
                <a:gd name="T3" fmla="*/ 200 h 872"/>
                <a:gd name="T4" fmla="*/ 672 w 872"/>
                <a:gd name="T5" fmla="*/ 436 h 872"/>
                <a:gd name="T6" fmla="*/ 436 w 872"/>
                <a:gd name="T7" fmla="*/ 672 h 872"/>
                <a:gd name="T8" fmla="*/ 200 w 872"/>
                <a:gd name="T9" fmla="*/ 436 h 872"/>
                <a:gd name="T10" fmla="*/ 436 w 872"/>
                <a:gd name="T11" fmla="*/ 200 h 872"/>
                <a:gd name="T12" fmla="*/ 436 w 872"/>
                <a:gd name="T13" fmla="*/ 872 h 872"/>
                <a:gd name="T14" fmla="*/ 436 w 872"/>
                <a:gd name="T15" fmla="*/ 872 h 872"/>
                <a:gd name="T16" fmla="*/ 872 w 872"/>
                <a:gd name="T17" fmla="*/ 436 h 872"/>
                <a:gd name="T18" fmla="*/ 436 w 872"/>
                <a:gd name="T19" fmla="*/ 0 h 872"/>
                <a:gd name="T20" fmla="*/ 0 w 872"/>
                <a:gd name="T21" fmla="*/ 436 h 872"/>
                <a:gd name="T22" fmla="*/ 436 w 872"/>
                <a:gd name="T23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2" h="872">
                  <a:moveTo>
                    <a:pt x="436" y="200"/>
                  </a:moveTo>
                  <a:lnTo>
                    <a:pt x="436" y="200"/>
                  </a:lnTo>
                  <a:cubicBezTo>
                    <a:pt x="566" y="200"/>
                    <a:pt x="672" y="306"/>
                    <a:pt x="672" y="436"/>
                  </a:cubicBezTo>
                  <a:cubicBezTo>
                    <a:pt x="672" y="566"/>
                    <a:pt x="566" y="672"/>
                    <a:pt x="436" y="672"/>
                  </a:cubicBezTo>
                  <a:cubicBezTo>
                    <a:pt x="306" y="672"/>
                    <a:pt x="200" y="566"/>
                    <a:pt x="200" y="436"/>
                  </a:cubicBezTo>
                  <a:cubicBezTo>
                    <a:pt x="200" y="306"/>
                    <a:pt x="306" y="200"/>
                    <a:pt x="436" y="200"/>
                  </a:cubicBezTo>
                  <a:close/>
                  <a:moveTo>
                    <a:pt x="436" y="872"/>
                  </a:moveTo>
                  <a:lnTo>
                    <a:pt x="436" y="872"/>
                  </a:lnTo>
                  <a:cubicBezTo>
                    <a:pt x="676" y="872"/>
                    <a:pt x="872" y="676"/>
                    <a:pt x="872" y="436"/>
                  </a:cubicBezTo>
                  <a:cubicBezTo>
                    <a:pt x="872" y="195"/>
                    <a:pt x="676" y="0"/>
                    <a:pt x="436" y="0"/>
                  </a:cubicBezTo>
                  <a:cubicBezTo>
                    <a:pt x="196" y="0"/>
                    <a:pt x="0" y="195"/>
                    <a:pt x="0" y="436"/>
                  </a:cubicBezTo>
                  <a:cubicBezTo>
                    <a:pt x="0" y="676"/>
                    <a:pt x="196" y="872"/>
                    <a:pt x="436" y="8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3" name="Freeform 30">
              <a:extLst>
                <a:ext uri="{FF2B5EF4-FFF2-40B4-BE49-F238E27FC236}">
                  <a16:creationId xmlns:a16="http://schemas.microsoft.com/office/drawing/2014/main" id="{F18B1230-3A3E-D497-E40E-3E552CAAF9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3" y="3115"/>
              <a:ext cx="226" cy="225"/>
            </a:xfrm>
            <a:custGeom>
              <a:avLst/>
              <a:gdLst>
                <a:gd name="T0" fmla="*/ 723 w 1445"/>
                <a:gd name="T1" fmla="*/ 199 h 1443"/>
                <a:gd name="T2" fmla="*/ 723 w 1445"/>
                <a:gd name="T3" fmla="*/ 199 h 1443"/>
                <a:gd name="T4" fmla="*/ 1245 w 1445"/>
                <a:gd name="T5" fmla="*/ 721 h 1443"/>
                <a:gd name="T6" fmla="*/ 723 w 1445"/>
                <a:gd name="T7" fmla="*/ 1243 h 1443"/>
                <a:gd name="T8" fmla="*/ 200 w 1445"/>
                <a:gd name="T9" fmla="*/ 721 h 1443"/>
                <a:gd name="T10" fmla="*/ 723 w 1445"/>
                <a:gd name="T11" fmla="*/ 199 h 1443"/>
                <a:gd name="T12" fmla="*/ 723 w 1445"/>
                <a:gd name="T13" fmla="*/ 1443 h 1443"/>
                <a:gd name="T14" fmla="*/ 723 w 1445"/>
                <a:gd name="T15" fmla="*/ 1443 h 1443"/>
                <a:gd name="T16" fmla="*/ 1445 w 1445"/>
                <a:gd name="T17" fmla="*/ 721 h 1443"/>
                <a:gd name="T18" fmla="*/ 723 w 1445"/>
                <a:gd name="T19" fmla="*/ 0 h 1443"/>
                <a:gd name="T20" fmla="*/ 0 w 1445"/>
                <a:gd name="T21" fmla="*/ 721 h 1443"/>
                <a:gd name="T22" fmla="*/ 723 w 1445"/>
                <a:gd name="T23" fmla="*/ 1443 h 1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45" h="1443">
                  <a:moveTo>
                    <a:pt x="723" y="199"/>
                  </a:moveTo>
                  <a:lnTo>
                    <a:pt x="723" y="199"/>
                  </a:lnTo>
                  <a:cubicBezTo>
                    <a:pt x="1011" y="199"/>
                    <a:pt x="1245" y="433"/>
                    <a:pt x="1245" y="721"/>
                  </a:cubicBezTo>
                  <a:cubicBezTo>
                    <a:pt x="1245" y="1009"/>
                    <a:pt x="1011" y="1243"/>
                    <a:pt x="723" y="1243"/>
                  </a:cubicBezTo>
                  <a:cubicBezTo>
                    <a:pt x="435" y="1243"/>
                    <a:pt x="200" y="1009"/>
                    <a:pt x="200" y="721"/>
                  </a:cubicBezTo>
                  <a:cubicBezTo>
                    <a:pt x="200" y="433"/>
                    <a:pt x="435" y="199"/>
                    <a:pt x="723" y="199"/>
                  </a:cubicBezTo>
                  <a:close/>
                  <a:moveTo>
                    <a:pt x="723" y="1443"/>
                  </a:moveTo>
                  <a:lnTo>
                    <a:pt x="723" y="1443"/>
                  </a:lnTo>
                  <a:cubicBezTo>
                    <a:pt x="1121" y="1443"/>
                    <a:pt x="1445" y="1119"/>
                    <a:pt x="1445" y="721"/>
                  </a:cubicBezTo>
                  <a:cubicBezTo>
                    <a:pt x="1445" y="323"/>
                    <a:pt x="1121" y="0"/>
                    <a:pt x="723" y="0"/>
                  </a:cubicBezTo>
                  <a:cubicBezTo>
                    <a:pt x="324" y="0"/>
                    <a:pt x="0" y="323"/>
                    <a:pt x="0" y="721"/>
                  </a:cubicBezTo>
                  <a:cubicBezTo>
                    <a:pt x="0" y="1119"/>
                    <a:pt x="324" y="1443"/>
                    <a:pt x="723" y="14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4" name="Freeform 31">
              <a:extLst>
                <a:ext uri="{FF2B5EF4-FFF2-40B4-BE49-F238E27FC236}">
                  <a16:creationId xmlns:a16="http://schemas.microsoft.com/office/drawing/2014/main" id="{FD8535E3-8362-6BFD-CF64-709F23A50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" y="3353"/>
              <a:ext cx="366" cy="828"/>
            </a:xfrm>
            <a:custGeom>
              <a:avLst/>
              <a:gdLst>
                <a:gd name="T0" fmla="*/ 2241 w 2341"/>
                <a:gd name="T1" fmla="*/ 1028 h 5298"/>
                <a:gd name="T2" fmla="*/ 2241 w 2341"/>
                <a:gd name="T3" fmla="*/ 1028 h 5298"/>
                <a:gd name="T4" fmla="*/ 2141 w 2341"/>
                <a:gd name="T5" fmla="*/ 1128 h 5298"/>
                <a:gd name="T6" fmla="*/ 2141 w 2341"/>
                <a:gd name="T7" fmla="*/ 2497 h 5298"/>
                <a:gd name="T8" fmla="*/ 2076 w 2341"/>
                <a:gd name="T9" fmla="*/ 2561 h 5298"/>
                <a:gd name="T10" fmla="*/ 1832 w 2341"/>
                <a:gd name="T11" fmla="*/ 2561 h 5298"/>
                <a:gd name="T12" fmla="*/ 1832 w 2341"/>
                <a:gd name="T13" fmla="*/ 796 h 5298"/>
                <a:gd name="T14" fmla="*/ 1732 w 2341"/>
                <a:gd name="T15" fmla="*/ 696 h 5298"/>
                <a:gd name="T16" fmla="*/ 1632 w 2341"/>
                <a:gd name="T17" fmla="*/ 796 h 5298"/>
                <a:gd name="T18" fmla="*/ 1632 w 2341"/>
                <a:gd name="T19" fmla="*/ 5034 h 5298"/>
                <a:gd name="T20" fmla="*/ 1568 w 2341"/>
                <a:gd name="T21" fmla="*/ 5098 h 5298"/>
                <a:gd name="T22" fmla="*/ 1335 w 2341"/>
                <a:gd name="T23" fmla="*/ 5098 h 5298"/>
                <a:gd name="T24" fmla="*/ 1271 w 2341"/>
                <a:gd name="T25" fmla="*/ 5034 h 5298"/>
                <a:gd name="T26" fmla="*/ 1271 w 2341"/>
                <a:gd name="T27" fmla="*/ 3443 h 5298"/>
                <a:gd name="T28" fmla="*/ 1171 w 2341"/>
                <a:gd name="T29" fmla="*/ 3343 h 5298"/>
                <a:gd name="T30" fmla="*/ 1071 w 2341"/>
                <a:gd name="T31" fmla="*/ 3443 h 5298"/>
                <a:gd name="T32" fmla="*/ 1071 w 2341"/>
                <a:gd name="T33" fmla="*/ 5034 h 5298"/>
                <a:gd name="T34" fmla="*/ 1006 w 2341"/>
                <a:gd name="T35" fmla="*/ 5098 h 5298"/>
                <a:gd name="T36" fmla="*/ 774 w 2341"/>
                <a:gd name="T37" fmla="*/ 5098 h 5298"/>
                <a:gd name="T38" fmla="*/ 709 w 2341"/>
                <a:gd name="T39" fmla="*/ 5034 h 5298"/>
                <a:gd name="T40" fmla="*/ 709 w 2341"/>
                <a:gd name="T41" fmla="*/ 796 h 5298"/>
                <a:gd name="T42" fmla="*/ 609 w 2341"/>
                <a:gd name="T43" fmla="*/ 696 h 5298"/>
                <a:gd name="T44" fmla="*/ 509 w 2341"/>
                <a:gd name="T45" fmla="*/ 796 h 5298"/>
                <a:gd name="T46" fmla="*/ 509 w 2341"/>
                <a:gd name="T47" fmla="*/ 2561 h 5298"/>
                <a:gd name="T48" fmla="*/ 265 w 2341"/>
                <a:gd name="T49" fmla="*/ 2561 h 5298"/>
                <a:gd name="T50" fmla="*/ 200 w 2341"/>
                <a:gd name="T51" fmla="*/ 2497 h 5298"/>
                <a:gd name="T52" fmla="*/ 200 w 2341"/>
                <a:gd name="T53" fmla="*/ 796 h 5298"/>
                <a:gd name="T54" fmla="*/ 796 w 2341"/>
                <a:gd name="T55" fmla="*/ 200 h 5298"/>
                <a:gd name="T56" fmla="*/ 1545 w 2341"/>
                <a:gd name="T57" fmla="*/ 200 h 5298"/>
                <a:gd name="T58" fmla="*/ 2141 w 2341"/>
                <a:gd name="T59" fmla="*/ 796 h 5298"/>
                <a:gd name="T60" fmla="*/ 2241 w 2341"/>
                <a:gd name="T61" fmla="*/ 896 h 5298"/>
                <a:gd name="T62" fmla="*/ 2341 w 2341"/>
                <a:gd name="T63" fmla="*/ 796 h 5298"/>
                <a:gd name="T64" fmla="*/ 1545 w 2341"/>
                <a:gd name="T65" fmla="*/ 0 h 5298"/>
                <a:gd name="T66" fmla="*/ 796 w 2341"/>
                <a:gd name="T67" fmla="*/ 0 h 5298"/>
                <a:gd name="T68" fmla="*/ 0 w 2341"/>
                <a:gd name="T69" fmla="*/ 796 h 5298"/>
                <a:gd name="T70" fmla="*/ 0 w 2341"/>
                <a:gd name="T71" fmla="*/ 2497 h 5298"/>
                <a:gd name="T72" fmla="*/ 265 w 2341"/>
                <a:gd name="T73" fmla="*/ 2761 h 5298"/>
                <a:gd name="T74" fmla="*/ 509 w 2341"/>
                <a:gd name="T75" fmla="*/ 2761 h 5298"/>
                <a:gd name="T76" fmla="*/ 509 w 2341"/>
                <a:gd name="T77" fmla="*/ 5034 h 5298"/>
                <a:gd name="T78" fmla="*/ 774 w 2341"/>
                <a:gd name="T79" fmla="*/ 5298 h 5298"/>
                <a:gd name="T80" fmla="*/ 1006 w 2341"/>
                <a:gd name="T81" fmla="*/ 5298 h 5298"/>
                <a:gd name="T82" fmla="*/ 1171 w 2341"/>
                <a:gd name="T83" fmla="*/ 5241 h 5298"/>
                <a:gd name="T84" fmla="*/ 1335 w 2341"/>
                <a:gd name="T85" fmla="*/ 5298 h 5298"/>
                <a:gd name="T86" fmla="*/ 1568 w 2341"/>
                <a:gd name="T87" fmla="*/ 5298 h 5298"/>
                <a:gd name="T88" fmla="*/ 1832 w 2341"/>
                <a:gd name="T89" fmla="*/ 5034 h 5298"/>
                <a:gd name="T90" fmla="*/ 1832 w 2341"/>
                <a:gd name="T91" fmla="*/ 2761 h 5298"/>
                <a:gd name="T92" fmla="*/ 2076 w 2341"/>
                <a:gd name="T93" fmla="*/ 2761 h 5298"/>
                <a:gd name="T94" fmla="*/ 2341 w 2341"/>
                <a:gd name="T95" fmla="*/ 2497 h 5298"/>
                <a:gd name="T96" fmla="*/ 2341 w 2341"/>
                <a:gd name="T97" fmla="*/ 1128 h 5298"/>
                <a:gd name="T98" fmla="*/ 2241 w 2341"/>
                <a:gd name="T99" fmla="*/ 1028 h 5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41" h="5298">
                  <a:moveTo>
                    <a:pt x="2241" y="1028"/>
                  </a:moveTo>
                  <a:lnTo>
                    <a:pt x="2241" y="1028"/>
                  </a:lnTo>
                  <a:cubicBezTo>
                    <a:pt x="2186" y="1028"/>
                    <a:pt x="2141" y="1073"/>
                    <a:pt x="2141" y="1128"/>
                  </a:cubicBezTo>
                  <a:lnTo>
                    <a:pt x="2141" y="2497"/>
                  </a:lnTo>
                  <a:cubicBezTo>
                    <a:pt x="2141" y="2532"/>
                    <a:pt x="2112" y="2561"/>
                    <a:pt x="2076" y="2561"/>
                  </a:cubicBezTo>
                  <a:lnTo>
                    <a:pt x="1832" y="2561"/>
                  </a:lnTo>
                  <a:lnTo>
                    <a:pt x="1832" y="796"/>
                  </a:lnTo>
                  <a:cubicBezTo>
                    <a:pt x="1832" y="741"/>
                    <a:pt x="1787" y="696"/>
                    <a:pt x="1732" y="696"/>
                  </a:cubicBezTo>
                  <a:cubicBezTo>
                    <a:pt x="1677" y="696"/>
                    <a:pt x="1632" y="741"/>
                    <a:pt x="1632" y="796"/>
                  </a:cubicBezTo>
                  <a:lnTo>
                    <a:pt x="1632" y="5034"/>
                  </a:lnTo>
                  <a:cubicBezTo>
                    <a:pt x="1632" y="5070"/>
                    <a:pt x="1603" y="5098"/>
                    <a:pt x="1568" y="5098"/>
                  </a:cubicBezTo>
                  <a:lnTo>
                    <a:pt x="1335" y="5098"/>
                  </a:lnTo>
                  <a:cubicBezTo>
                    <a:pt x="1300" y="5098"/>
                    <a:pt x="1271" y="5070"/>
                    <a:pt x="1271" y="5034"/>
                  </a:cubicBezTo>
                  <a:lnTo>
                    <a:pt x="1271" y="3443"/>
                  </a:lnTo>
                  <a:cubicBezTo>
                    <a:pt x="1271" y="3388"/>
                    <a:pt x="1226" y="3343"/>
                    <a:pt x="1171" y="3343"/>
                  </a:cubicBezTo>
                  <a:cubicBezTo>
                    <a:pt x="1115" y="3343"/>
                    <a:pt x="1071" y="3388"/>
                    <a:pt x="1071" y="3443"/>
                  </a:cubicBezTo>
                  <a:lnTo>
                    <a:pt x="1071" y="5034"/>
                  </a:lnTo>
                  <a:cubicBezTo>
                    <a:pt x="1071" y="5070"/>
                    <a:pt x="1042" y="5098"/>
                    <a:pt x="1006" y="5098"/>
                  </a:cubicBezTo>
                  <a:lnTo>
                    <a:pt x="774" y="5098"/>
                  </a:lnTo>
                  <a:cubicBezTo>
                    <a:pt x="738" y="5098"/>
                    <a:pt x="709" y="5070"/>
                    <a:pt x="709" y="5034"/>
                  </a:cubicBezTo>
                  <a:lnTo>
                    <a:pt x="709" y="796"/>
                  </a:lnTo>
                  <a:cubicBezTo>
                    <a:pt x="709" y="741"/>
                    <a:pt x="664" y="696"/>
                    <a:pt x="609" y="696"/>
                  </a:cubicBezTo>
                  <a:cubicBezTo>
                    <a:pt x="554" y="696"/>
                    <a:pt x="509" y="741"/>
                    <a:pt x="509" y="796"/>
                  </a:cubicBezTo>
                  <a:lnTo>
                    <a:pt x="509" y="2561"/>
                  </a:lnTo>
                  <a:lnTo>
                    <a:pt x="265" y="2561"/>
                  </a:lnTo>
                  <a:cubicBezTo>
                    <a:pt x="229" y="2561"/>
                    <a:pt x="200" y="2532"/>
                    <a:pt x="200" y="2497"/>
                  </a:cubicBezTo>
                  <a:lnTo>
                    <a:pt x="200" y="796"/>
                  </a:lnTo>
                  <a:cubicBezTo>
                    <a:pt x="200" y="467"/>
                    <a:pt x="468" y="200"/>
                    <a:pt x="796" y="200"/>
                  </a:cubicBezTo>
                  <a:lnTo>
                    <a:pt x="1545" y="200"/>
                  </a:lnTo>
                  <a:cubicBezTo>
                    <a:pt x="1874" y="200"/>
                    <a:pt x="2141" y="467"/>
                    <a:pt x="2141" y="796"/>
                  </a:cubicBezTo>
                  <a:cubicBezTo>
                    <a:pt x="2141" y="851"/>
                    <a:pt x="2185" y="896"/>
                    <a:pt x="2241" y="896"/>
                  </a:cubicBezTo>
                  <a:cubicBezTo>
                    <a:pt x="2296" y="896"/>
                    <a:pt x="2341" y="851"/>
                    <a:pt x="2341" y="796"/>
                  </a:cubicBezTo>
                  <a:cubicBezTo>
                    <a:pt x="2341" y="357"/>
                    <a:pt x="1984" y="0"/>
                    <a:pt x="1545" y="0"/>
                  </a:cubicBezTo>
                  <a:lnTo>
                    <a:pt x="796" y="0"/>
                  </a:lnTo>
                  <a:cubicBezTo>
                    <a:pt x="357" y="0"/>
                    <a:pt x="0" y="357"/>
                    <a:pt x="0" y="796"/>
                  </a:cubicBezTo>
                  <a:lnTo>
                    <a:pt x="0" y="2497"/>
                  </a:lnTo>
                  <a:cubicBezTo>
                    <a:pt x="0" y="2643"/>
                    <a:pt x="119" y="2761"/>
                    <a:pt x="265" y="2761"/>
                  </a:cubicBezTo>
                  <a:lnTo>
                    <a:pt x="509" y="2761"/>
                  </a:lnTo>
                  <a:lnTo>
                    <a:pt x="509" y="5034"/>
                  </a:lnTo>
                  <a:cubicBezTo>
                    <a:pt x="509" y="5180"/>
                    <a:pt x="628" y="5298"/>
                    <a:pt x="774" y="5298"/>
                  </a:cubicBezTo>
                  <a:lnTo>
                    <a:pt x="1006" y="5298"/>
                  </a:lnTo>
                  <a:cubicBezTo>
                    <a:pt x="1068" y="5298"/>
                    <a:pt x="1125" y="5277"/>
                    <a:pt x="1171" y="5241"/>
                  </a:cubicBezTo>
                  <a:cubicBezTo>
                    <a:pt x="1216" y="5277"/>
                    <a:pt x="1273" y="5298"/>
                    <a:pt x="1335" y="5298"/>
                  </a:cubicBezTo>
                  <a:lnTo>
                    <a:pt x="1568" y="5298"/>
                  </a:lnTo>
                  <a:cubicBezTo>
                    <a:pt x="1713" y="5298"/>
                    <a:pt x="1832" y="5180"/>
                    <a:pt x="1832" y="5034"/>
                  </a:cubicBezTo>
                  <a:lnTo>
                    <a:pt x="1832" y="2761"/>
                  </a:lnTo>
                  <a:lnTo>
                    <a:pt x="2076" y="2761"/>
                  </a:lnTo>
                  <a:cubicBezTo>
                    <a:pt x="2222" y="2761"/>
                    <a:pt x="2341" y="2643"/>
                    <a:pt x="2341" y="2497"/>
                  </a:cubicBezTo>
                  <a:lnTo>
                    <a:pt x="2341" y="1128"/>
                  </a:lnTo>
                  <a:cubicBezTo>
                    <a:pt x="2341" y="1073"/>
                    <a:pt x="2296" y="1028"/>
                    <a:pt x="2241" y="10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5" name="Freeform 32">
              <a:extLst>
                <a:ext uri="{FF2B5EF4-FFF2-40B4-BE49-F238E27FC236}">
                  <a16:creationId xmlns:a16="http://schemas.microsoft.com/office/drawing/2014/main" id="{B84E8F8E-145E-36DA-AE4B-67C2F70CC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4" y="3210"/>
              <a:ext cx="226" cy="226"/>
            </a:xfrm>
            <a:custGeom>
              <a:avLst/>
              <a:gdLst>
                <a:gd name="T0" fmla="*/ 722 w 1445"/>
                <a:gd name="T1" fmla="*/ 200 h 1445"/>
                <a:gd name="T2" fmla="*/ 722 w 1445"/>
                <a:gd name="T3" fmla="*/ 200 h 1445"/>
                <a:gd name="T4" fmla="*/ 1245 w 1445"/>
                <a:gd name="T5" fmla="*/ 722 h 1445"/>
                <a:gd name="T6" fmla="*/ 722 w 1445"/>
                <a:gd name="T7" fmla="*/ 1245 h 1445"/>
                <a:gd name="T8" fmla="*/ 200 w 1445"/>
                <a:gd name="T9" fmla="*/ 722 h 1445"/>
                <a:gd name="T10" fmla="*/ 722 w 1445"/>
                <a:gd name="T11" fmla="*/ 200 h 1445"/>
                <a:gd name="T12" fmla="*/ 722 w 1445"/>
                <a:gd name="T13" fmla="*/ 1445 h 1445"/>
                <a:gd name="T14" fmla="*/ 722 w 1445"/>
                <a:gd name="T15" fmla="*/ 1445 h 1445"/>
                <a:gd name="T16" fmla="*/ 1445 w 1445"/>
                <a:gd name="T17" fmla="*/ 722 h 1445"/>
                <a:gd name="T18" fmla="*/ 722 w 1445"/>
                <a:gd name="T19" fmla="*/ 0 h 1445"/>
                <a:gd name="T20" fmla="*/ 0 w 1445"/>
                <a:gd name="T21" fmla="*/ 722 h 1445"/>
                <a:gd name="T22" fmla="*/ 722 w 1445"/>
                <a:gd name="T23" fmla="*/ 1445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45" h="1445">
                  <a:moveTo>
                    <a:pt x="722" y="200"/>
                  </a:moveTo>
                  <a:lnTo>
                    <a:pt x="722" y="200"/>
                  </a:lnTo>
                  <a:cubicBezTo>
                    <a:pt x="1010" y="200"/>
                    <a:pt x="1245" y="434"/>
                    <a:pt x="1245" y="722"/>
                  </a:cubicBezTo>
                  <a:cubicBezTo>
                    <a:pt x="1245" y="1010"/>
                    <a:pt x="1010" y="1245"/>
                    <a:pt x="722" y="1245"/>
                  </a:cubicBezTo>
                  <a:cubicBezTo>
                    <a:pt x="434" y="1245"/>
                    <a:pt x="200" y="1010"/>
                    <a:pt x="200" y="722"/>
                  </a:cubicBezTo>
                  <a:cubicBezTo>
                    <a:pt x="200" y="434"/>
                    <a:pt x="434" y="200"/>
                    <a:pt x="722" y="200"/>
                  </a:cubicBezTo>
                  <a:close/>
                  <a:moveTo>
                    <a:pt x="722" y="1445"/>
                  </a:moveTo>
                  <a:lnTo>
                    <a:pt x="722" y="1445"/>
                  </a:lnTo>
                  <a:cubicBezTo>
                    <a:pt x="1120" y="1445"/>
                    <a:pt x="1445" y="1121"/>
                    <a:pt x="1445" y="722"/>
                  </a:cubicBezTo>
                  <a:cubicBezTo>
                    <a:pt x="1445" y="324"/>
                    <a:pt x="1120" y="0"/>
                    <a:pt x="722" y="0"/>
                  </a:cubicBezTo>
                  <a:cubicBezTo>
                    <a:pt x="324" y="0"/>
                    <a:pt x="0" y="324"/>
                    <a:pt x="0" y="722"/>
                  </a:cubicBezTo>
                  <a:cubicBezTo>
                    <a:pt x="0" y="1121"/>
                    <a:pt x="324" y="1445"/>
                    <a:pt x="722" y="14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6" name="Freeform 33">
              <a:extLst>
                <a:ext uri="{FF2B5EF4-FFF2-40B4-BE49-F238E27FC236}">
                  <a16:creationId xmlns:a16="http://schemas.microsoft.com/office/drawing/2014/main" id="{813AE9BB-6955-10A9-D825-E594F070C2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" y="3451"/>
              <a:ext cx="325" cy="731"/>
            </a:xfrm>
            <a:custGeom>
              <a:avLst/>
              <a:gdLst>
                <a:gd name="T0" fmla="*/ 1879 w 2079"/>
                <a:gd name="T1" fmla="*/ 2204 h 4677"/>
                <a:gd name="T2" fmla="*/ 1809 w 2079"/>
                <a:gd name="T3" fmla="*/ 2249 h 4677"/>
                <a:gd name="T4" fmla="*/ 1516 w 2079"/>
                <a:gd name="T5" fmla="*/ 494 h 4677"/>
                <a:gd name="T6" fmla="*/ 1690 w 2079"/>
                <a:gd name="T7" fmla="*/ 2990 h 4677"/>
                <a:gd name="T8" fmla="*/ 1532 w 2079"/>
                <a:gd name="T9" fmla="*/ 2990 h 4677"/>
                <a:gd name="T10" fmla="*/ 464 w 2079"/>
                <a:gd name="T11" fmla="*/ 2990 h 4677"/>
                <a:gd name="T12" fmla="*/ 651 w 2079"/>
                <a:gd name="T13" fmla="*/ 604 h 4677"/>
                <a:gd name="T14" fmla="*/ 452 w 2079"/>
                <a:gd name="T15" fmla="*/ 582 h 4677"/>
                <a:gd name="T16" fmla="*/ 244 w 2079"/>
                <a:gd name="T17" fmla="*/ 2249 h 4677"/>
                <a:gd name="T18" fmla="*/ 200 w 2079"/>
                <a:gd name="T19" fmla="*/ 710 h 4677"/>
                <a:gd name="T20" fmla="*/ 1368 w 2079"/>
                <a:gd name="T21" fmla="*/ 200 h 4677"/>
                <a:gd name="T22" fmla="*/ 1879 w 2079"/>
                <a:gd name="T23" fmla="*/ 2204 h 4677"/>
                <a:gd name="T24" fmla="*/ 1368 w 2079"/>
                <a:gd name="T25" fmla="*/ 0 h 4677"/>
                <a:gd name="T26" fmla="*/ 710 w 2079"/>
                <a:gd name="T27" fmla="*/ 0 h 4677"/>
                <a:gd name="T28" fmla="*/ 0 w 2079"/>
                <a:gd name="T29" fmla="*/ 2204 h 4677"/>
                <a:gd name="T30" fmla="*/ 247 w 2079"/>
                <a:gd name="T31" fmla="*/ 2449 h 4677"/>
                <a:gd name="T32" fmla="*/ 203 w 2079"/>
                <a:gd name="T33" fmla="*/ 3156 h 4677"/>
                <a:gd name="T34" fmla="*/ 446 w 2079"/>
                <a:gd name="T35" fmla="*/ 3190 h 4677"/>
                <a:gd name="T36" fmla="*/ 691 w 2079"/>
                <a:gd name="T37" fmla="*/ 4677 h 4677"/>
                <a:gd name="T38" fmla="*/ 1039 w 2079"/>
                <a:gd name="T39" fmla="*/ 4629 h 4677"/>
                <a:gd name="T40" fmla="*/ 1388 w 2079"/>
                <a:gd name="T41" fmla="*/ 4677 h 4677"/>
                <a:gd name="T42" fmla="*/ 1632 w 2079"/>
                <a:gd name="T43" fmla="*/ 3880 h 4677"/>
                <a:gd name="T44" fmla="*/ 1432 w 2079"/>
                <a:gd name="T45" fmla="*/ 3880 h 4677"/>
                <a:gd name="T46" fmla="*/ 1388 w 2079"/>
                <a:gd name="T47" fmla="*/ 4476 h 4677"/>
                <a:gd name="T48" fmla="*/ 1139 w 2079"/>
                <a:gd name="T49" fmla="*/ 4432 h 4677"/>
                <a:gd name="T50" fmla="*/ 1039 w 2079"/>
                <a:gd name="T51" fmla="*/ 3264 h 4677"/>
                <a:gd name="T52" fmla="*/ 939 w 2079"/>
                <a:gd name="T53" fmla="*/ 4432 h 4677"/>
                <a:gd name="T54" fmla="*/ 691 w 2079"/>
                <a:gd name="T55" fmla="*/ 4476 h 4677"/>
                <a:gd name="T56" fmla="*/ 646 w 2079"/>
                <a:gd name="T57" fmla="*/ 3190 h 4677"/>
                <a:gd name="T58" fmla="*/ 1432 w 2079"/>
                <a:gd name="T59" fmla="*/ 3560 h 4677"/>
                <a:gd name="T60" fmla="*/ 1632 w 2079"/>
                <a:gd name="T61" fmla="*/ 3560 h 4677"/>
                <a:gd name="T62" fmla="*/ 1801 w 2079"/>
                <a:gd name="T63" fmla="*/ 3190 h 4677"/>
                <a:gd name="T64" fmla="*/ 1901 w 2079"/>
                <a:gd name="T65" fmla="*/ 3079 h 4677"/>
                <a:gd name="T66" fmla="*/ 1834 w 2079"/>
                <a:gd name="T67" fmla="*/ 2449 h 4677"/>
                <a:gd name="T68" fmla="*/ 2079 w 2079"/>
                <a:gd name="T69" fmla="*/ 710 h 4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79" h="4677">
                  <a:moveTo>
                    <a:pt x="1879" y="2204"/>
                  </a:moveTo>
                  <a:lnTo>
                    <a:pt x="1879" y="2204"/>
                  </a:lnTo>
                  <a:cubicBezTo>
                    <a:pt x="1879" y="2229"/>
                    <a:pt x="1859" y="2249"/>
                    <a:pt x="1834" y="2249"/>
                  </a:cubicBezTo>
                  <a:lnTo>
                    <a:pt x="1809" y="2249"/>
                  </a:lnTo>
                  <a:lnTo>
                    <a:pt x="1626" y="582"/>
                  </a:lnTo>
                  <a:cubicBezTo>
                    <a:pt x="1620" y="528"/>
                    <a:pt x="1571" y="488"/>
                    <a:pt x="1516" y="494"/>
                  </a:cubicBezTo>
                  <a:cubicBezTo>
                    <a:pt x="1461" y="500"/>
                    <a:pt x="1421" y="549"/>
                    <a:pt x="1427" y="604"/>
                  </a:cubicBezTo>
                  <a:lnTo>
                    <a:pt x="1690" y="2990"/>
                  </a:lnTo>
                  <a:lnTo>
                    <a:pt x="1595" y="2990"/>
                  </a:lnTo>
                  <a:lnTo>
                    <a:pt x="1532" y="2990"/>
                  </a:lnTo>
                  <a:lnTo>
                    <a:pt x="546" y="2990"/>
                  </a:lnTo>
                  <a:lnTo>
                    <a:pt x="464" y="2990"/>
                  </a:lnTo>
                  <a:lnTo>
                    <a:pt x="389" y="2990"/>
                  </a:lnTo>
                  <a:lnTo>
                    <a:pt x="651" y="604"/>
                  </a:lnTo>
                  <a:cubicBezTo>
                    <a:pt x="657" y="549"/>
                    <a:pt x="617" y="500"/>
                    <a:pt x="562" y="494"/>
                  </a:cubicBezTo>
                  <a:cubicBezTo>
                    <a:pt x="507" y="488"/>
                    <a:pt x="458" y="528"/>
                    <a:pt x="452" y="582"/>
                  </a:cubicBezTo>
                  <a:lnTo>
                    <a:pt x="269" y="2249"/>
                  </a:lnTo>
                  <a:lnTo>
                    <a:pt x="244" y="2249"/>
                  </a:lnTo>
                  <a:cubicBezTo>
                    <a:pt x="219" y="2249"/>
                    <a:pt x="200" y="2229"/>
                    <a:pt x="200" y="2204"/>
                  </a:cubicBezTo>
                  <a:lnTo>
                    <a:pt x="200" y="710"/>
                  </a:lnTo>
                  <a:cubicBezTo>
                    <a:pt x="200" y="429"/>
                    <a:pt x="429" y="200"/>
                    <a:pt x="710" y="200"/>
                  </a:cubicBezTo>
                  <a:lnTo>
                    <a:pt x="1368" y="200"/>
                  </a:lnTo>
                  <a:cubicBezTo>
                    <a:pt x="1650" y="200"/>
                    <a:pt x="1879" y="429"/>
                    <a:pt x="1879" y="710"/>
                  </a:cubicBezTo>
                  <a:lnTo>
                    <a:pt x="1879" y="2204"/>
                  </a:lnTo>
                  <a:lnTo>
                    <a:pt x="1879" y="2204"/>
                  </a:lnTo>
                  <a:close/>
                  <a:moveTo>
                    <a:pt x="1368" y="0"/>
                  </a:moveTo>
                  <a:lnTo>
                    <a:pt x="1368" y="0"/>
                  </a:lnTo>
                  <a:lnTo>
                    <a:pt x="710" y="0"/>
                  </a:lnTo>
                  <a:cubicBezTo>
                    <a:pt x="318" y="0"/>
                    <a:pt x="0" y="319"/>
                    <a:pt x="0" y="710"/>
                  </a:cubicBezTo>
                  <a:lnTo>
                    <a:pt x="0" y="2204"/>
                  </a:lnTo>
                  <a:cubicBezTo>
                    <a:pt x="0" y="2339"/>
                    <a:pt x="109" y="2449"/>
                    <a:pt x="244" y="2449"/>
                  </a:cubicBezTo>
                  <a:lnTo>
                    <a:pt x="247" y="2449"/>
                  </a:lnTo>
                  <a:lnTo>
                    <a:pt x="178" y="3079"/>
                  </a:lnTo>
                  <a:cubicBezTo>
                    <a:pt x="175" y="3107"/>
                    <a:pt x="184" y="3135"/>
                    <a:pt x="203" y="3156"/>
                  </a:cubicBezTo>
                  <a:cubicBezTo>
                    <a:pt x="222" y="3177"/>
                    <a:pt x="249" y="3190"/>
                    <a:pt x="277" y="3190"/>
                  </a:cubicBezTo>
                  <a:lnTo>
                    <a:pt x="446" y="3190"/>
                  </a:lnTo>
                  <a:lnTo>
                    <a:pt x="446" y="4432"/>
                  </a:lnTo>
                  <a:cubicBezTo>
                    <a:pt x="446" y="4567"/>
                    <a:pt x="556" y="4677"/>
                    <a:pt x="691" y="4677"/>
                  </a:cubicBezTo>
                  <a:lnTo>
                    <a:pt x="895" y="4677"/>
                  </a:lnTo>
                  <a:cubicBezTo>
                    <a:pt x="949" y="4677"/>
                    <a:pt x="999" y="4659"/>
                    <a:pt x="1039" y="4629"/>
                  </a:cubicBezTo>
                  <a:cubicBezTo>
                    <a:pt x="1080" y="4659"/>
                    <a:pt x="1130" y="4677"/>
                    <a:pt x="1184" y="4677"/>
                  </a:cubicBezTo>
                  <a:lnTo>
                    <a:pt x="1388" y="4677"/>
                  </a:lnTo>
                  <a:cubicBezTo>
                    <a:pt x="1523" y="4677"/>
                    <a:pt x="1632" y="4567"/>
                    <a:pt x="1632" y="4432"/>
                  </a:cubicBezTo>
                  <a:lnTo>
                    <a:pt x="1632" y="3880"/>
                  </a:lnTo>
                  <a:cubicBezTo>
                    <a:pt x="1632" y="3825"/>
                    <a:pt x="1588" y="3780"/>
                    <a:pt x="1532" y="3780"/>
                  </a:cubicBezTo>
                  <a:cubicBezTo>
                    <a:pt x="1477" y="3780"/>
                    <a:pt x="1432" y="3825"/>
                    <a:pt x="1432" y="3880"/>
                  </a:cubicBezTo>
                  <a:lnTo>
                    <a:pt x="1432" y="4432"/>
                  </a:lnTo>
                  <a:cubicBezTo>
                    <a:pt x="1432" y="4457"/>
                    <a:pt x="1412" y="4476"/>
                    <a:pt x="1388" y="4476"/>
                  </a:cubicBezTo>
                  <a:lnTo>
                    <a:pt x="1184" y="4476"/>
                  </a:lnTo>
                  <a:cubicBezTo>
                    <a:pt x="1159" y="4476"/>
                    <a:pt x="1139" y="4457"/>
                    <a:pt x="1139" y="4432"/>
                  </a:cubicBezTo>
                  <a:lnTo>
                    <a:pt x="1139" y="3364"/>
                  </a:lnTo>
                  <a:cubicBezTo>
                    <a:pt x="1139" y="3309"/>
                    <a:pt x="1094" y="3264"/>
                    <a:pt x="1039" y="3264"/>
                  </a:cubicBezTo>
                  <a:cubicBezTo>
                    <a:pt x="984" y="3264"/>
                    <a:pt x="939" y="3309"/>
                    <a:pt x="939" y="3364"/>
                  </a:cubicBezTo>
                  <a:lnTo>
                    <a:pt x="939" y="4432"/>
                  </a:lnTo>
                  <a:cubicBezTo>
                    <a:pt x="939" y="4457"/>
                    <a:pt x="919" y="4476"/>
                    <a:pt x="895" y="4476"/>
                  </a:cubicBezTo>
                  <a:lnTo>
                    <a:pt x="691" y="4476"/>
                  </a:lnTo>
                  <a:cubicBezTo>
                    <a:pt x="666" y="4476"/>
                    <a:pt x="646" y="4457"/>
                    <a:pt x="646" y="4432"/>
                  </a:cubicBezTo>
                  <a:lnTo>
                    <a:pt x="646" y="3190"/>
                  </a:lnTo>
                  <a:lnTo>
                    <a:pt x="1432" y="3190"/>
                  </a:lnTo>
                  <a:lnTo>
                    <a:pt x="1432" y="3560"/>
                  </a:lnTo>
                  <a:cubicBezTo>
                    <a:pt x="1432" y="3615"/>
                    <a:pt x="1477" y="3660"/>
                    <a:pt x="1532" y="3660"/>
                  </a:cubicBezTo>
                  <a:cubicBezTo>
                    <a:pt x="1588" y="3660"/>
                    <a:pt x="1632" y="3615"/>
                    <a:pt x="1632" y="3560"/>
                  </a:cubicBezTo>
                  <a:lnTo>
                    <a:pt x="1632" y="3190"/>
                  </a:lnTo>
                  <a:lnTo>
                    <a:pt x="1801" y="3190"/>
                  </a:lnTo>
                  <a:cubicBezTo>
                    <a:pt x="1830" y="3190"/>
                    <a:pt x="1857" y="3177"/>
                    <a:pt x="1876" y="3156"/>
                  </a:cubicBezTo>
                  <a:cubicBezTo>
                    <a:pt x="1895" y="3135"/>
                    <a:pt x="1904" y="3107"/>
                    <a:pt x="1901" y="3079"/>
                  </a:cubicBezTo>
                  <a:lnTo>
                    <a:pt x="1831" y="2449"/>
                  </a:lnTo>
                  <a:lnTo>
                    <a:pt x="1834" y="2449"/>
                  </a:lnTo>
                  <a:cubicBezTo>
                    <a:pt x="1969" y="2449"/>
                    <a:pt x="2079" y="2339"/>
                    <a:pt x="2079" y="2204"/>
                  </a:cubicBezTo>
                  <a:lnTo>
                    <a:pt x="2079" y="710"/>
                  </a:lnTo>
                  <a:cubicBezTo>
                    <a:pt x="2079" y="319"/>
                    <a:pt x="1760" y="0"/>
                    <a:pt x="136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7" name="Freeform 34">
              <a:extLst>
                <a:ext uri="{FF2B5EF4-FFF2-40B4-BE49-F238E27FC236}">
                  <a16:creationId xmlns:a16="http://schemas.microsoft.com/office/drawing/2014/main" id="{41BED3AF-87B3-A9C7-F7AF-49B71A860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9" y="3787"/>
              <a:ext cx="331" cy="394"/>
            </a:xfrm>
            <a:custGeom>
              <a:avLst/>
              <a:gdLst>
                <a:gd name="T0" fmla="*/ 1811 w 2116"/>
                <a:gd name="T1" fmla="*/ 29 h 2525"/>
                <a:gd name="T2" fmla="*/ 1811 w 2116"/>
                <a:gd name="T3" fmla="*/ 29 h 2525"/>
                <a:gd name="T4" fmla="*/ 1624 w 2116"/>
                <a:gd name="T5" fmla="*/ 113 h 2525"/>
                <a:gd name="T6" fmla="*/ 1251 w 2116"/>
                <a:gd name="T7" fmla="*/ 511 h 2525"/>
                <a:gd name="T8" fmla="*/ 865 w 2116"/>
                <a:gd name="T9" fmla="*/ 511 h 2525"/>
                <a:gd name="T10" fmla="*/ 492 w 2116"/>
                <a:gd name="T11" fmla="*/ 113 h 2525"/>
                <a:gd name="T12" fmla="*/ 113 w 2116"/>
                <a:gd name="T13" fmla="*/ 101 h 2525"/>
                <a:gd name="T14" fmla="*/ 101 w 2116"/>
                <a:gd name="T15" fmla="*/ 480 h 2525"/>
                <a:gd name="T16" fmla="*/ 534 w 2116"/>
                <a:gd name="T17" fmla="*/ 941 h 2525"/>
                <a:gd name="T18" fmla="*/ 534 w 2116"/>
                <a:gd name="T19" fmla="*/ 2264 h 2525"/>
                <a:gd name="T20" fmla="*/ 795 w 2116"/>
                <a:gd name="T21" fmla="*/ 2525 h 2525"/>
                <a:gd name="T22" fmla="*/ 1321 w 2116"/>
                <a:gd name="T23" fmla="*/ 2525 h 2525"/>
                <a:gd name="T24" fmla="*/ 1582 w 2116"/>
                <a:gd name="T25" fmla="*/ 2264 h 2525"/>
                <a:gd name="T26" fmla="*/ 1582 w 2116"/>
                <a:gd name="T27" fmla="*/ 1715 h 2525"/>
                <a:gd name="T28" fmla="*/ 1482 w 2116"/>
                <a:gd name="T29" fmla="*/ 1615 h 2525"/>
                <a:gd name="T30" fmla="*/ 1382 w 2116"/>
                <a:gd name="T31" fmla="*/ 1715 h 2525"/>
                <a:gd name="T32" fmla="*/ 1382 w 2116"/>
                <a:gd name="T33" fmla="*/ 2264 h 2525"/>
                <a:gd name="T34" fmla="*/ 1321 w 2116"/>
                <a:gd name="T35" fmla="*/ 2325 h 2525"/>
                <a:gd name="T36" fmla="*/ 1153 w 2116"/>
                <a:gd name="T37" fmla="*/ 2325 h 2525"/>
                <a:gd name="T38" fmla="*/ 1153 w 2116"/>
                <a:gd name="T39" fmla="*/ 1491 h 2525"/>
                <a:gd name="T40" fmla="*/ 1053 w 2116"/>
                <a:gd name="T41" fmla="*/ 1391 h 2525"/>
                <a:gd name="T42" fmla="*/ 953 w 2116"/>
                <a:gd name="T43" fmla="*/ 1491 h 2525"/>
                <a:gd name="T44" fmla="*/ 953 w 2116"/>
                <a:gd name="T45" fmla="*/ 2325 h 2525"/>
                <a:gd name="T46" fmla="*/ 795 w 2116"/>
                <a:gd name="T47" fmla="*/ 2325 h 2525"/>
                <a:gd name="T48" fmla="*/ 734 w 2116"/>
                <a:gd name="T49" fmla="*/ 2264 h 2525"/>
                <a:gd name="T50" fmla="*/ 734 w 2116"/>
                <a:gd name="T51" fmla="*/ 901 h 2525"/>
                <a:gd name="T52" fmla="*/ 707 w 2116"/>
                <a:gd name="T53" fmla="*/ 833 h 2525"/>
                <a:gd name="T54" fmla="*/ 247 w 2116"/>
                <a:gd name="T55" fmla="*/ 343 h 2525"/>
                <a:gd name="T56" fmla="*/ 250 w 2116"/>
                <a:gd name="T57" fmla="*/ 247 h 2525"/>
                <a:gd name="T58" fmla="*/ 346 w 2116"/>
                <a:gd name="T59" fmla="*/ 250 h 2525"/>
                <a:gd name="T60" fmla="*/ 749 w 2116"/>
                <a:gd name="T61" fmla="*/ 679 h 2525"/>
                <a:gd name="T62" fmla="*/ 822 w 2116"/>
                <a:gd name="T63" fmla="*/ 711 h 2525"/>
                <a:gd name="T64" fmla="*/ 1294 w 2116"/>
                <a:gd name="T65" fmla="*/ 711 h 2525"/>
                <a:gd name="T66" fmla="*/ 1367 w 2116"/>
                <a:gd name="T67" fmla="*/ 679 h 2525"/>
                <a:gd name="T68" fmla="*/ 1770 w 2116"/>
                <a:gd name="T69" fmla="*/ 250 h 2525"/>
                <a:gd name="T70" fmla="*/ 1866 w 2116"/>
                <a:gd name="T71" fmla="*/ 247 h 2525"/>
                <a:gd name="T72" fmla="*/ 1869 w 2116"/>
                <a:gd name="T73" fmla="*/ 343 h 2525"/>
                <a:gd name="T74" fmla="*/ 1410 w 2116"/>
                <a:gd name="T75" fmla="*/ 833 h 2525"/>
                <a:gd name="T76" fmla="*/ 1382 w 2116"/>
                <a:gd name="T77" fmla="*/ 901 h 2525"/>
                <a:gd name="T78" fmla="*/ 1382 w 2116"/>
                <a:gd name="T79" fmla="*/ 1382 h 2525"/>
                <a:gd name="T80" fmla="*/ 1482 w 2116"/>
                <a:gd name="T81" fmla="*/ 1482 h 2525"/>
                <a:gd name="T82" fmla="*/ 1582 w 2116"/>
                <a:gd name="T83" fmla="*/ 1382 h 2525"/>
                <a:gd name="T84" fmla="*/ 1582 w 2116"/>
                <a:gd name="T85" fmla="*/ 941 h 2525"/>
                <a:gd name="T86" fmla="*/ 2015 w 2116"/>
                <a:gd name="T87" fmla="*/ 480 h 2525"/>
                <a:gd name="T88" fmla="*/ 2003 w 2116"/>
                <a:gd name="T89" fmla="*/ 101 h 2525"/>
                <a:gd name="T90" fmla="*/ 1811 w 2116"/>
                <a:gd name="T91" fmla="*/ 29 h 2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16" h="2525">
                  <a:moveTo>
                    <a:pt x="1811" y="29"/>
                  </a:moveTo>
                  <a:lnTo>
                    <a:pt x="1811" y="29"/>
                  </a:lnTo>
                  <a:cubicBezTo>
                    <a:pt x="1739" y="31"/>
                    <a:pt x="1673" y="61"/>
                    <a:pt x="1624" y="113"/>
                  </a:cubicBezTo>
                  <a:lnTo>
                    <a:pt x="1251" y="511"/>
                  </a:lnTo>
                  <a:lnTo>
                    <a:pt x="865" y="511"/>
                  </a:lnTo>
                  <a:lnTo>
                    <a:pt x="492" y="113"/>
                  </a:lnTo>
                  <a:cubicBezTo>
                    <a:pt x="391" y="6"/>
                    <a:pt x="221" y="0"/>
                    <a:pt x="113" y="101"/>
                  </a:cubicBezTo>
                  <a:cubicBezTo>
                    <a:pt x="5" y="203"/>
                    <a:pt x="0" y="373"/>
                    <a:pt x="101" y="480"/>
                  </a:cubicBezTo>
                  <a:lnTo>
                    <a:pt x="534" y="941"/>
                  </a:lnTo>
                  <a:lnTo>
                    <a:pt x="534" y="2264"/>
                  </a:lnTo>
                  <a:cubicBezTo>
                    <a:pt x="534" y="2408"/>
                    <a:pt x="651" y="2525"/>
                    <a:pt x="795" y="2525"/>
                  </a:cubicBezTo>
                  <a:lnTo>
                    <a:pt x="1321" y="2525"/>
                  </a:lnTo>
                  <a:cubicBezTo>
                    <a:pt x="1465" y="2525"/>
                    <a:pt x="1582" y="2408"/>
                    <a:pt x="1582" y="2264"/>
                  </a:cubicBezTo>
                  <a:lnTo>
                    <a:pt x="1582" y="1715"/>
                  </a:lnTo>
                  <a:cubicBezTo>
                    <a:pt x="1582" y="1660"/>
                    <a:pt x="1538" y="1615"/>
                    <a:pt x="1482" y="1615"/>
                  </a:cubicBezTo>
                  <a:cubicBezTo>
                    <a:pt x="1427" y="1615"/>
                    <a:pt x="1382" y="1660"/>
                    <a:pt x="1382" y="1715"/>
                  </a:cubicBezTo>
                  <a:lnTo>
                    <a:pt x="1382" y="2264"/>
                  </a:lnTo>
                  <a:cubicBezTo>
                    <a:pt x="1382" y="2298"/>
                    <a:pt x="1355" y="2325"/>
                    <a:pt x="1321" y="2325"/>
                  </a:cubicBezTo>
                  <a:lnTo>
                    <a:pt x="1153" y="2325"/>
                  </a:lnTo>
                  <a:lnTo>
                    <a:pt x="1153" y="1491"/>
                  </a:lnTo>
                  <a:cubicBezTo>
                    <a:pt x="1153" y="1436"/>
                    <a:pt x="1109" y="1391"/>
                    <a:pt x="1053" y="1391"/>
                  </a:cubicBezTo>
                  <a:cubicBezTo>
                    <a:pt x="998" y="1391"/>
                    <a:pt x="953" y="1436"/>
                    <a:pt x="953" y="1491"/>
                  </a:cubicBezTo>
                  <a:lnTo>
                    <a:pt x="953" y="2325"/>
                  </a:lnTo>
                  <a:lnTo>
                    <a:pt x="795" y="2325"/>
                  </a:lnTo>
                  <a:cubicBezTo>
                    <a:pt x="761" y="2325"/>
                    <a:pt x="734" y="2298"/>
                    <a:pt x="734" y="2264"/>
                  </a:cubicBezTo>
                  <a:lnTo>
                    <a:pt x="734" y="901"/>
                  </a:lnTo>
                  <a:cubicBezTo>
                    <a:pt x="734" y="876"/>
                    <a:pt x="724" y="851"/>
                    <a:pt x="707" y="833"/>
                  </a:cubicBezTo>
                  <a:lnTo>
                    <a:pt x="247" y="343"/>
                  </a:lnTo>
                  <a:cubicBezTo>
                    <a:pt x="221" y="316"/>
                    <a:pt x="223" y="273"/>
                    <a:pt x="250" y="247"/>
                  </a:cubicBezTo>
                  <a:cubicBezTo>
                    <a:pt x="277" y="222"/>
                    <a:pt x="321" y="223"/>
                    <a:pt x="346" y="250"/>
                  </a:cubicBezTo>
                  <a:lnTo>
                    <a:pt x="749" y="679"/>
                  </a:lnTo>
                  <a:cubicBezTo>
                    <a:pt x="768" y="699"/>
                    <a:pt x="794" y="711"/>
                    <a:pt x="822" y="711"/>
                  </a:cubicBezTo>
                  <a:lnTo>
                    <a:pt x="1294" y="711"/>
                  </a:lnTo>
                  <a:cubicBezTo>
                    <a:pt x="1322" y="711"/>
                    <a:pt x="1348" y="699"/>
                    <a:pt x="1367" y="679"/>
                  </a:cubicBezTo>
                  <a:lnTo>
                    <a:pt x="1770" y="250"/>
                  </a:lnTo>
                  <a:cubicBezTo>
                    <a:pt x="1796" y="223"/>
                    <a:pt x="1839" y="222"/>
                    <a:pt x="1866" y="247"/>
                  </a:cubicBezTo>
                  <a:cubicBezTo>
                    <a:pt x="1893" y="273"/>
                    <a:pt x="1895" y="316"/>
                    <a:pt x="1869" y="343"/>
                  </a:cubicBezTo>
                  <a:lnTo>
                    <a:pt x="1410" y="833"/>
                  </a:lnTo>
                  <a:cubicBezTo>
                    <a:pt x="1392" y="851"/>
                    <a:pt x="1382" y="876"/>
                    <a:pt x="1382" y="901"/>
                  </a:cubicBezTo>
                  <a:lnTo>
                    <a:pt x="1382" y="1382"/>
                  </a:lnTo>
                  <a:cubicBezTo>
                    <a:pt x="1382" y="1437"/>
                    <a:pt x="1427" y="1482"/>
                    <a:pt x="1482" y="1482"/>
                  </a:cubicBezTo>
                  <a:cubicBezTo>
                    <a:pt x="1538" y="1482"/>
                    <a:pt x="1582" y="1437"/>
                    <a:pt x="1582" y="1382"/>
                  </a:cubicBezTo>
                  <a:lnTo>
                    <a:pt x="1582" y="941"/>
                  </a:lnTo>
                  <a:lnTo>
                    <a:pt x="2015" y="480"/>
                  </a:lnTo>
                  <a:cubicBezTo>
                    <a:pt x="2116" y="373"/>
                    <a:pt x="2111" y="203"/>
                    <a:pt x="2003" y="101"/>
                  </a:cubicBezTo>
                  <a:cubicBezTo>
                    <a:pt x="1951" y="52"/>
                    <a:pt x="1883" y="27"/>
                    <a:pt x="1811" y="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58" name="Group 4">
            <a:extLst>
              <a:ext uri="{FF2B5EF4-FFF2-40B4-BE49-F238E27FC236}">
                <a16:creationId xmlns:a16="http://schemas.microsoft.com/office/drawing/2014/main" id="{EC6803C3-E197-38D5-F0C4-5B84A2673827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7223323" y="2600894"/>
            <a:ext cx="579275" cy="579271"/>
            <a:chOff x="2014" y="2388"/>
            <a:chExt cx="454" cy="454"/>
          </a:xfrm>
          <a:solidFill>
            <a:sysClr val="window" lastClr="FFFFFF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0496EBCB-4B71-77C4-0A70-C80EAFA5B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" y="2409"/>
              <a:ext cx="445" cy="433"/>
            </a:xfrm>
            <a:custGeom>
              <a:avLst/>
              <a:gdLst>
                <a:gd name="T0" fmla="*/ 0 w 2083"/>
                <a:gd name="T1" fmla="*/ 214 h 2027"/>
                <a:gd name="T2" fmla="*/ 62 w 2083"/>
                <a:gd name="T3" fmla="*/ 393 h 2027"/>
                <a:gd name="T4" fmla="*/ 367 w 2083"/>
                <a:gd name="T5" fmla="*/ 72 h 2027"/>
                <a:gd name="T6" fmla="*/ 673 w 2083"/>
                <a:gd name="T7" fmla="*/ 605 h 2027"/>
                <a:gd name="T8" fmla="*/ 62 w 2083"/>
                <a:gd name="T9" fmla="*/ 605 h 2027"/>
                <a:gd name="T10" fmla="*/ 0 w 2083"/>
                <a:gd name="T11" fmla="*/ 455 h 2027"/>
                <a:gd name="T12" fmla="*/ 336 w 2083"/>
                <a:gd name="T13" fmla="*/ 836 h 2027"/>
                <a:gd name="T14" fmla="*/ 0 w 2083"/>
                <a:gd name="T15" fmla="*/ 1386 h 2027"/>
                <a:gd name="T16" fmla="*/ 140 w 2083"/>
                <a:gd name="T17" fmla="*/ 1894 h 2027"/>
                <a:gd name="T18" fmla="*/ 62 w 2083"/>
                <a:gd name="T19" fmla="*/ 1777 h 2027"/>
                <a:gd name="T20" fmla="*/ 367 w 2083"/>
                <a:gd name="T21" fmla="*/ 1245 h 2027"/>
                <a:gd name="T22" fmla="*/ 673 w 2083"/>
                <a:gd name="T23" fmla="*/ 1777 h 2027"/>
                <a:gd name="T24" fmla="*/ 225 w 2083"/>
                <a:gd name="T25" fmla="*/ 1872 h 2027"/>
                <a:gd name="T26" fmla="*/ 367 w 2083"/>
                <a:gd name="T27" fmla="*/ 2027 h 2027"/>
                <a:gd name="T28" fmla="*/ 841 w 2083"/>
                <a:gd name="T29" fmla="*/ 1910 h 2027"/>
                <a:gd name="T30" fmla="*/ 735 w 2083"/>
                <a:gd name="T31" fmla="*/ 1777 h 2027"/>
                <a:gd name="T32" fmla="*/ 1041 w 2083"/>
                <a:gd name="T33" fmla="*/ 1245 h 2027"/>
                <a:gd name="T34" fmla="*/ 1347 w 2083"/>
                <a:gd name="T35" fmla="*/ 1777 h 2027"/>
                <a:gd name="T36" fmla="*/ 926 w 2083"/>
                <a:gd name="T37" fmla="*/ 1888 h 2027"/>
                <a:gd name="T38" fmla="*/ 1041 w 2083"/>
                <a:gd name="T39" fmla="*/ 2027 h 2027"/>
                <a:gd name="T40" fmla="*/ 1715 w 2083"/>
                <a:gd name="T41" fmla="*/ 2027 h 2027"/>
                <a:gd name="T42" fmla="*/ 2083 w 2083"/>
                <a:gd name="T43" fmla="*/ 1386 h 2027"/>
                <a:gd name="T44" fmla="*/ 1897 w 2083"/>
                <a:gd name="T45" fmla="*/ 1350 h 2027"/>
                <a:gd name="T46" fmla="*/ 2020 w 2083"/>
                <a:gd name="T47" fmla="*/ 1777 h 2027"/>
                <a:gd name="T48" fmla="*/ 1409 w 2083"/>
                <a:gd name="T49" fmla="*/ 1777 h 2027"/>
                <a:gd name="T50" fmla="*/ 1715 w 2083"/>
                <a:gd name="T51" fmla="*/ 1245 h 2027"/>
                <a:gd name="T52" fmla="*/ 1874 w 2083"/>
                <a:gd name="T53" fmla="*/ 1265 h 2027"/>
                <a:gd name="T54" fmla="*/ 1378 w 2083"/>
                <a:gd name="T55" fmla="*/ 1368 h 2027"/>
                <a:gd name="T56" fmla="*/ 1072 w 2083"/>
                <a:gd name="T57" fmla="*/ 800 h 2027"/>
                <a:gd name="T58" fmla="*/ 896 w 2083"/>
                <a:gd name="T59" fmla="*/ 770 h 2027"/>
                <a:gd name="T60" fmla="*/ 1010 w 2083"/>
                <a:gd name="T61" fmla="*/ 1191 h 2027"/>
                <a:gd name="T62" fmla="*/ 399 w 2083"/>
                <a:gd name="T63" fmla="*/ 1191 h 2027"/>
                <a:gd name="T64" fmla="*/ 704 w 2083"/>
                <a:gd name="T65" fmla="*/ 659 h 2027"/>
                <a:gd name="T66" fmla="*/ 873 w 2083"/>
                <a:gd name="T67" fmla="*/ 685 h 2027"/>
                <a:gd name="T68" fmla="*/ 735 w 2083"/>
                <a:gd name="T69" fmla="*/ 214 h 2027"/>
                <a:gd name="T70" fmla="*/ 0 w 2083"/>
                <a:gd name="T71" fmla="*/ 214 h 2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83" h="2027">
                  <a:moveTo>
                    <a:pt x="0" y="214"/>
                  </a:moveTo>
                  <a:lnTo>
                    <a:pt x="0" y="214"/>
                  </a:lnTo>
                  <a:lnTo>
                    <a:pt x="0" y="393"/>
                  </a:lnTo>
                  <a:lnTo>
                    <a:pt x="62" y="393"/>
                  </a:lnTo>
                  <a:lnTo>
                    <a:pt x="62" y="250"/>
                  </a:lnTo>
                  <a:lnTo>
                    <a:pt x="367" y="72"/>
                  </a:lnTo>
                  <a:lnTo>
                    <a:pt x="673" y="250"/>
                  </a:lnTo>
                  <a:lnTo>
                    <a:pt x="673" y="605"/>
                  </a:lnTo>
                  <a:lnTo>
                    <a:pt x="367" y="782"/>
                  </a:lnTo>
                  <a:lnTo>
                    <a:pt x="62" y="605"/>
                  </a:lnTo>
                  <a:lnTo>
                    <a:pt x="62" y="455"/>
                  </a:lnTo>
                  <a:lnTo>
                    <a:pt x="0" y="455"/>
                  </a:lnTo>
                  <a:lnTo>
                    <a:pt x="0" y="640"/>
                  </a:lnTo>
                  <a:lnTo>
                    <a:pt x="336" y="836"/>
                  </a:lnTo>
                  <a:lnTo>
                    <a:pt x="336" y="1191"/>
                  </a:lnTo>
                  <a:lnTo>
                    <a:pt x="0" y="1386"/>
                  </a:lnTo>
                  <a:lnTo>
                    <a:pt x="0" y="1813"/>
                  </a:lnTo>
                  <a:lnTo>
                    <a:pt x="140" y="1894"/>
                  </a:lnTo>
                  <a:lnTo>
                    <a:pt x="171" y="1840"/>
                  </a:lnTo>
                  <a:lnTo>
                    <a:pt x="62" y="1777"/>
                  </a:lnTo>
                  <a:lnTo>
                    <a:pt x="62" y="1422"/>
                  </a:lnTo>
                  <a:lnTo>
                    <a:pt x="367" y="1245"/>
                  </a:lnTo>
                  <a:lnTo>
                    <a:pt x="673" y="1422"/>
                  </a:lnTo>
                  <a:lnTo>
                    <a:pt x="673" y="1777"/>
                  </a:lnTo>
                  <a:lnTo>
                    <a:pt x="367" y="1954"/>
                  </a:lnTo>
                  <a:lnTo>
                    <a:pt x="225" y="1872"/>
                  </a:lnTo>
                  <a:lnTo>
                    <a:pt x="194" y="1926"/>
                  </a:lnTo>
                  <a:lnTo>
                    <a:pt x="367" y="2027"/>
                  </a:lnTo>
                  <a:lnTo>
                    <a:pt x="704" y="1831"/>
                  </a:lnTo>
                  <a:lnTo>
                    <a:pt x="841" y="1910"/>
                  </a:lnTo>
                  <a:lnTo>
                    <a:pt x="872" y="1856"/>
                  </a:lnTo>
                  <a:lnTo>
                    <a:pt x="735" y="1777"/>
                  </a:lnTo>
                  <a:lnTo>
                    <a:pt x="735" y="1422"/>
                  </a:lnTo>
                  <a:lnTo>
                    <a:pt x="1041" y="1245"/>
                  </a:lnTo>
                  <a:lnTo>
                    <a:pt x="1347" y="1422"/>
                  </a:lnTo>
                  <a:lnTo>
                    <a:pt x="1347" y="1777"/>
                  </a:lnTo>
                  <a:lnTo>
                    <a:pt x="1041" y="1954"/>
                  </a:lnTo>
                  <a:lnTo>
                    <a:pt x="926" y="1888"/>
                  </a:lnTo>
                  <a:lnTo>
                    <a:pt x="895" y="1942"/>
                  </a:lnTo>
                  <a:lnTo>
                    <a:pt x="1041" y="2027"/>
                  </a:lnTo>
                  <a:lnTo>
                    <a:pt x="1378" y="1831"/>
                  </a:lnTo>
                  <a:lnTo>
                    <a:pt x="1715" y="2027"/>
                  </a:lnTo>
                  <a:lnTo>
                    <a:pt x="2083" y="1813"/>
                  </a:lnTo>
                  <a:lnTo>
                    <a:pt x="2083" y="1386"/>
                  </a:lnTo>
                  <a:lnTo>
                    <a:pt x="1928" y="1296"/>
                  </a:lnTo>
                  <a:lnTo>
                    <a:pt x="1897" y="1350"/>
                  </a:lnTo>
                  <a:lnTo>
                    <a:pt x="2020" y="1422"/>
                  </a:lnTo>
                  <a:lnTo>
                    <a:pt x="2020" y="1777"/>
                  </a:lnTo>
                  <a:lnTo>
                    <a:pt x="1715" y="1954"/>
                  </a:lnTo>
                  <a:lnTo>
                    <a:pt x="1409" y="1777"/>
                  </a:lnTo>
                  <a:lnTo>
                    <a:pt x="1409" y="1422"/>
                  </a:lnTo>
                  <a:lnTo>
                    <a:pt x="1715" y="1245"/>
                  </a:lnTo>
                  <a:lnTo>
                    <a:pt x="1843" y="1319"/>
                  </a:lnTo>
                  <a:lnTo>
                    <a:pt x="1874" y="1265"/>
                  </a:lnTo>
                  <a:lnTo>
                    <a:pt x="1715" y="1173"/>
                  </a:lnTo>
                  <a:lnTo>
                    <a:pt x="1378" y="1368"/>
                  </a:lnTo>
                  <a:lnTo>
                    <a:pt x="1072" y="1191"/>
                  </a:lnTo>
                  <a:lnTo>
                    <a:pt x="1072" y="800"/>
                  </a:lnTo>
                  <a:lnTo>
                    <a:pt x="927" y="716"/>
                  </a:lnTo>
                  <a:lnTo>
                    <a:pt x="896" y="770"/>
                  </a:lnTo>
                  <a:lnTo>
                    <a:pt x="1010" y="836"/>
                  </a:lnTo>
                  <a:lnTo>
                    <a:pt x="1010" y="1191"/>
                  </a:lnTo>
                  <a:lnTo>
                    <a:pt x="704" y="1368"/>
                  </a:lnTo>
                  <a:lnTo>
                    <a:pt x="399" y="1191"/>
                  </a:lnTo>
                  <a:lnTo>
                    <a:pt x="399" y="836"/>
                  </a:lnTo>
                  <a:lnTo>
                    <a:pt x="704" y="659"/>
                  </a:lnTo>
                  <a:lnTo>
                    <a:pt x="842" y="739"/>
                  </a:lnTo>
                  <a:lnTo>
                    <a:pt x="873" y="685"/>
                  </a:lnTo>
                  <a:lnTo>
                    <a:pt x="735" y="605"/>
                  </a:lnTo>
                  <a:lnTo>
                    <a:pt x="735" y="214"/>
                  </a:lnTo>
                  <a:lnTo>
                    <a:pt x="367" y="0"/>
                  </a:lnTo>
                  <a:lnTo>
                    <a:pt x="0" y="21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8BF15911-6AE5-ADA0-079E-6C706BED00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3" y="2388"/>
              <a:ext cx="275" cy="244"/>
            </a:xfrm>
            <a:custGeom>
              <a:avLst/>
              <a:gdLst>
                <a:gd name="T0" fmla="*/ 177 w 1285"/>
                <a:gd name="T1" fmla="*/ 253 h 1143"/>
                <a:gd name="T2" fmla="*/ 177 w 1285"/>
                <a:gd name="T3" fmla="*/ 253 h 1143"/>
                <a:gd name="T4" fmla="*/ 291 w 1285"/>
                <a:gd name="T5" fmla="*/ 367 h 1143"/>
                <a:gd name="T6" fmla="*/ 177 w 1285"/>
                <a:gd name="T7" fmla="*/ 481 h 1143"/>
                <a:gd name="T8" fmla="*/ 63 w 1285"/>
                <a:gd name="T9" fmla="*/ 367 h 1143"/>
                <a:gd name="T10" fmla="*/ 177 w 1285"/>
                <a:gd name="T11" fmla="*/ 253 h 1143"/>
                <a:gd name="T12" fmla="*/ 738 w 1285"/>
                <a:gd name="T13" fmla="*/ 319 h 1143"/>
                <a:gd name="T14" fmla="*/ 738 w 1285"/>
                <a:gd name="T15" fmla="*/ 319 h 1143"/>
                <a:gd name="T16" fmla="*/ 936 w 1285"/>
                <a:gd name="T17" fmla="*/ 517 h 1143"/>
                <a:gd name="T18" fmla="*/ 738 w 1285"/>
                <a:gd name="T19" fmla="*/ 714 h 1143"/>
                <a:gd name="T20" fmla="*/ 541 w 1285"/>
                <a:gd name="T21" fmla="*/ 517 h 1143"/>
                <a:gd name="T22" fmla="*/ 738 w 1285"/>
                <a:gd name="T23" fmla="*/ 319 h 1143"/>
                <a:gd name="T24" fmla="*/ 599 w 1285"/>
                <a:gd name="T25" fmla="*/ 966 h 1143"/>
                <a:gd name="T26" fmla="*/ 599 w 1285"/>
                <a:gd name="T27" fmla="*/ 966 h 1143"/>
                <a:gd name="T28" fmla="*/ 485 w 1285"/>
                <a:gd name="T29" fmla="*/ 1080 h 1143"/>
                <a:gd name="T30" fmla="*/ 370 w 1285"/>
                <a:gd name="T31" fmla="*/ 966 h 1143"/>
                <a:gd name="T32" fmla="*/ 485 w 1285"/>
                <a:gd name="T33" fmla="*/ 852 h 1143"/>
                <a:gd name="T34" fmla="*/ 599 w 1285"/>
                <a:gd name="T35" fmla="*/ 966 h 1143"/>
                <a:gd name="T36" fmla="*/ 1108 w 1285"/>
                <a:gd name="T37" fmla="*/ 62 h 1143"/>
                <a:gd name="T38" fmla="*/ 1108 w 1285"/>
                <a:gd name="T39" fmla="*/ 62 h 1143"/>
                <a:gd name="T40" fmla="*/ 1223 w 1285"/>
                <a:gd name="T41" fmla="*/ 176 h 1143"/>
                <a:gd name="T42" fmla="*/ 1108 w 1285"/>
                <a:gd name="T43" fmla="*/ 290 h 1143"/>
                <a:gd name="T44" fmla="*/ 994 w 1285"/>
                <a:gd name="T45" fmla="*/ 176 h 1143"/>
                <a:gd name="T46" fmla="*/ 1108 w 1285"/>
                <a:gd name="T47" fmla="*/ 62 h 1143"/>
                <a:gd name="T48" fmla="*/ 177 w 1285"/>
                <a:gd name="T49" fmla="*/ 544 h 1143"/>
                <a:gd name="T50" fmla="*/ 177 w 1285"/>
                <a:gd name="T51" fmla="*/ 544 h 1143"/>
                <a:gd name="T52" fmla="*/ 338 w 1285"/>
                <a:gd name="T53" fmla="*/ 440 h 1143"/>
                <a:gd name="T54" fmla="*/ 482 w 1285"/>
                <a:gd name="T55" fmla="*/ 475 h 1143"/>
                <a:gd name="T56" fmla="*/ 479 w 1285"/>
                <a:gd name="T57" fmla="*/ 517 h 1143"/>
                <a:gd name="T58" fmla="*/ 594 w 1285"/>
                <a:gd name="T59" fmla="*/ 733 h 1143"/>
                <a:gd name="T60" fmla="*/ 544 w 1285"/>
                <a:gd name="T61" fmla="*/ 800 h 1143"/>
                <a:gd name="T62" fmla="*/ 485 w 1285"/>
                <a:gd name="T63" fmla="*/ 789 h 1143"/>
                <a:gd name="T64" fmla="*/ 308 w 1285"/>
                <a:gd name="T65" fmla="*/ 966 h 1143"/>
                <a:gd name="T66" fmla="*/ 485 w 1285"/>
                <a:gd name="T67" fmla="*/ 1143 h 1143"/>
                <a:gd name="T68" fmla="*/ 661 w 1285"/>
                <a:gd name="T69" fmla="*/ 966 h 1143"/>
                <a:gd name="T70" fmla="*/ 599 w 1285"/>
                <a:gd name="T71" fmla="*/ 831 h 1143"/>
                <a:gd name="T72" fmla="*/ 650 w 1285"/>
                <a:gd name="T73" fmla="*/ 761 h 1143"/>
                <a:gd name="T74" fmla="*/ 738 w 1285"/>
                <a:gd name="T75" fmla="*/ 777 h 1143"/>
                <a:gd name="T76" fmla="*/ 998 w 1285"/>
                <a:gd name="T77" fmla="*/ 517 h 1143"/>
                <a:gd name="T78" fmla="*/ 959 w 1285"/>
                <a:gd name="T79" fmla="*/ 379 h 1143"/>
                <a:gd name="T80" fmla="*/ 1016 w 1285"/>
                <a:gd name="T81" fmla="*/ 327 h 1143"/>
                <a:gd name="T82" fmla="*/ 1108 w 1285"/>
                <a:gd name="T83" fmla="*/ 353 h 1143"/>
                <a:gd name="T84" fmla="*/ 1285 w 1285"/>
                <a:gd name="T85" fmla="*/ 176 h 1143"/>
                <a:gd name="T86" fmla="*/ 1108 w 1285"/>
                <a:gd name="T87" fmla="*/ 0 h 1143"/>
                <a:gd name="T88" fmla="*/ 932 w 1285"/>
                <a:gd name="T89" fmla="*/ 176 h 1143"/>
                <a:gd name="T90" fmla="*/ 970 w 1285"/>
                <a:gd name="T91" fmla="*/ 285 h 1143"/>
                <a:gd name="T92" fmla="*/ 919 w 1285"/>
                <a:gd name="T93" fmla="*/ 331 h 1143"/>
                <a:gd name="T94" fmla="*/ 738 w 1285"/>
                <a:gd name="T95" fmla="*/ 257 h 1143"/>
                <a:gd name="T96" fmla="*/ 499 w 1285"/>
                <a:gd name="T97" fmla="*/ 415 h 1143"/>
                <a:gd name="T98" fmla="*/ 353 w 1285"/>
                <a:gd name="T99" fmla="*/ 380 h 1143"/>
                <a:gd name="T100" fmla="*/ 354 w 1285"/>
                <a:gd name="T101" fmla="*/ 367 h 1143"/>
                <a:gd name="T102" fmla="*/ 177 w 1285"/>
                <a:gd name="T103" fmla="*/ 190 h 1143"/>
                <a:gd name="T104" fmla="*/ 0 w 1285"/>
                <a:gd name="T105" fmla="*/ 367 h 1143"/>
                <a:gd name="T106" fmla="*/ 177 w 1285"/>
                <a:gd name="T107" fmla="*/ 544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85" h="1143">
                  <a:moveTo>
                    <a:pt x="177" y="253"/>
                  </a:moveTo>
                  <a:lnTo>
                    <a:pt x="177" y="253"/>
                  </a:lnTo>
                  <a:cubicBezTo>
                    <a:pt x="240" y="253"/>
                    <a:pt x="291" y="304"/>
                    <a:pt x="291" y="367"/>
                  </a:cubicBezTo>
                  <a:cubicBezTo>
                    <a:pt x="291" y="430"/>
                    <a:pt x="240" y="481"/>
                    <a:pt x="177" y="481"/>
                  </a:cubicBezTo>
                  <a:cubicBezTo>
                    <a:pt x="114" y="481"/>
                    <a:pt x="63" y="430"/>
                    <a:pt x="63" y="367"/>
                  </a:cubicBezTo>
                  <a:cubicBezTo>
                    <a:pt x="63" y="304"/>
                    <a:pt x="114" y="253"/>
                    <a:pt x="177" y="253"/>
                  </a:cubicBezTo>
                  <a:close/>
                  <a:moveTo>
                    <a:pt x="738" y="319"/>
                  </a:moveTo>
                  <a:lnTo>
                    <a:pt x="738" y="319"/>
                  </a:lnTo>
                  <a:cubicBezTo>
                    <a:pt x="847" y="319"/>
                    <a:pt x="936" y="408"/>
                    <a:pt x="936" y="517"/>
                  </a:cubicBezTo>
                  <a:cubicBezTo>
                    <a:pt x="936" y="626"/>
                    <a:pt x="847" y="714"/>
                    <a:pt x="738" y="714"/>
                  </a:cubicBezTo>
                  <a:cubicBezTo>
                    <a:pt x="629" y="714"/>
                    <a:pt x="541" y="626"/>
                    <a:pt x="541" y="517"/>
                  </a:cubicBezTo>
                  <a:cubicBezTo>
                    <a:pt x="541" y="408"/>
                    <a:pt x="629" y="319"/>
                    <a:pt x="738" y="319"/>
                  </a:cubicBezTo>
                  <a:close/>
                  <a:moveTo>
                    <a:pt x="599" y="966"/>
                  </a:moveTo>
                  <a:lnTo>
                    <a:pt x="599" y="966"/>
                  </a:lnTo>
                  <a:cubicBezTo>
                    <a:pt x="599" y="1029"/>
                    <a:pt x="548" y="1080"/>
                    <a:pt x="485" y="1080"/>
                  </a:cubicBezTo>
                  <a:cubicBezTo>
                    <a:pt x="422" y="1080"/>
                    <a:pt x="370" y="1029"/>
                    <a:pt x="370" y="966"/>
                  </a:cubicBezTo>
                  <a:cubicBezTo>
                    <a:pt x="370" y="903"/>
                    <a:pt x="422" y="852"/>
                    <a:pt x="485" y="852"/>
                  </a:cubicBezTo>
                  <a:cubicBezTo>
                    <a:pt x="548" y="852"/>
                    <a:pt x="599" y="903"/>
                    <a:pt x="599" y="966"/>
                  </a:cubicBezTo>
                  <a:close/>
                  <a:moveTo>
                    <a:pt x="1108" y="62"/>
                  </a:moveTo>
                  <a:lnTo>
                    <a:pt x="1108" y="62"/>
                  </a:lnTo>
                  <a:cubicBezTo>
                    <a:pt x="1171" y="62"/>
                    <a:pt x="1223" y="113"/>
                    <a:pt x="1223" y="176"/>
                  </a:cubicBezTo>
                  <a:cubicBezTo>
                    <a:pt x="1223" y="239"/>
                    <a:pt x="1171" y="290"/>
                    <a:pt x="1108" y="290"/>
                  </a:cubicBezTo>
                  <a:cubicBezTo>
                    <a:pt x="1045" y="290"/>
                    <a:pt x="994" y="239"/>
                    <a:pt x="994" y="176"/>
                  </a:cubicBezTo>
                  <a:cubicBezTo>
                    <a:pt x="994" y="113"/>
                    <a:pt x="1045" y="62"/>
                    <a:pt x="1108" y="62"/>
                  </a:cubicBezTo>
                  <a:close/>
                  <a:moveTo>
                    <a:pt x="177" y="544"/>
                  </a:moveTo>
                  <a:lnTo>
                    <a:pt x="177" y="544"/>
                  </a:lnTo>
                  <a:cubicBezTo>
                    <a:pt x="248" y="544"/>
                    <a:pt x="310" y="501"/>
                    <a:pt x="338" y="440"/>
                  </a:cubicBezTo>
                  <a:lnTo>
                    <a:pt x="482" y="475"/>
                  </a:lnTo>
                  <a:cubicBezTo>
                    <a:pt x="480" y="488"/>
                    <a:pt x="479" y="502"/>
                    <a:pt x="479" y="517"/>
                  </a:cubicBezTo>
                  <a:cubicBezTo>
                    <a:pt x="479" y="607"/>
                    <a:pt x="524" y="686"/>
                    <a:pt x="594" y="733"/>
                  </a:cubicBezTo>
                  <a:lnTo>
                    <a:pt x="544" y="800"/>
                  </a:lnTo>
                  <a:cubicBezTo>
                    <a:pt x="526" y="793"/>
                    <a:pt x="506" y="789"/>
                    <a:pt x="485" y="789"/>
                  </a:cubicBezTo>
                  <a:cubicBezTo>
                    <a:pt x="387" y="789"/>
                    <a:pt x="308" y="868"/>
                    <a:pt x="308" y="966"/>
                  </a:cubicBezTo>
                  <a:cubicBezTo>
                    <a:pt x="308" y="1063"/>
                    <a:pt x="387" y="1143"/>
                    <a:pt x="485" y="1143"/>
                  </a:cubicBezTo>
                  <a:cubicBezTo>
                    <a:pt x="582" y="1143"/>
                    <a:pt x="661" y="1063"/>
                    <a:pt x="661" y="966"/>
                  </a:cubicBezTo>
                  <a:cubicBezTo>
                    <a:pt x="661" y="912"/>
                    <a:pt x="637" y="863"/>
                    <a:pt x="599" y="831"/>
                  </a:cubicBezTo>
                  <a:lnTo>
                    <a:pt x="650" y="761"/>
                  </a:lnTo>
                  <a:cubicBezTo>
                    <a:pt x="678" y="771"/>
                    <a:pt x="707" y="777"/>
                    <a:pt x="738" y="777"/>
                  </a:cubicBezTo>
                  <a:cubicBezTo>
                    <a:pt x="882" y="777"/>
                    <a:pt x="998" y="660"/>
                    <a:pt x="998" y="517"/>
                  </a:cubicBezTo>
                  <a:cubicBezTo>
                    <a:pt x="998" y="466"/>
                    <a:pt x="984" y="419"/>
                    <a:pt x="959" y="379"/>
                  </a:cubicBezTo>
                  <a:lnTo>
                    <a:pt x="1016" y="327"/>
                  </a:lnTo>
                  <a:cubicBezTo>
                    <a:pt x="1043" y="343"/>
                    <a:pt x="1075" y="353"/>
                    <a:pt x="1108" y="353"/>
                  </a:cubicBezTo>
                  <a:cubicBezTo>
                    <a:pt x="1206" y="353"/>
                    <a:pt x="1285" y="273"/>
                    <a:pt x="1285" y="176"/>
                  </a:cubicBezTo>
                  <a:cubicBezTo>
                    <a:pt x="1285" y="78"/>
                    <a:pt x="1206" y="0"/>
                    <a:pt x="1108" y="0"/>
                  </a:cubicBezTo>
                  <a:cubicBezTo>
                    <a:pt x="1011" y="0"/>
                    <a:pt x="932" y="78"/>
                    <a:pt x="932" y="176"/>
                  </a:cubicBezTo>
                  <a:cubicBezTo>
                    <a:pt x="932" y="217"/>
                    <a:pt x="946" y="255"/>
                    <a:pt x="970" y="285"/>
                  </a:cubicBezTo>
                  <a:lnTo>
                    <a:pt x="919" y="331"/>
                  </a:lnTo>
                  <a:cubicBezTo>
                    <a:pt x="873" y="285"/>
                    <a:pt x="809" y="257"/>
                    <a:pt x="738" y="257"/>
                  </a:cubicBezTo>
                  <a:cubicBezTo>
                    <a:pt x="631" y="257"/>
                    <a:pt x="539" y="322"/>
                    <a:pt x="499" y="415"/>
                  </a:cubicBezTo>
                  <a:lnTo>
                    <a:pt x="353" y="380"/>
                  </a:lnTo>
                  <a:cubicBezTo>
                    <a:pt x="354" y="376"/>
                    <a:pt x="354" y="371"/>
                    <a:pt x="354" y="367"/>
                  </a:cubicBezTo>
                  <a:cubicBezTo>
                    <a:pt x="354" y="270"/>
                    <a:pt x="275" y="190"/>
                    <a:pt x="177" y="190"/>
                  </a:cubicBezTo>
                  <a:cubicBezTo>
                    <a:pt x="80" y="190"/>
                    <a:pt x="0" y="270"/>
                    <a:pt x="0" y="367"/>
                  </a:cubicBezTo>
                  <a:cubicBezTo>
                    <a:pt x="0" y="465"/>
                    <a:pt x="80" y="544"/>
                    <a:pt x="177" y="5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9A3F6093-991D-413A-68B2-B32C4722F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1" y="2771"/>
              <a:ext cx="74" cy="40"/>
            </a:xfrm>
            <a:custGeom>
              <a:avLst/>
              <a:gdLst>
                <a:gd name="T0" fmla="*/ 348 w 348"/>
                <a:gd name="T1" fmla="*/ 54 h 186"/>
                <a:gd name="T2" fmla="*/ 348 w 348"/>
                <a:gd name="T3" fmla="*/ 54 h 186"/>
                <a:gd name="T4" fmla="*/ 316 w 348"/>
                <a:gd name="T5" fmla="*/ 0 h 186"/>
                <a:gd name="T6" fmla="*/ 120 w 348"/>
                <a:gd name="T7" fmla="*/ 114 h 186"/>
                <a:gd name="T8" fmla="*/ 32 w 348"/>
                <a:gd name="T9" fmla="*/ 63 h 186"/>
                <a:gd name="T10" fmla="*/ 0 w 348"/>
                <a:gd name="T11" fmla="*/ 117 h 186"/>
                <a:gd name="T12" fmla="*/ 120 w 348"/>
                <a:gd name="T13" fmla="*/ 186 h 186"/>
                <a:gd name="T14" fmla="*/ 348 w 348"/>
                <a:gd name="T15" fmla="*/ 5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8" h="186">
                  <a:moveTo>
                    <a:pt x="348" y="54"/>
                  </a:moveTo>
                  <a:lnTo>
                    <a:pt x="348" y="54"/>
                  </a:lnTo>
                  <a:lnTo>
                    <a:pt x="316" y="0"/>
                  </a:lnTo>
                  <a:lnTo>
                    <a:pt x="120" y="114"/>
                  </a:lnTo>
                  <a:lnTo>
                    <a:pt x="32" y="63"/>
                  </a:lnTo>
                  <a:lnTo>
                    <a:pt x="0" y="117"/>
                  </a:lnTo>
                  <a:lnTo>
                    <a:pt x="120" y="186"/>
                  </a:lnTo>
                  <a:lnTo>
                    <a:pt x="348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C384D21D-E1DB-D90D-45AD-2ECFB7196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8" y="2771"/>
              <a:ext cx="18" cy="19"/>
            </a:xfrm>
            <a:custGeom>
              <a:avLst/>
              <a:gdLst>
                <a:gd name="T0" fmla="*/ 0 w 86"/>
                <a:gd name="T1" fmla="*/ 54 h 86"/>
                <a:gd name="T2" fmla="*/ 0 w 86"/>
                <a:gd name="T3" fmla="*/ 54 h 86"/>
                <a:gd name="T4" fmla="*/ 32 w 86"/>
                <a:gd name="T5" fmla="*/ 0 h 86"/>
                <a:gd name="T6" fmla="*/ 86 w 86"/>
                <a:gd name="T7" fmla="*/ 32 h 86"/>
                <a:gd name="T8" fmla="*/ 54 w 86"/>
                <a:gd name="T9" fmla="*/ 86 h 86"/>
                <a:gd name="T10" fmla="*/ 0 w 86"/>
                <a:gd name="T11" fmla="*/ 5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86">
                  <a:moveTo>
                    <a:pt x="0" y="54"/>
                  </a:moveTo>
                  <a:lnTo>
                    <a:pt x="0" y="54"/>
                  </a:lnTo>
                  <a:lnTo>
                    <a:pt x="32" y="0"/>
                  </a:lnTo>
                  <a:lnTo>
                    <a:pt x="86" y="32"/>
                  </a:lnTo>
                  <a:lnTo>
                    <a:pt x="54" y="86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id="{ED2E6361-BF88-B27B-5C2D-397758CDC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0" y="2706"/>
              <a:ext cx="32" cy="71"/>
            </a:xfrm>
            <a:custGeom>
              <a:avLst/>
              <a:gdLst>
                <a:gd name="T0" fmla="*/ 151 w 151"/>
                <a:gd name="T1" fmla="*/ 334 h 334"/>
                <a:gd name="T2" fmla="*/ 151 w 151"/>
                <a:gd name="T3" fmla="*/ 334 h 334"/>
                <a:gd name="T4" fmla="*/ 151 w 151"/>
                <a:gd name="T5" fmla="*/ 69 h 334"/>
                <a:gd name="T6" fmla="*/ 31 w 151"/>
                <a:gd name="T7" fmla="*/ 0 h 334"/>
                <a:gd name="T8" fmla="*/ 0 w 151"/>
                <a:gd name="T9" fmla="*/ 54 h 334"/>
                <a:gd name="T10" fmla="*/ 88 w 151"/>
                <a:gd name="T11" fmla="*/ 105 h 334"/>
                <a:gd name="T12" fmla="*/ 88 w 151"/>
                <a:gd name="T13" fmla="*/ 334 h 334"/>
                <a:gd name="T14" fmla="*/ 151 w 151"/>
                <a:gd name="T15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334">
                  <a:moveTo>
                    <a:pt x="151" y="334"/>
                  </a:moveTo>
                  <a:lnTo>
                    <a:pt x="151" y="334"/>
                  </a:lnTo>
                  <a:lnTo>
                    <a:pt x="151" y="69"/>
                  </a:lnTo>
                  <a:lnTo>
                    <a:pt x="31" y="0"/>
                  </a:lnTo>
                  <a:lnTo>
                    <a:pt x="0" y="54"/>
                  </a:lnTo>
                  <a:lnTo>
                    <a:pt x="88" y="105"/>
                  </a:lnTo>
                  <a:lnTo>
                    <a:pt x="88" y="334"/>
                  </a:lnTo>
                  <a:lnTo>
                    <a:pt x="151" y="33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608631A7-60F4-B36D-3DB3-9FC2886BB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" y="2692"/>
              <a:ext cx="18" cy="19"/>
            </a:xfrm>
            <a:custGeom>
              <a:avLst/>
              <a:gdLst>
                <a:gd name="T0" fmla="*/ 0 w 85"/>
                <a:gd name="T1" fmla="*/ 54 h 85"/>
                <a:gd name="T2" fmla="*/ 0 w 85"/>
                <a:gd name="T3" fmla="*/ 54 h 85"/>
                <a:gd name="T4" fmla="*/ 31 w 85"/>
                <a:gd name="T5" fmla="*/ 0 h 85"/>
                <a:gd name="T6" fmla="*/ 85 w 85"/>
                <a:gd name="T7" fmla="*/ 31 h 85"/>
                <a:gd name="T8" fmla="*/ 54 w 85"/>
                <a:gd name="T9" fmla="*/ 85 h 85"/>
                <a:gd name="T10" fmla="*/ 0 w 85"/>
                <a:gd name="T11" fmla="*/ 5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5">
                  <a:moveTo>
                    <a:pt x="0" y="54"/>
                  </a:moveTo>
                  <a:lnTo>
                    <a:pt x="0" y="54"/>
                  </a:lnTo>
                  <a:lnTo>
                    <a:pt x="31" y="0"/>
                  </a:lnTo>
                  <a:lnTo>
                    <a:pt x="85" y="31"/>
                  </a:lnTo>
                  <a:lnTo>
                    <a:pt x="54" y="85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52072086-999B-FEF5-8368-A83347DBB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4" y="2771"/>
              <a:ext cx="29" cy="25"/>
            </a:xfrm>
            <a:custGeom>
              <a:avLst/>
              <a:gdLst>
                <a:gd name="T0" fmla="*/ 0 w 135"/>
                <a:gd name="T1" fmla="*/ 54 h 115"/>
                <a:gd name="T2" fmla="*/ 0 w 135"/>
                <a:gd name="T3" fmla="*/ 54 h 115"/>
                <a:gd name="T4" fmla="*/ 31 w 135"/>
                <a:gd name="T5" fmla="*/ 0 h 115"/>
                <a:gd name="T6" fmla="*/ 135 w 135"/>
                <a:gd name="T7" fmla="*/ 61 h 115"/>
                <a:gd name="T8" fmla="*/ 104 w 135"/>
                <a:gd name="T9" fmla="*/ 115 h 115"/>
                <a:gd name="T10" fmla="*/ 0 w 135"/>
                <a:gd name="T11" fmla="*/ 5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115">
                  <a:moveTo>
                    <a:pt x="0" y="54"/>
                  </a:moveTo>
                  <a:lnTo>
                    <a:pt x="0" y="54"/>
                  </a:lnTo>
                  <a:lnTo>
                    <a:pt x="31" y="0"/>
                  </a:lnTo>
                  <a:lnTo>
                    <a:pt x="135" y="61"/>
                  </a:lnTo>
                  <a:lnTo>
                    <a:pt x="104" y="115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9FE44790-37E8-4656-B1B0-B0603F3EC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8" y="2791"/>
              <a:ext cx="18" cy="18"/>
            </a:xfrm>
            <a:custGeom>
              <a:avLst/>
              <a:gdLst>
                <a:gd name="T0" fmla="*/ 0 w 85"/>
                <a:gd name="T1" fmla="*/ 54 h 85"/>
                <a:gd name="T2" fmla="*/ 0 w 85"/>
                <a:gd name="T3" fmla="*/ 54 h 85"/>
                <a:gd name="T4" fmla="*/ 31 w 85"/>
                <a:gd name="T5" fmla="*/ 0 h 85"/>
                <a:gd name="T6" fmla="*/ 85 w 85"/>
                <a:gd name="T7" fmla="*/ 31 h 85"/>
                <a:gd name="T8" fmla="*/ 54 w 85"/>
                <a:gd name="T9" fmla="*/ 85 h 85"/>
                <a:gd name="T10" fmla="*/ 0 w 85"/>
                <a:gd name="T11" fmla="*/ 5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5">
                  <a:moveTo>
                    <a:pt x="0" y="54"/>
                  </a:moveTo>
                  <a:lnTo>
                    <a:pt x="0" y="54"/>
                  </a:lnTo>
                  <a:lnTo>
                    <a:pt x="31" y="0"/>
                  </a:lnTo>
                  <a:lnTo>
                    <a:pt x="85" y="31"/>
                  </a:lnTo>
                  <a:lnTo>
                    <a:pt x="54" y="85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87B65BF8-6E2C-4124-9FE9-657D5DF87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2513"/>
              <a:ext cx="13" cy="14"/>
            </a:xfrm>
            <a:custGeom>
              <a:avLst/>
              <a:gdLst>
                <a:gd name="T0" fmla="*/ 0 w 63"/>
                <a:gd name="T1" fmla="*/ 0 h 63"/>
                <a:gd name="T2" fmla="*/ 0 w 63"/>
                <a:gd name="T3" fmla="*/ 0 h 63"/>
                <a:gd name="T4" fmla="*/ 63 w 63"/>
                <a:gd name="T5" fmla="*/ 0 h 63"/>
                <a:gd name="T6" fmla="*/ 63 w 63"/>
                <a:gd name="T7" fmla="*/ 63 h 63"/>
                <a:gd name="T8" fmla="*/ 0 w 63"/>
                <a:gd name="T9" fmla="*/ 63 h 63"/>
                <a:gd name="T10" fmla="*/ 0 w 63"/>
                <a:gd name="T1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63">
                  <a:moveTo>
                    <a:pt x="0" y="0"/>
                  </a:moveTo>
                  <a:lnTo>
                    <a:pt x="0" y="0"/>
                  </a:lnTo>
                  <a:lnTo>
                    <a:pt x="63" y="0"/>
                  </a:lnTo>
                  <a:lnTo>
                    <a:pt x="63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64A04788-6D11-8BDF-21A1-645AD8A07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2474"/>
              <a:ext cx="13" cy="26"/>
            </a:xfrm>
            <a:custGeom>
              <a:avLst/>
              <a:gdLst>
                <a:gd name="T0" fmla="*/ 0 w 63"/>
                <a:gd name="T1" fmla="*/ 0 h 122"/>
                <a:gd name="T2" fmla="*/ 0 w 63"/>
                <a:gd name="T3" fmla="*/ 0 h 122"/>
                <a:gd name="T4" fmla="*/ 63 w 63"/>
                <a:gd name="T5" fmla="*/ 0 h 122"/>
                <a:gd name="T6" fmla="*/ 63 w 63"/>
                <a:gd name="T7" fmla="*/ 122 h 122"/>
                <a:gd name="T8" fmla="*/ 0 w 63"/>
                <a:gd name="T9" fmla="*/ 122 h 122"/>
                <a:gd name="T10" fmla="*/ 0 w 63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122">
                  <a:moveTo>
                    <a:pt x="0" y="0"/>
                  </a:moveTo>
                  <a:lnTo>
                    <a:pt x="0" y="0"/>
                  </a:lnTo>
                  <a:lnTo>
                    <a:pt x="63" y="0"/>
                  </a:lnTo>
                  <a:lnTo>
                    <a:pt x="63" y="122"/>
                  </a:lnTo>
                  <a:lnTo>
                    <a:pt x="0" y="1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94160440-A3FC-B192-1E88-DB177B8F4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1" y="2567"/>
              <a:ext cx="18" cy="18"/>
            </a:xfrm>
            <a:custGeom>
              <a:avLst/>
              <a:gdLst>
                <a:gd name="T0" fmla="*/ 0 w 85"/>
                <a:gd name="T1" fmla="*/ 54 h 85"/>
                <a:gd name="T2" fmla="*/ 0 w 85"/>
                <a:gd name="T3" fmla="*/ 54 h 85"/>
                <a:gd name="T4" fmla="*/ 31 w 85"/>
                <a:gd name="T5" fmla="*/ 0 h 85"/>
                <a:gd name="T6" fmla="*/ 85 w 85"/>
                <a:gd name="T7" fmla="*/ 31 h 85"/>
                <a:gd name="T8" fmla="*/ 54 w 85"/>
                <a:gd name="T9" fmla="*/ 85 h 85"/>
                <a:gd name="T10" fmla="*/ 0 w 85"/>
                <a:gd name="T11" fmla="*/ 5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5">
                  <a:moveTo>
                    <a:pt x="0" y="54"/>
                  </a:moveTo>
                  <a:lnTo>
                    <a:pt x="0" y="54"/>
                  </a:lnTo>
                  <a:lnTo>
                    <a:pt x="31" y="0"/>
                  </a:lnTo>
                  <a:lnTo>
                    <a:pt x="85" y="31"/>
                  </a:lnTo>
                  <a:lnTo>
                    <a:pt x="54" y="85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B0EB217B-4C9E-D44C-134D-F66FE9171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4" y="2580"/>
              <a:ext cx="32" cy="72"/>
            </a:xfrm>
            <a:custGeom>
              <a:avLst/>
              <a:gdLst>
                <a:gd name="T0" fmla="*/ 151 w 151"/>
                <a:gd name="T1" fmla="*/ 335 h 335"/>
                <a:gd name="T2" fmla="*/ 151 w 151"/>
                <a:gd name="T3" fmla="*/ 335 h 335"/>
                <a:gd name="T4" fmla="*/ 151 w 151"/>
                <a:gd name="T5" fmla="*/ 70 h 335"/>
                <a:gd name="T6" fmla="*/ 32 w 151"/>
                <a:gd name="T7" fmla="*/ 0 h 335"/>
                <a:gd name="T8" fmla="*/ 0 w 151"/>
                <a:gd name="T9" fmla="*/ 54 h 335"/>
                <a:gd name="T10" fmla="*/ 89 w 151"/>
                <a:gd name="T11" fmla="*/ 106 h 335"/>
                <a:gd name="T12" fmla="*/ 89 w 151"/>
                <a:gd name="T13" fmla="*/ 335 h 335"/>
                <a:gd name="T14" fmla="*/ 151 w 151"/>
                <a:gd name="T15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335">
                  <a:moveTo>
                    <a:pt x="151" y="335"/>
                  </a:moveTo>
                  <a:lnTo>
                    <a:pt x="151" y="335"/>
                  </a:lnTo>
                  <a:lnTo>
                    <a:pt x="151" y="70"/>
                  </a:lnTo>
                  <a:lnTo>
                    <a:pt x="32" y="0"/>
                  </a:lnTo>
                  <a:lnTo>
                    <a:pt x="0" y="54"/>
                  </a:lnTo>
                  <a:lnTo>
                    <a:pt x="89" y="106"/>
                  </a:lnTo>
                  <a:lnTo>
                    <a:pt x="89" y="335"/>
                  </a:lnTo>
                  <a:lnTo>
                    <a:pt x="151" y="3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7B3DFB21-4AA8-90FE-CE50-DC2B11141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1" y="2470"/>
              <a:ext cx="29" cy="29"/>
            </a:xfrm>
            <a:custGeom>
              <a:avLst/>
              <a:gdLst>
                <a:gd name="T0" fmla="*/ 73 w 135"/>
                <a:gd name="T1" fmla="*/ 135 h 135"/>
                <a:gd name="T2" fmla="*/ 73 w 135"/>
                <a:gd name="T3" fmla="*/ 135 h 135"/>
                <a:gd name="T4" fmla="*/ 135 w 135"/>
                <a:gd name="T5" fmla="*/ 135 h 135"/>
                <a:gd name="T6" fmla="*/ 0 w 135"/>
                <a:gd name="T7" fmla="*/ 0 h 135"/>
                <a:gd name="T8" fmla="*/ 0 w 135"/>
                <a:gd name="T9" fmla="*/ 62 h 135"/>
                <a:gd name="T10" fmla="*/ 73 w 135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135">
                  <a:moveTo>
                    <a:pt x="73" y="135"/>
                  </a:moveTo>
                  <a:lnTo>
                    <a:pt x="73" y="135"/>
                  </a:lnTo>
                  <a:lnTo>
                    <a:pt x="135" y="135"/>
                  </a:lnTo>
                  <a:cubicBezTo>
                    <a:pt x="135" y="60"/>
                    <a:pt x="75" y="0"/>
                    <a:pt x="0" y="0"/>
                  </a:cubicBezTo>
                  <a:lnTo>
                    <a:pt x="0" y="62"/>
                  </a:lnTo>
                  <a:cubicBezTo>
                    <a:pt x="40" y="62"/>
                    <a:pt x="73" y="95"/>
                    <a:pt x="73" y="1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72" name="Group 20">
            <a:extLst>
              <a:ext uri="{FF2B5EF4-FFF2-40B4-BE49-F238E27FC236}">
                <a16:creationId xmlns:a16="http://schemas.microsoft.com/office/drawing/2014/main" id="{E84D786A-842E-31F4-57A5-6FFC87A7F64C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3949048" y="3298747"/>
            <a:ext cx="473749" cy="504343"/>
            <a:chOff x="6004" y="1386"/>
            <a:chExt cx="449" cy="478"/>
          </a:xfrm>
          <a:solidFill>
            <a:sysClr val="window" lastClr="FFFFFF"/>
          </a:solidFill>
        </p:grpSpPr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1BF19EE9-763E-3B6E-AFA2-1A14E3FCF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5" y="1501"/>
              <a:ext cx="18" cy="18"/>
            </a:xfrm>
            <a:custGeom>
              <a:avLst/>
              <a:gdLst>
                <a:gd name="T0" fmla="*/ 45 w 90"/>
                <a:gd name="T1" fmla="*/ 89 h 89"/>
                <a:gd name="T2" fmla="*/ 45 w 90"/>
                <a:gd name="T3" fmla="*/ 89 h 89"/>
                <a:gd name="T4" fmla="*/ 90 w 90"/>
                <a:gd name="T5" fmla="*/ 45 h 89"/>
                <a:gd name="T6" fmla="*/ 45 w 90"/>
                <a:gd name="T7" fmla="*/ 0 h 89"/>
                <a:gd name="T8" fmla="*/ 0 w 90"/>
                <a:gd name="T9" fmla="*/ 45 h 89"/>
                <a:gd name="T10" fmla="*/ 45 w 90"/>
                <a:gd name="T11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0" h="89">
                  <a:moveTo>
                    <a:pt x="45" y="89"/>
                  </a:moveTo>
                  <a:lnTo>
                    <a:pt x="45" y="89"/>
                  </a:ln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851EB3FD-B148-9DFA-B006-CBD4097E3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" y="1635"/>
              <a:ext cx="91" cy="92"/>
            </a:xfrm>
            <a:custGeom>
              <a:avLst/>
              <a:gdLst>
                <a:gd name="T0" fmla="*/ 403 w 447"/>
                <a:gd name="T1" fmla="*/ 179 h 447"/>
                <a:gd name="T2" fmla="*/ 403 w 447"/>
                <a:gd name="T3" fmla="*/ 179 h 447"/>
                <a:gd name="T4" fmla="*/ 268 w 447"/>
                <a:gd name="T5" fmla="*/ 179 h 447"/>
                <a:gd name="T6" fmla="*/ 268 w 447"/>
                <a:gd name="T7" fmla="*/ 44 h 447"/>
                <a:gd name="T8" fmla="*/ 224 w 447"/>
                <a:gd name="T9" fmla="*/ 0 h 447"/>
                <a:gd name="T10" fmla="*/ 179 w 447"/>
                <a:gd name="T11" fmla="*/ 44 h 447"/>
                <a:gd name="T12" fmla="*/ 179 w 447"/>
                <a:gd name="T13" fmla="*/ 179 h 447"/>
                <a:gd name="T14" fmla="*/ 45 w 447"/>
                <a:gd name="T15" fmla="*/ 179 h 447"/>
                <a:gd name="T16" fmla="*/ 0 w 447"/>
                <a:gd name="T17" fmla="*/ 224 h 447"/>
                <a:gd name="T18" fmla="*/ 45 w 447"/>
                <a:gd name="T19" fmla="*/ 268 h 447"/>
                <a:gd name="T20" fmla="*/ 179 w 447"/>
                <a:gd name="T21" fmla="*/ 268 h 447"/>
                <a:gd name="T22" fmla="*/ 179 w 447"/>
                <a:gd name="T23" fmla="*/ 403 h 447"/>
                <a:gd name="T24" fmla="*/ 224 w 447"/>
                <a:gd name="T25" fmla="*/ 447 h 447"/>
                <a:gd name="T26" fmla="*/ 268 w 447"/>
                <a:gd name="T27" fmla="*/ 403 h 447"/>
                <a:gd name="T28" fmla="*/ 268 w 447"/>
                <a:gd name="T29" fmla="*/ 268 h 447"/>
                <a:gd name="T30" fmla="*/ 403 w 447"/>
                <a:gd name="T31" fmla="*/ 268 h 447"/>
                <a:gd name="T32" fmla="*/ 447 w 447"/>
                <a:gd name="T33" fmla="*/ 224 h 447"/>
                <a:gd name="T34" fmla="*/ 403 w 447"/>
                <a:gd name="T35" fmla="*/ 179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7" h="447">
                  <a:moveTo>
                    <a:pt x="403" y="179"/>
                  </a:moveTo>
                  <a:lnTo>
                    <a:pt x="403" y="179"/>
                  </a:lnTo>
                  <a:lnTo>
                    <a:pt x="268" y="179"/>
                  </a:lnTo>
                  <a:lnTo>
                    <a:pt x="268" y="44"/>
                  </a:lnTo>
                  <a:cubicBezTo>
                    <a:pt x="268" y="20"/>
                    <a:pt x="248" y="0"/>
                    <a:pt x="224" y="0"/>
                  </a:cubicBezTo>
                  <a:cubicBezTo>
                    <a:pt x="199" y="0"/>
                    <a:pt x="179" y="20"/>
                    <a:pt x="179" y="44"/>
                  </a:cubicBezTo>
                  <a:lnTo>
                    <a:pt x="179" y="179"/>
                  </a:lnTo>
                  <a:lnTo>
                    <a:pt x="45" y="179"/>
                  </a:lnTo>
                  <a:cubicBezTo>
                    <a:pt x="20" y="179"/>
                    <a:pt x="0" y="199"/>
                    <a:pt x="0" y="224"/>
                  </a:cubicBezTo>
                  <a:cubicBezTo>
                    <a:pt x="0" y="248"/>
                    <a:pt x="20" y="268"/>
                    <a:pt x="45" y="268"/>
                  </a:cubicBezTo>
                  <a:lnTo>
                    <a:pt x="179" y="268"/>
                  </a:lnTo>
                  <a:lnTo>
                    <a:pt x="179" y="403"/>
                  </a:lnTo>
                  <a:cubicBezTo>
                    <a:pt x="179" y="427"/>
                    <a:pt x="199" y="447"/>
                    <a:pt x="224" y="447"/>
                  </a:cubicBezTo>
                  <a:cubicBezTo>
                    <a:pt x="248" y="447"/>
                    <a:pt x="268" y="427"/>
                    <a:pt x="268" y="403"/>
                  </a:cubicBezTo>
                  <a:lnTo>
                    <a:pt x="268" y="268"/>
                  </a:lnTo>
                  <a:lnTo>
                    <a:pt x="403" y="268"/>
                  </a:lnTo>
                  <a:cubicBezTo>
                    <a:pt x="427" y="268"/>
                    <a:pt x="447" y="248"/>
                    <a:pt x="447" y="224"/>
                  </a:cubicBezTo>
                  <a:cubicBezTo>
                    <a:pt x="447" y="199"/>
                    <a:pt x="427" y="179"/>
                    <a:pt x="403" y="1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932CE794-5C01-E42A-8C3A-09DCDF34C2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4" y="1386"/>
              <a:ext cx="449" cy="478"/>
            </a:xfrm>
            <a:custGeom>
              <a:avLst/>
              <a:gdLst>
                <a:gd name="T0" fmla="*/ 1927 w 2202"/>
                <a:gd name="T1" fmla="*/ 1852 h 2340"/>
                <a:gd name="T2" fmla="*/ 1436 w 2202"/>
                <a:gd name="T3" fmla="*/ 1515 h 2340"/>
                <a:gd name="T4" fmla="*/ 2025 w 2202"/>
                <a:gd name="T5" fmla="*/ 1485 h 2340"/>
                <a:gd name="T6" fmla="*/ 1384 w 2202"/>
                <a:gd name="T7" fmla="*/ 2165 h 2340"/>
                <a:gd name="T8" fmla="*/ 1017 w 2202"/>
                <a:gd name="T9" fmla="*/ 2067 h 2340"/>
                <a:gd name="T10" fmla="*/ 1359 w 2202"/>
                <a:gd name="T11" fmla="*/ 1560 h 2340"/>
                <a:gd name="T12" fmla="*/ 1384 w 2202"/>
                <a:gd name="T13" fmla="*/ 2165 h 2340"/>
                <a:gd name="T14" fmla="*/ 89 w 2202"/>
                <a:gd name="T15" fmla="*/ 1892 h 2340"/>
                <a:gd name="T16" fmla="*/ 902 w 2202"/>
                <a:gd name="T17" fmla="*/ 1847 h 2340"/>
                <a:gd name="T18" fmla="*/ 223 w 2202"/>
                <a:gd name="T19" fmla="*/ 2026 h 2340"/>
                <a:gd name="T20" fmla="*/ 349 w 2202"/>
                <a:gd name="T21" fmla="*/ 634 h 2340"/>
                <a:gd name="T22" fmla="*/ 358 w 2202"/>
                <a:gd name="T23" fmla="*/ 608 h 2340"/>
                <a:gd name="T24" fmla="*/ 1074 w 2202"/>
                <a:gd name="T25" fmla="*/ 473 h 2340"/>
                <a:gd name="T26" fmla="*/ 671 w 2202"/>
                <a:gd name="T27" fmla="*/ 563 h 2340"/>
                <a:gd name="T28" fmla="*/ 671 w 2202"/>
                <a:gd name="T29" fmla="*/ 652 h 2340"/>
                <a:gd name="T30" fmla="*/ 1315 w 2202"/>
                <a:gd name="T31" fmla="*/ 945 h 2340"/>
                <a:gd name="T32" fmla="*/ 90 w 2202"/>
                <a:gd name="T33" fmla="*/ 1010 h 2340"/>
                <a:gd name="T34" fmla="*/ 349 w 2202"/>
                <a:gd name="T35" fmla="*/ 634 h 2340"/>
                <a:gd name="T36" fmla="*/ 268 w 2202"/>
                <a:gd name="T37" fmla="*/ 133 h 2340"/>
                <a:gd name="T38" fmla="*/ 1118 w 2202"/>
                <a:gd name="T39" fmla="*/ 88 h 2340"/>
                <a:gd name="T40" fmla="*/ 1163 w 2202"/>
                <a:gd name="T41" fmla="*/ 339 h 2340"/>
                <a:gd name="T42" fmla="*/ 313 w 2202"/>
                <a:gd name="T43" fmla="*/ 384 h 2340"/>
                <a:gd name="T44" fmla="*/ 268 w 2202"/>
                <a:gd name="T45" fmla="*/ 133 h 2340"/>
                <a:gd name="T46" fmla="*/ 937 w 2202"/>
                <a:gd name="T47" fmla="*/ 1758 h 2340"/>
                <a:gd name="T48" fmla="*/ 89 w 2202"/>
                <a:gd name="T49" fmla="*/ 1100 h 2340"/>
                <a:gd name="T50" fmla="*/ 1342 w 2202"/>
                <a:gd name="T51" fmla="*/ 1466 h 2340"/>
                <a:gd name="T52" fmla="*/ 937 w 2202"/>
                <a:gd name="T53" fmla="*/ 1758 h 2340"/>
                <a:gd name="T54" fmla="*/ 1613 w 2202"/>
                <a:gd name="T55" fmla="*/ 1309 h 2340"/>
                <a:gd name="T56" fmla="*/ 1432 w 2202"/>
                <a:gd name="T57" fmla="*/ 1025 h 2340"/>
                <a:gd name="T58" fmla="*/ 1163 w 2202"/>
                <a:gd name="T59" fmla="*/ 593 h 2340"/>
                <a:gd name="T60" fmla="*/ 1253 w 2202"/>
                <a:gd name="T61" fmla="*/ 339 h 2340"/>
                <a:gd name="T62" fmla="*/ 1118 w 2202"/>
                <a:gd name="T63" fmla="*/ 0 h 2340"/>
                <a:gd name="T64" fmla="*/ 179 w 2202"/>
                <a:gd name="T65" fmla="*/ 133 h 2340"/>
                <a:gd name="T66" fmla="*/ 268 w 2202"/>
                <a:gd name="T67" fmla="*/ 466 h 2340"/>
                <a:gd name="T68" fmla="*/ 44 w 2202"/>
                <a:gd name="T69" fmla="*/ 891 h 2340"/>
                <a:gd name="T70" fmla="*/ 0 w 2202"/>
                <a:gd name="T71" fmla="*/ 1892 h 2340"/>
                <a:gd name="T72" fmla="*/ 943 w 2202"/>
                <a:gd name="T73" fmla="*/ 2116 h 2340"/>
                <a:gd name="T74" fmla="*/ 1972 w 2202"/>
                <a:gd name="T75" fmla="*/ 1929 h 2340"/>
                <a:gd name="T76" fmla="*/ 1613 w 2202"/>
                <a:gd name="T77" fmla="*/ 1309 h 2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02" h="2340">
                  <a:moveTo>
                    <a:pt x="1927" y="1852"/>
                  </a:moveTo>
                  <a:lnTo>
                    <a:pt x="1927" y="1852"/>
                  </a:lnTo>
                  <a:lnTo>
                    <a:pt x="1705" y="1980"/>
                  </a:lnTo>
                  <a:lnTo>
                    <a:pt x="1436" y="1515"/>
                  </a:lnTo>
                  <a:lnTo>
                    <a:pt x="1658" y="1387"/>
                  </a:lnTo>
                  <a:cubicBezTo>
                    <a:pt x="1787" y="1312"/>
                    <a:pt x="1951" y="1356"/>
                    <a:pt x="2025" y="1485"/>
                  </a:cubicBezTo>
                  <a:cubicBezTo>
                    <a:pt x="2100" y="1614"/>
                    <a:pt x="2054" y="1778"/>
                    <a:pt x="1927" y="1852"/>
                  </a:cubicBezTo>
                  <a:close/>
                  <a:moveTo>
                    <a:pt x="1384" y="2165"/>
                  </a:moveTo>
                  <a:lnTo>
                    <a:pt x="1384" y="2165"/>
                  </a:lnTo>
                  <a:cubicBezTo>
                    <a:pt x="1256" y="2239"/>
                    <a:pt x="1092" y="2195"/>
                    <a:pt x="1017" y="2067"/>
                  </a:cubicBezTo>
                  <a:cubicBezTo>
                    <a:pt x="943" y="1937"/>
                    <a:pt x="988" y="1774"/>
                    <a:pt x="1116" y="1700"/>
                  </a:cubicBezTo>
                  <a:lnTo>
                    <a:pt x="1359" y="1560"/>
                  </a:lnTo>
                  <a:lnTo>
                    <a:pt x="1627" y="2025"/>
                  </a:lnTo>
                  <a:lnTo>
                    <a:pt x="1384" y="2165"/>
                  </a:lnTo>
                  <a:close/>
                  <a:moveTo>
                    <a:pt x="89" y="1892"/>
                  </a:moveTo>
                  <a:lnTo>
                    <a:pt x="89" y="1892"/>
                  </a:lnTo>
                  <a:lnTo>
                    <a:pt x="89" y="1847"/>
                  </a:lnTo>
                  <a:lnTo>
                    <a:pt x="902" y="1847"/>
                  </a:lnTo>
                  <a:cubicBezTo>
                    <a:pt x="888" y="1905"/>
                    <a:pt x="888" y="1967"/>
                    <a:pt x="904" y="2026"/>
                  </a:cubicBezTo>
                  <a:lnTo>
                    <a:pt x="223" y="2026"/>
                  </a:lnTo>
                  <a:cubicBezTo>
                    <a:pt x="149" y="2026"/>
                    <a:pt x="89" y="1966"/>
                    <a:pt x="89" y="1892"/>
                  </a:cubicBezTo>
                  <a:close/>
                  <a:moveTo>
                    <a:pt x="349" y="634"/>
                  </a:moveTo>
                  <a:lnTo>
                    <a:pt x="349" y="634"/>
                  </a:lnTo>
                  <a:cubicBezTo>
                    <a:pt x="354" y="627"/>
                    <a:pt x="358" y="617"/>
                    <a:pt x="358" y="608"/>
                  </a:cubicBezTo>
                  <a:lnTo>
                    <a:pt x="358" y="473"/>
                  </a:lnTo>
                  <a:lnTo>
                    <a:pt x="1074" y="473"/>
                  </a:lnTo>
                  <a:lnTo>
                    <a:pt x="1074" y="563"/>
                  </a:lnTo>
                  <a:lnTo>
                    <a:pt x="671" y="563"/>
                  </a:lnTo>
                  <a:cubicBezTo>
                    <a:pt x="646" y="563"/>
                    <a:pt x="626" y="583"/>
                    <a:pt x="626" y="608"/>
                  </a:cubicBezTo>
                  <a:cubicBezTo>
                    <a:pt x="626" y="632"/>
                    <a:pt x="646" y="652"/>
                    <a:pt x="671" y="652"/>
                  </a:cubicBezTo>
                  <a:lnTo>
                    <a:pt x="1096" y="652"/>
                  </a:lnTo>
                  <a:lnTo>
                    <a:pt x="1315" y="945"/>
                  </a:lnTo>
                  <a:cubicBezTo>
                    <a:pt x="1330" y="964"/>
                    <a:pt x="1339" y="987"/>
                    <a:pt x="1341" y="1010"/>
                  </a:cubicBezTo>
                  <a:lnTo>
                    <a:pt x="90" y="1010"/>
                  </a:lnTo>
                  <a:cubicBezTo>
                    <a:pt x="93" y="987"/>
                    <a:pt x="102" y="964"/>
                    <a:pt x="116" y="945"/>
                  </a:cubicBezTo>
                  <a:lnTo>
                    <a:pt x="349" y="634"/>
                  </a:lnTo>
                  <a:close/>
                  <a:moveTo>
                    <a:pt x="268" y="133"/>
                  </a:moveTo>
                  <a:lnTo>
                    <a:pt x="268" y="133"/>
                  </a:lnTo>
                  <a:cubicBezTo>
                    <a:pt x="268" y="108"/>
                    <a:pt x="288" y="88"/>
                    <a:pt x="313" y="88"/>
                  </a:cubicBezTo>
                  <a:lnTo>
                    <a:pt x="1118" y="88"/>
                  </a:lnTo>
                  <a:cubicBezTo>
                    <a:pt x="1143" y="88"/>
                    <a:pt x="1163" y="108"/>
                    <a:pt x="1163" y="133"/>
                  </a:cubicBezTo>
                  <a:lnTo>
                    <a:pt x="1163" y="339"/>
                  </a:lnTo>
                  <a:cubicBezTo>
                    <a:pt x="1163" y="364"/>
                    <a:pt x="1143" y="384"/>
                    <a:pt x="1118" y="384"/>
                  </a:cubicBezTo>
                  <a:lnTo>
                    <a:pt x="313" y="384"/>
                  </a:lnTo>
                  <a:cubicBezTo>
                    <a:pt x="288" y="384"/>
                    <a:pt x="268" y="364"/>
                    <a:pt x="268" y="339"/>
                  </a:cubicBezTo>
                  <a:lnTo>
                    <a:pt x="268" y="133"/>
                  </a:lnTo>
                  <a:close/>
                  <a:moveTo>
                    <a:pt x="937" y="1758"/>
                  </a:moveTo>
                  <a:lnTo>
                    <a:pt x="937" y="1758"/>
                  </a:lnTo>
                  <a:lnTo>
                    <a:pt x="89" y="1758"/>
                  </a:lnTo>
                  <a:lnTo>
                    <a:pt x="89" y="1100"/>
                  </a:lnTo>
                  <a:lnTo>
                    <a:pt x="1342" y="1100"/>
                  </a:lnTo>
                  <a:lnTo>
                    <a:pt x="1342" y="1466"/>
                  </a:lnTo>
                  <a:lnTo>
                    <a:pt x="1071" y="1622"/>
                  </a:lnTo>
                  <a:cubicBezTo>
                    <a:pt x="1014" y="1655"/>
                    <a:pt x="969" y="1701"/>
                    <a:pt x="937" y="1758"/>
                  </a:cubicBezTo>
                  <a:close/>
                  <a:moveTo>
                    <a:pt x="1613" y="1309"/>
                  </a:moveTo>
                  <a:lnTo>
                    <a:pt x="1613" y="1309"/>
                  </a:lnTo>
                  <a:lnTo>
                    <a:pt x="1432" y="1414"/>
                  </a:lnTo>
                  <a:lnTo>
                    <a:pt x="1432" y="1025"/>
                  </a:lnTo>
                  <a:cubicBezTo>
                    <a:pt x="1432" y="977"/>
                    <a:pt x="1416" y="930"/>
                    <a:pt x="1387" y="891"/>
                  </a:cubicBezTo>
                  <a:lnTo>
                    <a:pt x="1163" y="593"/>
                  </a:lnTo>
                  <a:lnTo>
                    <a:pt x="1163" y="466"/>
                  </a:lnTo>
                  <a:cubicBezTo>
                    <a:pt x="1215" y="447"/>
                    <a:pt x="1253" y="397"/>
                    <a:pt x="1253" y="339"/>
                  </a:cubicBezTo>
                  <a:lnTo>
                    <a:pt x="1253" y="133"/>
                  </a:lnTo>
                  <a:cubicBezTo>
                    <a:pt x="1253" y="59"/>
                    <a:pt x="1192" y="0"/>
                    <a:pt x="1118" y="0"/>
                  </a:cubicBezTo>
                  <a:lnTo>
                    <a:pt x="313" y="0"/>
                  </a:lnTo>
                  <a:cubicBezTo>
                    <a:pt x="239" y="0"/>
                    <a:pt x="179" y="59"/>
                    <a:pt x="179" y="133"/>
                  </a:cubicBezTo>
                  <a:lnTo>
                    <a:pt x="179" y="339"/>
                  </a:lnTo>
                  <a:cubicBezTo>
                    <a:pt x="179" y="397"/>
                    <a:pt x="216" y="447"/>
                    <a:pt x="268" y="466"/>
                  </a:cubicBezTo>
                  <a:lnTo>
                    <a:pt x="268" y="593"/>
                  </a:lnTo>
                  <a:lnTo>
                    <a:pt x="44" y="891"/>
                  </a:lnTo>
                  <a:cubicBezTo>
                    <a:pt x="15" y="930"/>
                    <a:pt x="0" y="977"/>
                    <a:pt x="0" y="1025"/>
                  </a:cubicBezTo>
                  <a:lnTo>
                    <a:pt x="0" y="1892"/>
                  </a:lnTo>
                  <a:cubicBezTo>
                    <a:pt x="0" y="2015"/>
                    <a:pt x="100" y="2116"/>
                    <a:pt x="223" y="2116"/>
                  </a:cubicBezTo>
                  <a:lnTo>
                    <a:pt x="943" y="2116"/>
                  </a:lnTo>
                  <a:cubicBezTo>
                    <a:pt x="1043" y="2284"/>
                    <a:pt x="1259" y="2340"/>
                    <a:pt x="1429" y="2242"/>
                  </a:cubicBezTo>
                  <a:lnTo>
                    <a:pt x="1972" y="1929"/>
                  </a:lnTo>
                  <a:cubicBezTo>
                    <a:pt x="2141" y="1831"/>
                    <a:pt x="2202" y="1612"/>
                    <a:pt x="2103" y="1440"/>
                  </a:cubicBezTo>
                  <a:cubicBezTo>
                    <a:pt x="2004" y="1269"/>
                    <a:pt x="1785" y="1210"/>
                    <a:pt x="1613" y="130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C316F1F1-A327-BED0-3CD6-89C948B35528}"/>
              </a:ext>
            </a:extLst>
          </p:cNvPr>
          <p:cNvGrpSpPr/>
          <p:nvPr/>
        </p:nvGrpSpPr>
        <p:grpSpPr>
          <a:xfrm flipH="1">
            <a:off x="7182976" y="5084828"/>
            <a:ext cx="447647" cy="550137"/>
            <a:chOff x="10693399" y="3516313"/>
            <a:chExt cx="471487" cy="579438"/>
          </a:xfrm>
          <a:solidFill>
            <a:sysClr val="window" lastClr="FFFFFF"/>
          </a:solidFill>
        </p:grpSpPr>
        <p:sp>
          <p:nvSpPr>
            <p:cNvPr id="77" name="Rectangle 113">
              <a:extLst>
                <a:ext uri="{FF2B5EF4-FFF2-40B4-BE49-F238E27FC236}">
                  <a16:creationId xmlns:a16="http://schemas.microsoft.com/office/drawing/2014/main" id="{3CDB94BC-C8AC-FE84-6010-57B1800222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48961" y="3568700"/>
              <a:ext cx="66675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8" name="Rectangle 114">
              <a:extLst>
                <a:ext uri="{FF2B5EF4-FFF2-40B4-BE49-F238E27FC236}">
                  <a16:creationId xmlns:a16="http://schemas.microsoft.com/office/drawing/2014/main" id="{190FE20F-7289-AA3A-FEC0-35EAB4218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48961" y="3616325"/>
              <a:ext cx="14287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9" name="Freeform 115">
              <a:extLst>
                <a:ext uri="{FF2B5EF4-FFF2-40B4-BE49-F238E27FC236}">
                  <a16:creationId xmlns:a16="http://schemas.microsoft.com/office/drawing/2014/main" id="{EFED2956-0430-9FBC-73A4-A186D3EFE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77561" y="3516313"/>
              <a:ext cx="155575" cy="120650"/>
            </a:xfrm>
            <a:custGeom>
              <a:avLst/>
              <a:gdLst>
                <a:gd name="T0" fmla="*/ 74 w 79"/>
                <a:gd name="T1" fmla="*/ 61 h 61"/>
                <a:gd name="T2" fmla="*/ 5 w 79"/>
                <a:gd name="T3" fmla="*/ 61 h 61"/>
                <a:gd name="T4" fmla="*/ 0 w 79"/>
                <a:gd name="T5" fmla="*/ 56 h 61"/>
                <a:gd name="T6" fmla="*/ 0 w 79"/>
                <a:gd name="T7" fmla="*/ 6 h 61"/>
                <a:gd name="T8" fmla="*/ 3 w 79"/>
                <a:gd name="T9" fmla="*/ 1 h 61"/>
                <a:gd name="T10" fmla="*/ 8 w 79"/>
                <a:gd name="T11" fmla="*/ 2 h 61"/>
                <a:gd name="T12" fmla="*/ 77 w 79"/>
                <a:gd name="T13" fmla="*/ 52 h 61"/>
                <a:gd name="T14" fmla="*/ 79 w 79"/>
                <a:gd name="T15" fmla="*/ 58 h 61"/>
                <a:gd name="T16" fmla="*/ 74 w 79"/>
                <a:gd name="T17" fmla="*/ 61 h 61"/>
                <a:gd name="T18" fmla="*/ 10 w 79"/>
                <a:gd name="T19" fmla="*/ 51 h 61"/>
                <a:gd name="T20" fmla="*/ 59 w 79"/>
                <a:gd name="T21" fmla="*/ 51 h 61"/>
                <a:gd name="T22" fmla="*/ 10 w 79"/>
                <a:gd name="T23" fmla="*/ 16 h 61"/>
                <a:gd name="T24" fmla="*/ 10 w 79"/>
                <a:gd name="T25" fmla="*/ 5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61">
                  <a:moveTo>
                    <a:pt x="74" y="61"/>
                  </a:moveTo>
                  <a:cubicBezTo>
                    <a:pt x="5" y="61"/>
                    <a:pt x="5" y="61"/>
                    <a:pt x="5" y="61"/>
                  </a:cubicBezTo>
                  <a:cubicBezTo>
                    <a:pt x="2" y="61"/>
                    <a:pt x="0" y="59"/>
                    <a:pt x="0" y="5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1"/>
                    <a:pt x="8" y="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9" y="54"/>
                    <a:pt x="79" y="56"/>
                    <a:pt x="79" y="58"/>
                  </a:cubicBezTo>
                  <a:cubicBezTo>
                    <a:pt x="78" y="60"/>
                    <a:pt x="76" y="61"/>
                    <a:pt x="74" y="61"/>
                  </a:cubicBezTo>
                  <a:close/>
                  <a:moveTo>
                    <a:pt x="10" y="51"/>
                  </a:moveTo>
                  <a:cubicBezTo>
                    <a:pt x="59" y="51"/>
                    <a:pt x="59" y="51"/>
                    <a:pt x="59" y="51"/>
                  </a:cubicBezTo>
                  <a:cubicBezTo>
                    <a:pt x="10" y="16"/>
                    <a:pt x="10" y="16"/>
                    <a:pt x="10" y="16"/>
                  </a:cubicBezTo>
                  <a:lnTo>
                    <a:pt x="1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0" name="Freeform 116">
              <a:extLst>
                <a:ext uri="{FF2B5EF4-FFF2-40B4-BE49-F238E27FC236}">
                  <a16:creationId xmlns:a16="http://schemas.microsoft.com/office/drawing/2014/main" id="{6DF2FE46-1733-327A-5D81-2E312ABFA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3399" y="3519488"/>
              <a:ext cx="439737" cy="576263"/>
            </a:xfrm>
            <a:custGeom>
              <a:avLst/>
              <a:gdLst>
                <a:gd name="T0" fmla="*/ 219 w 224"/>
                <a:gd name="T1" fmla="*/ 294 h 294"/>
                <a:gd name="T2" fmla="*/ 5 w 224"/>
                <a:gd name="T3" fmla="*/ 294 h 294"/>
                <a:gd name="T4" fmla="*/ 0 w 224"/>
                <a:gd name="T5" fmla="*/ 289 h 294"/>
                <a:gd name="T6" fmla="*/ 0 w 224"/>
                <a:gd name="T7" fmla="*/ 5 h 294"/>
                <a:gd name="T8" fmla="*/ 5 w 224"/>
                <a:gd name="T9" fmla="*/ 0 h 294"/>
                <a:gd name="T10" fmla="*/ 150 w 224"/>
                <a:gd name="T11" fmla="*/ 0 h 294"/>
                <a:gd name="T12" fmla="*/ 153 w 224"/>
                <a:gd name="T13" fmla="*/ 1 h 294"/>
                <a:gd name="T14" fmla="*/ 222 w 224"/>
                <a:gd name="T15" fmla="*/ 51 h 294"/>
                <a:gd name="T16" fmla="*/ 224 w 224"/>
                <a:gd name="T17" fmla="*/ 55 h 294"/>
                <a:gd name="T18" fmla="*/ 224 w 224"/>
                <a:gd name="T19" fmla="*/ 78 h 294"/>
                <a:gd name="T20" fmla="*/ 214 w 224"/>
                <a:gd name="T21" fmla="*/ 78 h 294"/>
                <a:gd name="T22" fmla="*/ 214 w 224"/>
                <a:gd name="T23" fmla="*/ 58 h 294"/>
                <a:gd name="T24" fmla="*/ 148 w 224"/>
                <a:gd name="T25" fmla="*/ 10 h 294"/>
                <a:gd name="T26" fmla="*/ 10 w 224"/>
                <a:gd name="T27" fmla="*/ 10 h 294"/>
                <a:gd name="T28" fmla="*/ 10 w 224"/>
                <a:gd name="T29" fmla="*/ 284 h 294"/>
                <a:gd name="T30" fmla="*/ 214 w 224"/>
                <a:gd name="T31" fmla="*/ 284 h 294"/>
                <a:gd name="T32" fmla="*/ 214 w 224"/>
                <a:gd name="T33" fmla="*/ 258 h 294"/>
                <a:gd name="T34" fmla="*/ 224 w 224"/>
                <a:gd name="T35" fmla="*/ 258 h 294"/>
                <a:gd name="T36" fmla="*/ 224 w 224"/>
                <a:gd name="T37" fmla="*/ 289 h 294"/>
                <a:gd name="T38" fmla="*/ 219 w 224"/>
                <a:gd name="T39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4" h="294">
                  <a:moveTo>
                    <a:pt x="219" y="294"/>
                  </a:moveTo>
                  <a:cubicBezTo>
                    <a:pt x="5" y="294"/>
                    <a:pt x="5" y="294"/>
                    <a:pt x="5" y="294"/>
                  </a:cubicBezTo>
                  <a:cubicBezTo>
                    <a:pt x="2" y="294"/>
                    <a:pt x="0" y="292"/>
                    <a:pt x="0" y="28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1" y="0"/>
                    <a:pt x="152" y="0"/>
                    <a:pt x="153" y="1"/>
                  </a:cubicBezTo>
                  <a:cubicBezTo>
                    <a:pt x="222" y="51"/>
                    <a:pt x="222" y="51"/>
                    <a:pt x="222" y="51"/>
                  </a:cubicBezTo>
                  <a:cubicBezTo>
                    <a:pt x="223" y="52"/>
                    <a:pt x="224" y="54"/>
                    <a:pt x="224" y="55"/>
                  </a:cubicBezTo>
                  <a:cubicBezTo>
                    <a:pt x="224" y="78"/>
                    <a:pt x="224" y="78"/>
                    <a:pt x="224" y="78"/>
                  </a:cubicBezTo>
                  <a:cubicBezTo>
                    <a:pt x="214" y="78"/>
                    <a:pt x="214" y="78"/>
                    <a:pt x="214" y="78"/>
                  </a:cubicBezTo>
                  <a:cubicBezTo>
                    <a:pt x="214" y="58"/>
                    <a:pt x="214" y="58"/>
                    <a:pt x="214" y="58"/>
                  </a:cubicBezTo>
                  <a:cubicBezTo>
                    <a:pt x="148" y="10"/>
                    <a:pt x="148" y="10"/>
                    <a:pt x="148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284"/>
                    <a:pt x="10" y="284"/>
                    <a:pt x="10" y="284"/>
                  </a:cubicBezTo>
                  <a:cubicBezTo>
                    <a:pt x="214" y="284"/>
                    <a:pt x="214" y="284"/>
                    <a:pt x="214" y="284"/>
                  </a:cubicBezTo>
                  <a:cubicBezTo>
                    <a:pt x="214" y="258"/>
                    <a:pt x="214" y="258"/>
                    <a:pt x="214" y="258"/>
                  </a:cubicBezTo>
                  <a:cubicBezTo>
                    <a:pt x="224" y="258"/>
                    <a:pt x="224" y="258"/>
                    <a:pt x="224" y="258"/>
                  </a:cubicBezTo>
                  <a:cubicBezTo>
                    <a:pt x="224" y="289"/>
                    <a:pt x="224" y="289"/>
                    <a:pt x="224" y="289"/>
                  </a:cubicBezTo>
                  <a:cubicBezTo>
                    <a:pt x="224" y="292"/>
                    <a:pt x="222" y="294"/>
                    <a:pt x="219" y="2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1" name="Freeform 117">
              <a:extLst>
                <a:ext uri="{FF2B5EF4-FFF2-40B4-BE49-F238E27FC236}">
                  <a16:creationId xmlns:a16="http://schemas.microsoft.com/office/drawing/2014/main" id="{0E51FEAA-3455-7AC3-0813-AD5AB48FA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9436" y="3671888"/>
              <a:ext cx="104775" cy="95250"/>
            </a:xfrm>
            <a:custGeom>
              <a:avLst/>
              <a:gdLst>
                <a:gd name="T0" fmla="*/ 49 w 54"/>
                <a:gd name="T1" fmla="*/ 49 h 49"/>
                <a:gd name="T2" fmla="*/ 5 w 54"/>
                <a:gd name="T3" fmla="*/ 49 h 49"/>
                <a:gd name="T4" fmla="*/ 0 w 54"/>
                <a:gd name="T5" fmla="*/ 44 h 49"/>
                <a:gd name="T6" fmla="*/ 0 w 54"/>
                <a:gd name="T7" fmla="*/ 5 h 49"/>
                <a:gd name="T8" fmla="*/ 5 w 54"/>
                <a:gd name="T9" fmla="*/ 0 h 49"/>
                <a:gd name="T10" fmla="*/ 49 w 54"/>
                <a:gd name="T11" fmla="*/ 0 h 49"/>
                <a:gd name="T12" fmla="*/ 54 w 54"/>
                <a:gd name="T13" fmla="*/ 5 h 49"/>
                <a:gd name="T14" fmla="*/ 54 w 54"/>
                <a:gd name="T15" fmla="*/ 44 h 49"/>
                <a:gd name="T16" fmla="*/ 49 w 54"/>
                <a:gd name="T17" fmla="*/ 49 h 49"/>
                <a:gd name="T18" fmla="*/ 10 w 54"/>
                <a:gd name="T19" fmla="*/ 39 h 49"/>
                <a:gd name="T20" fmla="*/ 44 w 54"/>
                <a:gd name="T21" fmla="*/ 39 h 49"/>
                <a:gd name="T22" fmla="*/ 44 w 54"/>
                <a:gd name="T23" fmla="*/ 10 h 49"/>
                <a:gd name="T24" fmla="*/ 10 w 54"/>
                <a:gd name="T25" fmla="*/ 10 h 49"/>
                <a:gd name="T26" fmla="*/ 10 w 54"/>
                <a:gd name="T27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9">
                  <a:moveTo>
                    <a:pt x="49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6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4" y="2"/>
                    <a:pt x="54" y="5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4" y="46"/>
                    <a:pt x="52" y="49"/>
                    <a:pt x="49" y="49"/>
                  </a:cubicBezTo>
                  <a:close/>
                  <a:moveTo>
                    <a:pt x="10" y="39"/>
                  </a:moveTo>
                  <a:cubicBezTo>
                    <a:pt x="44" y="39"/>
                    <a:pt x="44" y="39"/>
                    <a:pt x="44" y="39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2" name="Freeform 118">
              <a:extLst>
                <a:ext uri="{FF2B5EF4-FFF2-40B4-BE49-F238E27FC236}">
                  <a16:creationId xmlns:a16="http://schemas.microsoft.com/office/drawing/2014/main" id="{B0827460-DCB4-8961-3794-C852EB46FD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9436" y="3806825"/>
              <a:ext cx="104775" cy="93663"/>
            </a:xfrm>
            <a:custGeom>
              <a:avLst/>
              <a:gdLst>
                <a:gd name="T0" fmla="*/ 49 w 54"/>
                <a:gd name="T1" fmla="*/ 48 h 48"/>
                <a:gd name="T2" fmla="*/ 5 w 54"/>
                <a:gd name="T3" fmla="*/ 48 h 48"/>
                <a:gd name="T4" fmla="*/ 0 w 54"/>
                <a:gd name="T5" fmla="*/ 43 h 48"/>
                <a:gd name="T6" fmla="*/ 0 w 54"/>
                <a:gd name="T7" fmla="*/ 5 h 48"/>
                <a:gd name="T8" fmla="*/ 5 w 54"/>
                <a:gd name="T9" fmla="*/ 0 h 48"/>
                <a:gd name="T10" fmla="*/ 49 w 54"/>
                <a:gd name="T11" fmla="*/ 0 h 48"/>
                <a:gd name="T12" fmla="*/ 54 w 54"/>
                <a:gd name="T13" fmla="*/ 5 h 48"/>
                <a:gd name="T14" fmla="*/ 54 w 54"/>
                <a:gd name="T15" fmla="*/ 43 h 48"/>
                <a:gd name="T16" fmla="*/ 49 w 54"/>
                <a:gd name="T17" fmla="*/ 48 h 48"/>
                <a:gd name="T18" fmla="*/ 10 w 54"/>
                <a:gd name="T19" fmla="*/ 38 h 48"/>
                <a:gd name="T20" fmla="*/ 44 w 54"/>
                <a:gd name="T21" fmla="*/ 38 h 48"/>
                <a:gd name="T22" fmla="*/ 44 w 54"/>
                <a:gd name="T23" fmla="*/ 10 h 48"/>
                <a:gd name="T24" fmla="*/ 10 w 54"/>
                <a:gd name="T25" fmla="*/ 10 h 48"/>
                <a:gd name="T26" fmla="*/ 10 w 54"/>
                <a:gd name="T27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8">
                  <a:moveTo>
                    <a:pt x="49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0" y="46"/>
                    <a:pt x="0" y="4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4" y="2"/>
                    <a:pt x="54" y="5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6"/>
                    <a:pt x="52" y="48"/>
                    <a:pt x="49" y="48"/>
                  </a:cubicBezTo>
                  <a:close/>
                  <a:moveTo>
                    <a:pt x="10" y="38"/>
                  </a:moveTo>
                  <a:cubicBezTo>
                    <a:pt x="44" y="38"/>
                    <a:pt x="44" y="38"/>
                    <a:pt x="44" y="38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3" name="Freeform 119">
              <a:extLst>
                <a:ext uri="{FF2B5EF4-FFF2-40B4-BE49-F238E27FC236}">
                  <a16:creationId xmlns:a16="http://schemas.microsoft.com/office/drawing/2014/main" id="{4A788EEB-8C34-DC18-E65E-D13990AE33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9436" y="3944938"/>
              <a:ext cx="104775" cy="95250"/>
            </a:xfrm>
            <a:custGeom>
              <a:avLst/>
              <a:gdLst>
                <a:gd name="T0" fmla="*/ 49 w 54"/>
                <a:gd name="T1" fmla="*/ 49 h 49"/>
                <a:gd name="T2" fmla="*/ 5 w 54"/>
                <a:gd name="T3" fmla="*/ 49 h 49"/>
                <a:gd name="T4" fmla="*/ 0 w 54"/>
                <a:gd name="T5" fmla="*/ 44 h 49"/>
                <a:gd name="T6" fmla="*/ 0 w 54"/>
                <a:gd name="T7" fmla="*/ 5 h 49"/>
                <a:gd name="T8" fmla="*/ 5 w 54"/>
                <a:gd name="T9" fmla="*/ 0 h 49"/>
                <a:gd name="T10" fmla="*/ 49 w 54"/>
                <a:gd name="T11" fmla="*/ 0 h 49"/>
                <a:gd name="T12" fmla="*/ 54 w 54"/>
                <a:gd name="T13" fmla="*/ 5 h 49"/>
                <a:gd name="T14" fmla="*/ 54 w 54"/>
                <a:gd name="T15" fmla="*/ 44 h 49"/>
                <a:gd name="T16" fmla="*/ 49 w 54"/>
                <a:gd name="T17" fmla="*/ 49 h 49"/>
                <a:gd name="T18" fmla="*/ 10 w 54"/>
                <a:gd name="T19" fmla="*/ 39 h 49"/>
                <a:gd name="T20" fmla="*/ 44 w 54"/>
                <a:gd name="T21" fmla="*/ 39 h 49"/>
                <a:gd name="T22" fmla="*/ 44 w 54"/>
                <a:gd name="T23" fmla="*/ 10 h 49"/>
                <a:gd name="T24" fmla="*/ 10 w 54"/>
                <a:gd name="T25" fmla="*/ 10 h 49"/>
                <a:gd name="T26" fmla="*/ 10 w 54"/>
                <a:gd name="T27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49">
                  <a:moveTo>
                    <a:pt x="49" y="49"/>
                  </a:move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4" y="2"/>
                    <a:pt x="54" y="5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4" y="47"/>
                    <a:pt x="52" y="49"/>
                    <a:pt x="49" y="49"/>
                  </a:cubicBezTo>
                  <a:close/>
                  <a:moveTo>
                    <a:pt x="10" y="39"/>
                  </a:moveTo>
                  <a:cubicBezTo>
                    <a:pt x="44" y="39"/>
                    <a:pt x="44" y="39"/>
                    <a:pt x="44" y="39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4" name="Rectangle 120">
              <a:extLst>
                <a:ext uri="{FF2B5EF4-FFF2-40B4-BE49-F238E27FC236}">
                  <a16:creationId xmlns:a16="http://schemas.microsoft.com/office/drawing/2014/main" id="{35A88961-6968-3772-F6C3-62DFD8B22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3679825"/>
              <a:ext cx="61912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5" name="Rectangle 121">
              <a:extLst>
                <a:ext uri="{FF2B5EF4-FFF2-40B4-BE49-F238E27FC236}">
                  <a16:creationId xmlns:a16="http://schemas.microsoft.com/office/drawing/2014/main" id="{96AFDFD2-9DB9-E8CE-F5E3-FFA4211DC3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3729038"/>
              <a:ext cx="952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6" name="Rectangle 122">
              <a:extLst>
                <a:ext uri="{FF2B5EF4-FFF2-40B4-BE49-F238E27FC236}">
                  <a16:creationId xmlns:a16="http://schemas.microsoft.com/office/drawing/2014/main" id="{F87C7501-AB92-228A-C66B-BA063C2EB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99786" y="3729038"/>
              <a:ext cx="444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7" name="Rectangle 123">
              <a:extLst>
                <a:ext uri="{FF2B5EF4-FFF2-40B4-BE49-F238E27FC236}">
                  <a16:creationId xmlns:a16="http://schemas.microsoft.com/office/drawing/2014/main" id="{29DC2DAE-9C7E-7D09-8CEF-A0137005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3822700"/>
              <a:ext cx="825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8" name="Rectangle 124">
              <a:extLst>
                <a:ext uri="{FF2B5EF4-FFF2-40B4-BE49-F238E27FC236}">
                  <a16:creationId xmlns:a16="http://schemas.microsoft.com/office/drawing/2014/main" id="{59C6F29B-21B5-D72E-3BE5-346D5574D0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88674" y="3822700"/>
              <a:ext cx="2540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9" name="Rectangle 125">
              <a:extLst>
                <a:ext uri="{FF2B5EF4-FFF2-40B4-BE49-F238E27FC236}">
                  <a16:creationId xmlns:a16="http://schemas.microsoft.com/office/drawing/2014/main" id="{EC45C744-D95A-8493-EAD8-C158C3641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3873500"/>
              <a:ext cx="166687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0" name="Rectangle 126">
              <a:extLst>
                <a:ext uri="{FF2B5EF4-FFF2-40B4-BE49-F238E27FC236}">
                  <a16:creationId xmlns:a16="http://schemas.microsoft.com/office/drawing/2014/main" id="{ECF24DAF-E688-C774-9B39-C0BB01E0F9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3959225"/>
              <a:ext cx="61912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1" name="Rectangle 127">
              <a:extLst>
                <a:ext uri="{FF2B5EF4-FFF2-40B4-BE49-F238E27FC236}">
                  <a16:creationId xmlns:a16="http://schemas.microsoft.com/office/drawing/2014/main" id="{E178C95C-2089-476D-6E09-8235B74BF4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77549" y="4008438"/>
              <a:ext cx="11112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2" name="Freeform 128">
              <a:extLst>
                <a:ext uri="{FF2B5EF4-FFF2-40B4-BE49-F238E27FC236}">
                  <a16:creationId xmlns:a16="http://schemas.microsoft.com/office/drawing/2014/main" id="{E79D89EA-F1E2-9800-8DF6-EAFBC102A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2336" y="3738563"/>
              <a:ext cx="82550" cy="212725"/>
            </a:xfrm>
            <a:custGeom>
              <a:avLst/>
              <a:gdLst>
                <a:gd name="T0" fmla="*/ 37 w 42"/>
                <a:gd name="T1" fmla="*/ 109 h 109"/>
                <a:gd name="T2" fmla="*/ 5 w 42"/>
                <a:gd name="T3" fmla="*/ 109 h 109"/>
                <a:gd name="T4" fmla="*/ 0 w 42"/>
                <a:gd name="T5" fmla="*/ 104 h 109"/>
                <a:gd name="T6" fmla="*/ 0 w 42"/>
                <a:gd name="T7" fmla="*/ 5 h 109"/>
                <a:gd name="T8" fmla="*/ 5 w 42"/>
                <a:gd name="T9" fmla="*/ 0 h 109"/>
                <a:gd name="T10" fmla="*/ 37 w 42"/>
                <a:gd name="T11" fmla="*/ 0 h 109"/>
                <a:gd name="T12" fmla="*/ 42 w 42"/>
                <a:gd name="T13" fmla="*/ 5 h 109"/>
                <a:gd name="T14" fmla="*/ 42 w 42"/>
                <a:gd name="T15" fmla="*/ 104 h 109"/>
                <a:gd name="T16" fmla="*/ 37 w 42"/>
                <a:gd name="T17" fmla="*/ 109 h 109"/>
                <a:gd name="T18" fmla="*/ 10 w 42"/>
                <a:gd name="T19" fmla="*/ 99 h 109"/>
                <a:gd name="T20" fmla="*/ 32 w 42"/>
                <a:gd name="T21" fmla="*/ 99 h 109"/>
                <a:gd name="T22" fmla="*/ 32 w 42"/>
                <a:gd name="T23" fmla="*/ 10 h 109"/>
                <a:gd name="T24" fmla="*/ 10 w 42"/>
                <a:gd name="T25" fmla="*/ 10 h 109"/>
                <a:gd name="T26" fmla="*/ 10 w 42"/>
                <a:gd name="T27" fmla="*/ 9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109">
                  <a:moveTo>
                    <a:pt x="37" y="109"/>
                  </a:moveTo>
                  <a:cubicBezTo>
                    <a:pt x="5" y="109"/>
                    <a:pt x="5" y="109"/>
                    <a:pt x="5" y="109"/>
                  </a:cubicBezTo>
                  <a:cubicBezTo>
                    <a:pt x="2" y="109"/>
                    <a:pt x="0" y="107"/>
                    <a:pt x="0" y="10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0" y="0"/>
                    <a:pt x="42" y="2"/>
                    <a:pt x="42" y="5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2" y="107"/>
                    <a:pt x="40" y="109"/>
                    <a:pt x="37" y="109"/>
                  </a:cubicBezTo>
                  <a:close/>
                  <a:moveTo>
                    <a:pt x="10" y="99"/>
                  </a:moveTo>
                  <a:cubicBezTo>
                    <a:pt x="32" y="99"/>
                    <a:pt x="32" y="99"/>
                    <a:pt x="32" y="9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3" name="Freeform 129">
              <a:extLst>
                <a:ext uri="{FF2B5EF4-FFF2-40B4-BE49-F238E27FC236}">
                  <a16:creationId xmlns:a16="http://schemas.microsoft.com/office/drawing/2014/main" id="{75192025-797B-937E-900E-FA8CA6E59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2336" y="3683000"/>
              <a:ext cx="82550" cy="74613"/>
            </a:xfrm>
            <a:custGeom>
              <a:avLst/>
              <a:gdLst>
                <a:gd name="T0" fmla="*/ 37 w 42"/>
                <a:gd name="T1" fmla="*/ 38 h 38"/>
                <a:gd name="T2" fmla="*/ 5 w 42"/>
                <a:gd name="T3" fmla="*/ 38 h 38"/>
                <a:gd name="T4" fmla="*/ 1 w 42"/>
                <a:gd name="T5" fmla="*/ 36 h 38"/>
                <a:gd name="T6" fmla="*/ 1 w 42"/>
                <a:gd name="T7" fmla="*/ 31 h 38"/>
                <a:gd name="T8" fmla="*/ 17 w 42"/>
                <a:gd name="T9" fmla="*/ 3 h 38"/>
                <a:gd name="T10" fmla="*/ 25 w 42"/>
                <a:gd name="T11" fmla="*/ 3 h 38"/>
                <a:gd name="T12" fmla="*/ 41 w 42"/>
                <a:gd name="T13" fmla="*/ 31 h 38"/>
                <a:gd name="T14" fmla="*/ 41 w 42"/>
                <a:gd name="T15" fmla="*/ 36 h 38"/>
                <a:gd name="T16" fmla="*/ 37 w 42"/>
                <a:gd name="T17" fmla="*/ 38 h 38"/>
                <a:gd name="T18" fmla="*/ 14 w 42"/>
                <a:gd name="T19" fmla="*/ 28 h 38"/>
                <a:gd name="T20" fmla="*/ 28 w 42"/>
                <a:gd name="T21" fmla="*/ 28 h 38"/>
                <a:gd name="T22" fmla="*/ 21 w 42"/>
                <a:gd name="T23" fmla="*/ 15 h 38"/>
                <a:gd name="T24" fmla="*/ 14 w 42"/>
                <a:gd name="T25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38">
                  <a:moveTo>
                    <a:pt x="37" y="38"/>
                  </a:moveTo>
                  <a:cubicBezTo>
                    <a:pt x="5" y="38"/>
                    <a:pt x="5" y="38"/>
                    <a:pt x="5" y="38"/>
                  </a:cubicBezTo>
                  <a:cubicBezTo>
                    <a:pt x="3" y="38"/>
                    <a:pt x="1" y="37"/>
                    <a:pt x="1" y="36"/>
                  </a:cubicBezTo>
                  <a:cubicBezTo>
                    <a:pt x="0" y="34"/>
                    <a:pt x="0" y="32"/>
                    <a:pt x="1" y="3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0"/>
                    <a:pt x="23" y="0"/>
                    <a:pt x="25" y="3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2" y="32"/>
                    <a:pt x="42" y="34"/>
                    <a:pt x="41" y="36"/>
                  </a:cubicBezTo>
                  <a:cubicBezTo>
                    <a:pt x="40" y="37"/>
                    <a:pt x="39" y="38"/>
                    <a:pt x="37" y="38"/>
                  </a:cubicBezTo>
                  <a:close/>
                  <a:moveTo>
                    <a:pt x="14" y="28"/>
                  </a:moveTo>
                  <a:cubicBezTo>
                    <a:pt x="28" y="28"/>
                    <a:pt x="28" y="28"/>
                    <a:pt x="28" y="28"/>
                  </a:cubicBezTo>
                  <a:cubicBezTo>
                    <a:pt x="21" y="15"/>
                    <a:pt x="21" y="15"/>
                    <a:pt x="21" y="15"/>
                  </a:cubicBezTo>
                  <a:lnTo>
                    <a:pt x="14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4" name="Freeform 130">
              <a:extLst>
                <a:ext uri="{FF2B5EF4-FFF2-40B4-BE49-F238E27FC236}">
                  <a16:creationId xmlns:a16="http://schemas.microsoft.com/office/drawing/2014/main" id="{5DA23D31-4CFE-3808-D2BE-129D4D202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2336" y="3932238"/>
              <a:ext cx="82550" cy="74613"/>
            </a:xfrm>
            <a:custGeom>
              <a:avLst/>
              <a:gdLst>
                <a:gd name="T0" fmla="*/ 37 w 42"/>
                <a:gd name="T1" fmla="*/ 38 h 38"/>
                <a:gd name="T2" fmla="*/ 5 w 42"/>
                <a:gd name="T3" fmla="*/ 38 h 38"/>
                <a:gd name="T4" fmla="*/ 0 w 42"/>
                <a:gd name="T5" fmla="*/ 33 h 38"/>
                <a:gd name="T6" fmla="*/ 0 w 42"/>
                <a:gd name="T7" fmla="*/ 5 h 38"/>
                <a:gd name="T8" fmla="*/ 5 w 42"/>
                <a:gd name="T9" fmla="*/ 0 h 38"/>
                <a:gd name="T10" fmla="*/ 37 w 42"/>
                <a:gd name="T11" fmla="*/ 0 h 38"/>
                <a:gd name="T12" fmla="*/ 42 w 42"/>
                <a:gd name="T13" fmla="*/ 5 h 38"/>
                <a:gd name="T14" fmla="*/ 42 w 42"/>
                <a:gd name="T15" fmla="*/ 33 h 38"/>
                <a:gd name="T16" fmla="*/ 37 w 42"/>
                <a:gd name="T17" fmla="*/ 38 h 38"/>
                <a:gd name="T18" fmla="*/ 10 w 42"/>
                <a:gd name="T19" fmla="*/ 28 h 38"/>
                <a:gd name="T20" fmla="*/ 32 w 42"/>
                <a:gd name="T21" fmla="*/ 28 h 38"/>
                <a:gd name="T22" fmla="*/ 32 w 42"/>
                <a:gd name="T23" fmla="*/ 10 h 38"/>
                <a:gd name="T24" fmla="*/ 10 w 42"/>
                <a:gd name="T25" fmla="*/ 10 h 38"/>
                <a:gd name="T26" fmla="*/ 10 w 42"/>
                <a:gd name="T27" fmla="*/ 2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38">
                  <a:moveTo>
                    <a:pt x="37" y="38"/>
                  </a:moveTo>
                  <a:cubicBezTo>
                    <a:pt x="5" y="38"/>
                    <a:pt x="5" y="38"/>
                    <a:pt x="5" y="38"/>
                  </a:cubicBezTo>
                  <a:cubicBezTo>
                    <a:pt x="2" y="38"/>
                    <a:pt x="0" y="35"/>
                    <a:pt x="0" y="3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0" y="0"/>
                    <a:pt x="42" y="3"/>
                    <a:pt x="42" y="5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5"/>
                    <a:pt x="40" y="38"/>
                    <a:pt x="37" y="38"/>
                  </a:cubicBezTo>
                  <a:close/>
                  <a:moveTo>
                    <a:pt x="10" y="28"/>
                  </a:moveTo>
                  <a:cubicBezTo>
                    <a:pt x="32" y="28"/>
                    <a:pt x="32" y="28"/>
                    <a:pt x="32" y="28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1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5" name="Rectangle 131">
              <a:extLst>
                <a:ext uri="{FF2B5EF4-FFF2-40B4-BE49-F238E27FC236}">
                  <a16:creationId xmlns:a16="http://schemas.microsoft.com/office/drawing/2014/main" id="{9D29E8ED-C63B-59E0-6F10-7E01D823F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4086" y="3748088"/>
              <a:ext cx="19050" cy="193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6" name="Rectangle 132">
              <a:extLst>
                <a:ext uri="{FF2B5EF4-FFF2-40B4-BE49-F238E27FC236}">
                  <a16:creationId xmlns:a16="http://schemas.microsoft.com/office/drawing/2014/main" id="{E5BE8F9E-89FD-0FC4-E3BC-29BC19D79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01374" y="4008438"/>
              <a:ext cx="30162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4668D4D3-688F-EC39-5DF6-329B0A754D0C}"/>
              </a:ext>
            </a:extLst>
          </p:cNvPr>
          <p:cNvGrpSpPr/>
          <p:nvPr/>
        </p:nvGrpSpPr>
        <p:grpSpPr>
          <a:xfrm flipH="1">
            <a:off x="4488106" y="5399094"/>
            <a:ext cx="567824" cy="523598"/>
            <a:chOff x="1031876" y="-3352800"/>
            <a:chExt cx="509588" cy="469900"/>
          </a:xfrm>
          <a:solidFill>
            <a:sysClr val="window" lastClr="FFFFFF"/>
          </a:solidFill>
        </p:grpSpPr>
        <p:sp>
          <p:nvSpPr>
            <p:cNvPr id="98" name="Freeform 7228">
              <a:extLst>
                <a:ext uri="{FF2B5EF4-FFF2-40B4-BE49-F238E27FC236}">
                  <a16:creationId xmlns:a16="http://schemas.microsoft.com/office/drawing/2014/main" id="{FEF1FC89-85C3-716C-2BEA-73CC60A062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31913" y="-3171825"/>
              <a:ext cx="166688" cy="166688"/>
            </a:xfrm>
            <a:custGeom>
              <a:avLst/>
              <a:gdLst>
                <a:gd name="T0" fmla="*/ 39 w 78"/>
                <a:gd name="T1" fmla="*/ 78 h 78"/>
                <a:gd name="T2" fmla="*/ 0 w 78"/>
                <a:gd name="T3" fmla="*/ 39 h 78"/>
                <a:gd name="T4" fmla="*/ 39 w 78"/>
                <a:gd name="T5" fmla="*/ 0 h 78"/>
                <a:gd name="T6" fmla="*/ 78 w 78"/>
                <a:gd name="T7" fmla="*/ 39 h 78"/>
                <a:gd name="T8" fmla="*/ 39 w 78"/>
                <a:gd name="T9" fmla="*/ 78 h 78"/>
                <a:gd name="T10" fmla="*/ 39 w 78"/>
                <a:gd name="T11" fmla="*/ 6 h 78"/>
                <a:gd name="T12" fmla="*/ 6 w 78"/>
                <a:gd name="T13" fmla="*/ 39 h 78"/>
                <a:gd name="T14" fmla="*/ 39 w 78"/>
                <a:gd name="T15" fmla="*/ 72 h 78"/>
                <a:gd name="T16" fmla="*/ 72 w 78"/>
                <a:gd name="T17" fmla="*/ 39 h 78"/>
                <a:gd name="T18" fmla="*/ 39 w 78"/>
                <a:gd name="T19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39" y="78"/>
                  </a:moveTo>
                  <a:cubicBezTo>
                    <a:pt x="17" y="78"/>
                    <a:pt x="0" y="61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1" y="0"/>
                    <a:pt x="78" y="17"/>
                    <a:pt x="78" y="39"/>
                  </a:cubicBezTo>
                  <a:cubicBezTo>
                    <a:pt x="78" y="61"/>
                    <a:pt x="61" y="78"/>
                    <a:pt x="39" y="78"/>
                  </a:cubicBezTo>
                  <a:close/>
                  <a:moveTo>
                    <a:pt x="39" y="6"/>
                  </a:moveTo>
                  <a:cubicBezTo>
                    <a:pt x="21" y="6"/>
                    <a:pt x="6" y="21"/>
                    <a:pt x="6" y="39"/>
                  </a:cubicBezTo>
                  <a:cubicBezTo>
                    <a:pt x="6" y="57"/>
                    <a:pt x="21" y="72"/>
                    <a:pt x="39" y="72"/>
                  </a:cubicBezTo>
                  <a:cubicBezTo>
                    <a:pt x="57" y="72"/>
                    <a:pt x="72" y="57"/>
                    <a:pt x="72" y="39"/>
                  </a:cubicBezTo>
                  <a:cubicBezTo>
                    <a:pt x="72" y="21"/>
                    <a:pt x="57" y="6"/>
                    <a:pt x="39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99" name="Freeform 7229">
              <a:extLst>
                <a:ext uri="{FF2B5EF4-FFF2-40B4-BE49-F238E27FC236}">
                  <a16:creationId xmlns:a16="http://schemas.microsoft.com/office/drawing/2014/main" id="{ADC99EA4-43F3-B24A-1245-2F51C5F0C2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7313" y="-3048000"/>
              <a:ext cx="115888" cy="165100"/>
            </a:xfrm>
            <a:custGeom>
              <a:avLst/>
              <a:gdLst>
                <a:gd name="T0" fmla="*/ 54 w 54"/>
                <a:gd name="T1" fmla="*/ 77 h 77"/>
                <a:gd name="T2" fmla="*/ 27 w 54"/>
                <a:gd name="T3" fmla="*/ 50 h 77"/>
                <a:gd name="T4" fmla="*/ 0 w 54"/>
                <a:gd name="T5" fmla="*/ 77 h 77"/>
                <a:gd name="T6" fmla="*/ 0 w 54"/>
                <a:gd name="T7" fmla="*/ 0 h 77"/>
                <a:gd name="T8" fmla="*/ 5 w 54"/>
                <a:gd name="T9" fmla="*/ 5 h 77"/>
                <a:gd name="T10" fmla="*/ 27 w 54"/>
                <a:gd name="T11" fmla="*/ 14 h 77"/>
                <a:gd name="T12" fmla="*/ 49 w 54"/>
                <a:gd name="T13" fmla="*/ 5 h 77"/>
                <a:gd name="T14" fmla="*/ 54 w 54"/>
                <a:gd name="T15" fmla="*/ 0 h 77"/>
                <a:gd name="T16" fmla="*/ 54 w 54"/>
                <a:gd name="T17" fmla="*/ 77 h 77"/>
                <a:gd name="T18" fmla="*/ 27 w 54"/>
                <a:gd name="T19" fmla="*/ 40 h 77"/>
                <a:gd name="T20" fmla="*/ 48 w 54"/>
                <a:gd name="T21" fmla="*/ 61 h 77"/>
                <a:gd name="T22" fmla="*/ 48 w 54"/>
                <a:gd name="T23" fmla="*/ 15 h 77"/>
                <a:gd name="T24" fmla="*/ 6 w 54"/>
                <a:gd name="T25" fmla="*/ 15 h 77"/>
                <a:gd name="T26" fmla="*/ 6 w 54"/>
                <a:gd name="T27" fmla="*/ 61 h 77"/>
                <a:gd name="T28" fmla="*/ 27 w 54"/>
                <a:gd name="T2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77">
                  <a:moveTo>
                    <a:pt x="54" y="77"/>
                  </a:moveTo>
                  <a:cubicBezTo>
                    <a:pt x="27" y="50"/>
                    <a:pt x="27" y="50"/>
                    <a:pt x="27" y="50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11" y="11"/>
                    <a:pt x="19" y="14"/>
                    <a:pt x="27" y="14"/>
                  </a:cubicBezTo>
                  <a:cubicBezTo>
                    <a:pt x="35" y="14"/>
                    <a:pt x="43" y="11"/>
                    <a:pt x="49" y="5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54" y="77"/>
                  </a:lnTo>
                  <a:close/>
                  <a:moveTo>
                    <a:pt x="27" y="40"/>
                  </a:moveTo>
                  <a:cubicBezTo>
                    <a:pt x="48" y="61"/>
                    <a:pt x="48" y="61"/>
                    <a:pt x="48" y="61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35" y="22"/>
                    <a:pt x="19" y="22"/>
                    <a:pt x="6" y="15"/>
                  </a:cubicBezTo>
                  <a:cubicBezTo>
                    <a:pt x="6" y="61"/>
                    <a:pt x="6" y="61"/>
                    <a:pt x="6" y="61"/>
                  </a:cubicBezTo>
                  <a:lnTo>
                    <a:pt x="27" y="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0" name="Freeform 7230">
              <a:extLst>
                <a:ext uri="{FF2B5EF4-FFF2-40B4-BE49-F238E27FC236}">
                  <a16:creationId xmlns:a16="http://schemas.microsoft.com/office/drawing/2014/main" id="{1F1AB245-8F73-D08D-5B47-D9C51D6AA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838" y="-3189287"/>
              <a:ext cx="14288" cy="20638"/>
            </a:xfrm>
            <a:custGeom>
              <a:avLst/>
              <a:gdLst>
                <a:gd name="T0" fmla="*/ 3 w 6"/>
                <a:gd name="T1" fmla="*/ 10 h 10"/>
                <a:gd name="T2" fmla="*/ 0 w 6"/>
                <a:gd name="T3" fmla="*/ 7 h 10"/>
                <a:gd name="T4" fmla="*/ 0 w 6"/>
                <a:gd name="T5" fmla="*/ 3 h 10"/>
                <a:gd name="T6" fmla="*/ 3 w 6"/>
                <a:gd name="T7" fmla="*/ 0 h 10"/>
                <a:gd name="T8" fmla="*/ 6 w 6"/>
                <a:gd name="T9" fmla="*/ 3 h 10"/>
                <a:gd name="T10" fmla="*/ 6 w 6"/>
                <a:gd name="T11" fmla="*/ 7 h 10"/>
                <a:gd name="T12" fmla="*/ 3 w 6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3" y="10"/>
                  </a:moveTo>
                  <a:cubicBezTo>
                    <a:pt x="1" y="10"/>
                    <a:pt x="0" y="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9"/>
                    <a:pt x="5" y="10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1" name="Freeform 7231">
              <a:extLst>
                <a:ext uri="{FF2B5EF4-FFF2-40B4-BE49-F238E27FC236}">
                  <a16:creationId xmlns:a16="http://schemas.microsoft.com/office/drawing/2014/main" id="{9E345FB4-6CFC-BF82-649C-7A22CE421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838" y="-3260725"/>
              <a:ext cx="14288" cy="34925"/>
            </a:xfrm>
            <a:custGeom>
              <a:avLst/>
              <a:gdLst>
                <a:gd name="T0" fmla="*/ 3 w 6"/>
                <a:gd name="T1" fmla="*/ 16 h 16"/>
                <a:gd name="T2" fmla="*/ 0 w 6"/>
                <a:gd name="T3" fmla="*/ 13 h 16"/>
                <a:gd name="T4" fmla="*/ 0 w 6"/>
                <a:gd name="T5" fmla="*/ 3 h 16"/>
                <a:gd name="T6" fmla="*/ 3 w 6"/>
                <a:gd name="T7" fmla="*/ 0 h 16"/>
                <a:gd name="T8" fmla="*/ 6 w 6"/>
                <a:gd name="T9" fmla="*/ 3 h 16"/>
                <a:gd name="T10" fmla="*/ 6 w 6"/>
                <a:gd name="T11" fmla="*/ 13 h 16"/>
                <a:gd name="T12" fmla="*/ 3 w 6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6">
                  <a:moveTo>
                    <a:pt x="3" y="16"/>
                  </a:moveTo>
                  <a:cubicBezTo>
                    <a:pt x="1" y="16"/>
                    <a:pt x="0" y="15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5"/>
                    <a:pt x="5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2" name="Freeform 7232">
              <a:extLst>
                <a:ext uri="{FF2B5EF4-FFF2-40B4-BE49-F238E27FC236}">
                  <a16:creationId xmlns:a16="http://schemas.microsoft.com/office/drawing/2014/main" id="{623FB010-74B1-09CB-2428-A63F812EE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1" y="-3317875"/>
              <a:ext cx="22225" cy="20638"/>
            </a:xfrm>
            <a:custGeom>
              <a:avLst/>
              <a:gdLst>
                <a:gd name="T0" fmla="*/ 7 w 10"/>
                <a:gd name="T1" fmla="*/ 10 h 10"/>
                <a:gd name="T2" fmla="*/ 4 w 10"/>
                <a:gd name="T3" fmla="*/ 7 h 10"/>
                <a:gd name="T4" fmla="*/ 4 w 10"/>
                <a:gd name="T5" fmla="*/ 6 h 10"/>
                <a:gd name="T6" fmla="*/ 3 w 10"/>
                <a:gd name="T7" fmla="*/ 6 h 10"/>
                <a:gd name="T8" fmla="*/ 0 w 10"/>
                <a:gd name="T9" fmla="*/ 3 h 10"/>
                <a:gd name="T10" fmla="*/ 3 w 10"/>
                <a:gd name="T11" fmla="*/ 0 h 10"/>
                <a:gd name="T12" fmla="*/ 10 w 10"/>
                <a:gd name="T13" fmla="*/ 0 h 10"/>
                <a:gd name="T14" fmla="*/ 10 w 10"/>
                <a:gd name="T15" fmla="*/ 7 h 10"/>
                <a:gd name="T16" fmla="*/ 7 w 1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5" y="10"/>
                    <a:pt x="4" y="9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9"/>
                    <a:pt x="9" y="10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3" name="Freeform 7233">
              <a:extLst>
                <a:ext uri="{FF2B5EF4-FFF2-40B4-BE49-F238E27FC236}">
                  <a16:creationId xmlns:a16="http://schemas.microsoft.com/office/drawing/2014/main" id="{B6D39F76-003E-D5B8-CAF3-1AFB4CC477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601" y="-3317875"/>
              <a:ext cx="338138" cy="12700"/>
            </a:xfrm>
            <a:custGeom>
              <a:avLst/>
              <a:gdLst>
                <a:gd name="T0" fmla="*/ 155 w 158"/>
                <a:gd name="T1" fmla="*/ 6 h 6"/>
                <a:gd name="T2" fmla="*/ 146 w 158"/>
                <a:gd name="T3" fmla="*/ 6 h 6"/>
                <a:gd name="T4" fmla="*/ 143 w 158"/>
                <a:gd name="T5" fmla="*/ 3 h 6"/>
                <a:gd name="T6" fmla="*/ 146 w 158"/>
                <a:gd name="T7" fmla="*/ 0 h 6"/>
                <a:gd name="T8" fmla="*/ 155 w 158"/>
                <a:gd name="T9" fmla="*/ 0 h 6"/>
                <a:gd name="T10" fmla="*/ 158 w 158"/>
                <a:gd name="T11" fmla="*/ 3 h 6"/>
                <a:gd name="T12" fmla="*/ 155 w 158"/>
                <a:gd name="T13" fmla="*/ 6 h 6"/>
                <a:gd name="T14" fmla="*/ 126 w 158"/>
                <a:gd name="T15" fmla="*/ 6 h 6"/>
                <a:gd name="T16" fmla="*/ 118 w 158"/>
                <a:gd name="T17" fmla="*/ 6 h 6"/>
                <a:gd name="T18" fmla="*/ 114 w 158"/>
                <a:gd name="T19" fmla="*/ 3 h 6"/>
                <a:gd name="T20" fmla="*/ 118 w 158"/>
                <a:gd name="T21" fmla="*/ 0 h 6"/>
                <a:gd name="T22" fmla="*/ 126 w 158"/>
                <a:gd name="T23" fmla="*/ 0 h 6"/>
                <a:gd name="T24" fmla="*/ 129 w 158"/>
                <a:gd name="T25" fmla="*/ 3 h 6"/>
                <a:gd name="T26" fmla="*/ 126 w 158"/>
                <a:gd name="T27" fmla="*/ 6 h 6"/>
                <a:gd name="T28" fmla="*/ 97 w 158"/>
                <a:gd name="T29" fmla="*/ 6 h 6"/>
                <a:gd name="T30" fmla="*/ 89 w 158"/>
                <a:gd name="T31" fmla="*/ 6 h 6"/>
                <a:gd name="T32" fmla="*/ 86 w 158"/>
                <a:gd name="T33" fmla="*/ 3 h 6"/>
                <a:gd name="T34" fmla="*/ 89 w 158"/>
                <a:gd name="T35" fmla="*/ 0 h 6"/>
                <a:gd name="T36" fmla="*/ 97 w 158"/>
                <a:gd name="T37" fmla="*/ 0 h 6"/>
                <a:gd name="T38" fmla="*/ 101 w 158"/>
                <a:gd name="T39" fmla="*/ 3 h 6"/>
                <a:gd name="T40" fmla="*/ 97 w 158"/>
                <a:gd name="T41" fmla="*/ 6 h 6"/>
                <a:gd name="T42" fmla="*/ 69 w 158"/>
                <a:gd name="T43" fmla="*/ 6 h 6"/>
                <a:gd name="T44" fmla="*/ 61 w 158"/>
                <a:gd name="T45" fmla="*/ 6 h 6"/>
                <a:gd name="T46" fmla="*/ 57 w 158"/>
                <a:gd name="T47" fmla="*/ 3 h 6"/>
                <a:gd name="T48" fmla="*/ 61 w 158"/>
                <a:gd name="T49" fmla="*/ 0 h 6"/>
                <a:gd name="T50" fmla="*/ 69 w 158"/>
                <a:gd name="T51" fmla="*/ 0 h 6"/>
                <a:gd name="T52" fmla="*/ 72 w 158"/>
                <a:gd name="T53" fmla="*/ 3 h 6"/>
                <a:gd name="T54" fmla="*/ 69 w 158"/>
                <a:gd name="T55" fmla="*/ 6 h 6"/>
                <a:gd name="T56" fmla="*/ 40 w 158"/>
                <a:gd name="T57" fmla="*/ 6 h 6"/>
                <a:gd name="T58" fmla="*/ 32 w 158"/>
                <a:gd name="T59" fmla="*/ 6 h 6"/>
                <a:gd name="T60" fmla="*/ 29 w 158"/>
                <a:gd name="T61" fmla="*/ 3 h 6"/>
                <a:gd name="T62" fmla="*/ 32 w 158"/>
                <a:gd name="T63" fmla="*/ 0 h 6"/>
                <a:gd name="T64" fmla="*/ 40 w 158"/>
                <a:gd name="T65" fmla="*/ 0 h 6"/>
                <a:gd name="T66" fmla="*/ 44 w 158"/>
                <a:gd name="T67" fmla="*/ 3 h 6"/>
                <a:gd name="T68" fmla="*/ 40 w 158"/>
                <a:gd name="T69" fmla="*/ 6 h 6"/>
                <a:gd name="T70" fmla="*/ 12 w 158"/>
                <a:gd name="T71" fmla="*/ 6 h 6"/>
                <a:gd name="T72" fmla="*/ 3 w 158"/>
                <a:gd name="T73" fmla="*/ 6 h 6"/>
                <a:gd name="T74" fmla="*/ 0 w 158"/>
                <a:gd name="T75" fmla="*/ 3 h 6"/>
                <a:gd name="T76" fmla="*/ 3 w 158"/>
                <a:gd name="T77" fmla="*/ 0 h 6"/>
                <a:gd name="T78" fmla="*/ 12 w 158"/>
                <a:gd name="T79" fmla="*/ 0 h 6"/>
                <a:gd name="T80" fmla="*/ 15 w 158"/>
                <a:gd name="T81" fmla="*/ 3 h 6"/>
                <a:gd name="T82" fmla="*/ 12 w 158"/>
                <a:gd name="T8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8" h="6">
                  <a:moveTo>
                    <a:pt x="155" y="6"/>
                  </a:moveTo>
                  <a:cubicBezTo>
                    <a:pt x="146" y="6"/>
                    <a:pt x="146" y="6"/>
                    <a:pt x="146" y="6"/>
                  </a:cubicBezTo>
                  <a:cubicBezTo>
                    <a:pt x="145" y="6"/>
                    <a:pt x="143" y="5"/>
                    <a:pt x="143" y="3"/>
                  </a:cubicBezTo>
                  <a:cubicBezTo>
                    <a:pt x="143" y="1"/>
                    <a:pt x="145" y="0"/>
                    <a:pt x="146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6" y="0"/>
                    <a:pt x="158" y="1"/>
                    <a:pt x="158" y="3"/>
                  </a:cubicBezTo>
                  <a:cubicBezTo>
                    <a:pt x="158" y="5"/>
                    <a:pt x="156" y="6"/>
                    <a:pt x="155" y="6"/>
                  </a:cubicBezTo>
                  <a:close/>
                  <a:moveTo>
                    <a:pt x="126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6" y="6"/>
                    <a:pt x="114" y="5"/>
                    <a:pt x="114" y="3"/>
                  </a:cubicBezTo>
                  <a:cubicBezTo>
                    <a:pt x="114" y="1"/>
                    <a:pt x="116" y="0"/>
                    <a:pt x="118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8" y="0"/>
                    <a:pt x="129" y="1"/>
                    <a:pt x="129" y="3"/>
                  </a:cubicBezTo>
                  <a:cubicBezTo>
                    <a:pt x="129" y="5"/>
                    <a:pt x="128" y="6"/>
                    <a:pt x="126" y="6"/>
                  </a:cubicBezTo>
                  <a:close/>
                  <a:moveTo>
                    <a:pt x="97" y="6"/>
                  </a:moveTo>
                  <a:cubicBezTo>
                    <a:pt x="89" y="6"/>
                    <a:pt x="89" y="6"/>
                    <a:pt x="89" y="6"/>
                  </a:cubicBezTo>
                  <a:cubicBezTo>
                    <a:pt x="87" y="6"/>
                    <a:pt x="86" y="5"/>
                    <a:pt x="86" y="3"/>
                  </a:cubicBezTo>
                  <a:cubicBezTo>
                    <a:pt x="86" y="1"/>
                    <a:pt x="87" y="0"/>
                    <a:pt x="89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9" y="0"/>
                    <a:pt x="101" y="1"/>
                    <a:pt x="101" y="3"/>
                  </a:cubicBezTo>
                  <a:cubicBezTo>
                    <a:pt x="101" y="5"/>
                    <a:pt x="99" y="6"/>
                    <a:pt x="97" y="6"/>
                  </a:cubicBezTo>
                  <a:close/>
                  <a:moveTo>
                    <a:pt x="69" y="6"/>
                  </a:moveTo>
                  <a:cubicBezTo>
                    <a:pt x="61" y="6"/>
                    <a:pt x="61" y="6"/>
                    <a:pt x="61" y="6"/>
                  </a:cubicBezTo>
                  <a:cubicBezTo>
                    <a:pt x="59" y="6"/>
                    <a:pt x="57" y="5"/>
                    <a:pt x="57" y="3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1" y="0"/>
                    <a:pt x="72" y="1"/>
                    <a:pt x="72" y="3"/>
                  </a:cubicBezTo>
                  <a:cubicBezTo>
                    <a:pt x="72" y="5"/>
                    <a:pt x="71" y="6"/>
                    <a:pt x="69" y="6"/>
                  </a:cubicBezTo>
                  <a:close/>
                  <a:moveTo>
                    <a:pt x="40" y="6"/>
                  </a:moveTo>
                  <a:cubicBezTo>
                    <a:pt x="32" y="6"/>
                    <a:pt x="32" y="6"/>
                    <a:pt x="32" y="6"/>
                  </a:cubicBezTo>
                  <a:cubicBezTo>
                    <a:pt x="30" y="6"/>
                    <a:pt x="29" y="5"/>
                    <a:pt x="29" y="3"/>
                  </a:cubicBezTo>
                  <a:cubicBezTo>
                    <a:pt x="29" y="1"/>
                    <a:pt x="30" y="0"/>
                    <a:pt x="32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1"/>
                    <a:pt x="44" y="3"/>
                  </a:cubicBezTo>
                  <a:cubicBezTo>
                    <a:pt x="44" y="5"/>
                    <a:pt x="42" y="6"/>
                    <a:pt x="40" y="6"/>
                  </a:cubicBezTo>
                  <a:close/>
                  <a:moveTo>
                    <a:pt x="1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5" y="1"/>
                    <a:pt x="15" y="3"/>
                  </a:cubicBezTo>
                  <a:cubicBezTo>
                    <a:pt x="15" y="5"/>
                    <a:pt x="13" y="6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4" name="Freeform 7234">
              <a:extLst>
                <a:ext uri="{FF2B5EF4-FFF2-40B4-BE49-F238E27FC236}">
                  <a16:creationId xmlns:a16="http://schemas.microsoft.com/office/drawing/2014/main" id="{88E3FD2F-9DA0-6A64-7D09-4E1AF0662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-3317875"/>
              <a:ext cx="22225" cy="20638"/>
            </a:xfrm>
            <a:custGeom>
              <a:avLst/>
              <a:gdLst>
                <a:gd name="T0" fmla="*/ 3 w 10"/>
                <a:gd name="T1" fmla="*/ 10 h 10"/>
                <a:gd name="T2" fmla="*/ 0 w 10"/>
                <a:gd name="T3" fmla="*/ 7 h 10"/>
                <a:gd name="T4" fmla="*/ 0 w 10"/>
                <a:gd name="T5" fmla="*/ 0 h 10"/>
                <a:gd name="T6" fmla="*/ 7 w 10"/>
                <a:gd name="T7" fmla="*/ 0 h 10"/>
                <a:gd name="T8" fmla="*/ 10 w 10"/>
                <a:gd name="T9" fmla="*/ 3 h 10"/>
                <a:gd name="T10" fmla="*/ 7 w 10"/>
                <a:gd name="T11" fmla="*/ 6 h 10"/>
                <a:gd name="T12" fmla="*/ 6 w 10"/>
                <a:gd name="T13" fmla="*/ 6 h 10"/>
                <a:gd name="T14" fmla="*/ 6 w 10"/>
                <a:gd name="T15" fmla="*/ 7 h 10"/>
                <a:gd name="T16" fmla="*/ 3 w 1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3" y="10"/>
                  </a:moveTo>
                  <a:cubicBezTo>
                    <a:pt x="1" y="10"/>
                    <a:pt x="0" y="9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9"/>
                    <a:pt x="5" y="10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5" name="Freeform 7235">
              <a:extLst>
                <a:ext uri="{FF2B5EF4-FFF2-40B4-BE49-F238E27FC236}">
                  <a16:creationId xmlns:a16="http://schemas.microsoft.com/office/drawing/2014/main" id="{9B6CB6B5-A2A3-B35F-5D62-18BCCA0002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213" y="-3267075"/>
              <a:ext cx="12700" cy="219075"/>
            </a:xfrm>
            <a:custGeom>
              <a:avLst/>
              <a:gdLst>
                <a:gd name="T0" fmla="*/ 3 w 6"/>
                <a:gd name="T1" fmla="*/ 102 h 102"/>
                <a:gd name="T2" fmla="*/ 0 w 6"/>
                <a:gd name="T3" fmla="*/ 98 h 102"/>
                <a:gd name="T4" fmla="*/ 0 w 6"/>
                <a:gd name="T5" fmla="*/ 90 h 102"/>
                <a:gd name="T6" fmla="*/ 3 w 6"/>
                <a:gd name="T7" fmla="*/ 87 h 102"/>
                <a:gd name="T8" fmla="*/ 6 w 6"/>
                <a:gd name="T9" fmla="*/ 90 h 102"/>
                <a:gd name="T10" fmla="*/ 6 w 6"/>
                <a:gd name="T11" fmla="*/ 98 h 102"/>
                <a:gd name="T12" fmla="*/ 3 w 6"/>
                <a:gd name="T13" fmla="*/ 102 h 102"/>
                <a:gd name="T14" fmla="*/ 3 w 6"/>
                <a:gd name="T15" fmla="*/ 73 h 102"/>
                <a:gd name="T16" fmla="*/ 0 w 6"/>
                <a:gd name="T17" fmla="*/ 70 h 102"/>
                <a:gd name="T18" fmla="*/ 0 w 6"/>
                <a:gd name="T19" fmla="*/ 61 h 102"/>
                <a:gd name="T20" fmla="*/ 3 w 6"/>
                <a:gd name="T21" fmla="*/ 58 h 102"/>
                <a:gd name="T22" fmla="*/ 6 w 6"/>
                <a:gd name="T23" fmla="*/ 61 h 102"/>
                <a:gd name="T24" fmla="*/ 6 w 6"/>
                <a:gd name="T25" fmla="*/ 70 h 102"/>
                <a:gd name="T26" fmla="*/ 3 w 6"/>
                <a:gd name="T27" fmla="*/ 73 h 102"/>
                <a:gd name="T28" fmla="*/ 3 w 6"/>
                <a:gd name="T29" fmla="*/ 44 h 102"/>
                <a:gd name="T30" fmla="*/ 0 w 6"/>
                <a:gd name="T31" fmla="*/ 41 h 102"/>
                <a:gd name="T32" fmla="*/ 0 w 6"/>
                <a:gd name="T33" fmla="*/ 32 h 102"/>
                <a:gd name="T34" fmla="*/ 3 w 6"/>
                <a:gd name="T35" fmla="*/ 29 h 102"/>
                <a:gd name="T36" fmla="*/ 6 w 6"/>
                <a:gd name="T37" fmla="*/ 32 h 102"/>
                <a:gd name="T38" fmla="*/ 6 w 6"/>
                <a:gd name="T39" fmla="*/ 41 h 102"/>
                <a:gd name="T40" fmla="*/ 3 w 6"/>
                <a:gd name="T41" fmla="*/ 44 h 102"/>
                <a:gd name="T42" fmla="*/ 3 w 6"/>
                <a:gd name="T43" fmla="*/ 15 h 102"/>
                <a:gd name="T44" fmla="*/ 0 w 6"/>
                <a:gd name="T45" fmla="*/ 12 h 102"/>
                <a:gd name="T46" fmla="*/ 0 w 6"/>
                <a:gd name="T47" fmla="*/ 4 h 102"/>
                <a:gd name="T48" fmla="*/ 3 w 6"/>
                <a:gd name="T49" fmla="*/ 0 h 102"/>
                <a:gd name="T50" fmla="*/ 6 w 6"/>
                <a:gd name="T51" fmla="*/ 4 h 102"/>
                <a:gd name="T52" fmla="*/ 6 w 6"/>
                <a:gd name="T53" fmla="*/ 12 h 102"/>
                <a:gd name="T54" fmla="*/ 3 w 6"/>
                <a:gd name="T55" fmla="*/ 1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" h="102">
                  <a:moveTo>
                    <a:pt x="3" y="102"/>
                  </a:moveTo>
                  <a:cubicBezTo>
                    <a:pt x="1" y="102"/>
                    <a:pt x="0" y="100"/>
                    <a:pt x="0" y="98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88"/>
                    <a:pt x="1" y="87"/>
                    <a:pt x="3" y="87"/>
                  </a:cubicBezTo>
                  <a:cubicBezTo>
                    <a:pt x="5" y="87"/>
                    <a:pt x="6" y="88"/>
                    <a:pt x="6" y="90"/>
                  </a:cubicBezTo>
                  <a:cubicBezTo>
                    <a:pt x="6" y="98"/>
                    <a:pt x="6" y="98"/>
                    <a:pt x="6" y="98"/>
                  </a:cubicBezTo>
                  <a:cubicBezTo>
                    <a:pt x="6" y="100"/>
                    <a:pt x="5" y="102"/>
                    <a:pt x="3" y="102"/>
                  </a:cubicBezTo>
                  <a:close/>
                  <a:moveTo>
                    <a:pt x="3" y="73"/>
                  </a:moveTo>
                  <a:cubicBezTo>
                    <a:pt x="1" y="73"/>
                    <a:pt x="0" y="71"/>
                    <a:pt x="0" y="70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59"/>
                    <a:pt x="1" y="58"/>
                    <a:pt x="3" y="58"/>
                  </a:cubicBezTo>
                  <a:cubicBezTo>
                    <a:pt x="5" y="58"/>
                    <a:pt x="6" y="59"/>
                    <a:pt x="6" y="6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6" y="71"/>
                    <a:pt x="5" y="73"/>
                    <a:pt x="3" y="73"/>
                  </a:cubicBezTo>
                  <a:close/>
                  <a:moveTo>
                    <a:pt x="3" y="44"/>
                  </a:moveTo>
                  <a:cubicBezTo>
                    <a:pt x="1" y="44"/>
                    <a:pt x="0" y="43"/>
                    <a:pt x="0" y="4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1"/>
                    <a:pt x="1" y="29"/>
                    <a:pt x="3" y="29"/>
                  </a:cubicBezTo>
                  <a:cubicBezTo>
                    <a:pt x="5" y="29"/>
                    <a:pt x="6" y="31"/>
                    <a:pt x="6" y="3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3"/>
                    <a:pt x="5" y="44"/>
                    <a:pt x="3" y="44"/>
                  </a:cubicBezTo>
                  <a:close/>
                  <a:moveTo>
                    <a:pt x="3" y="15"/>
                  </a:moveTo>
                  <a:cubicBezTo>
                    <a:pt x="1" y="15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4"/>
                    <a:pt x="5" y="15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6" name="Freeform 7236">
              <a:extLst>
                <a:ext uri="{FF2B5EF4-FFF2-40B4-BE49-F238E27FC236}">
                  <a16:creationId xmlns:a16="http://schemas.microsoft.com/office/drawing/2014/main" id="{BCBE70CF-68E8-82A8-125A-89B671B82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-3017837"/>
              <a:ext cx="22225" cy="22225"/>
            </a:xfrm>
            <a:custGeom>
              <a:avLst/>
              <a:gdLst>
                <a:gd name="T0" fmla="*/ 7 w 10"/>
                <a:gd name="T1" fmla="*/ 10 h 10"/>
                <a:gd name="T2" fmla="*/ 0 w 10"/>
                <a:gd name="T3" fmla="*/ 10 h 10"/>
                <a:gd name="T4" fmla="*/ 0 w 10"/>
                <a:gd name="T5" fmla="*/ 3 h 10"/>
                <a:gd name="T6" fmla="*/ 3 w 10"/>
                <a:gd name="T7" fmla="*/ 0 h 10"/>
                <a:gd name="T8" fmla="*/ 6 w 10"/>
                <a:gd name="T9" fmla="*/ 3 h 10"/>
                <a:gd name="T10" fmla="*/ 6 w 10"/>
                <a:gd name="T11" fmla="*/ 4 h 10"/>
                <a:gd name="T12" fmla="*/ 7 w 10"/>
                <a:gd name="T13" fmla="*/ 4 h 10"/>
                <a:gd name="T14" fmla="*/ 10 w 10"/>
                <a:gd name="T15" fmla="*/ 7 h 10"/>
                <a:gd name="T16" fmla="*/ 7 w 1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4"/>
                    <a:pt x="10" y="5"/>
                    <a:pt x="10" y="7"/>
                  </a:cubicBezTo>
                  <a:cubicBezTo>
                    <a:pt x="10" y="9"/>
                    <a:pt x="9" y="10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7" name="Freeform 7237">
              <a:extLst>
                <a:ext uri="{FF2B5EF4-FFF2-40B4-BE49-F238E27FC236}">
                  <a16:creationId xmlns:a16="http://schemas.microsoft.com/office/drawing/2014/main" id="{0971E598-B5B8-6839-F4CA-E94D7BA84C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601" y="-3009900"/>
              <a:ext cx="149225" cy="14288"/>
            </a:xfrm>
            <a:custGeom>
              <a:avLst/>
              <a:gdLst>
                <a:gd name="T0" fmla="*/ 67 w 70"/>
                <a:gd name="T1" fmla="*/ 6 h 6"/>
                <a:gd name="T2" fmla="*/ 59 w 70"/>
                <a:gd name="T3" fmla="*/ 6 h 6"/>
                <a:gd name="T4" fmla="*/ 56 w 70"/>
                <a:gd name="T5" fmla="*/ 3 h 6"/>
                <a:gd name="T6" fmla="*/ 59 w 70"/>
                <a:gd name="T7" fmla="*/ 0 h 6"/>
                <a:gd name="T8" fmla="*/ 67 w 70"/>
                <a:gd name="T9" fmla="*/ 0 h 6"/>
                <a:gd name="T10" fmla="*/ 70 w 70"/>
                <a:gd name="T11" fmla="*/ 3 h 6"/>
                <a:gd name="T12" fmla="*/ 67 w 70"/>
                <a:gd name="T13" fmla="*/ 6 h 6"/>
                <a:gd name="T14" fmla="*/ 39 w 70"/>
                <a:gd name="T15" fmla="*/ 6 h 6"/>
                <a:gd name="T16" fmla="*/ 31 w 70"/>
                <a:gd name="T17" fmla="*/ 6 h 6"/>
                <a:gd name="T18" fmla="*/ 28 w 70"/>
                <a:gd name="T19" fmla="*/ 3 h 6"/>
                <a:gd name="T20" fmla="*/ 31 w 70"/>
                <a:gd name="T21" fmla="*/ 0 h 6"/>
                <a:gd name="T22" fmla="*/ 39 w 70"/>
                <a:gd name="T23" fmla="*/ 0 h 6"/>
                <a:gd name="T24" fmla="*/ 42 w 70"/>
                <a:gd name="T25" fmla="*/ 3 h 6"/>
                <a:gd name="T26" fmla="*/ 39 w 70"/>
                <a:gd name="T27" fmla="*/ 6 h 6"/>
                <a:gd name="T28" fmla="*/ 11 w 70"/>
                <a:gd name="T29" fmla="*/ 6 h 6"/>
                <a:gd name="T30" fmla="*/ 3 w 70"/>
                <a:gd name="T31" fmla="*/ 6 h 6"/>
                <a:gd name="T32" fmla="*/ 0 w 70"/>
                <a:gd name="T33" fmla="*/ 3 h 6"/>
                <a:gd name="T34" fmla="*/ 3 w 70"/>
                <a:gd name="T35" fmla="*/ 0 h 6"/>
                <a:gd name="T36" fmla="*/ 11 w 70"/>
                <a:gd name="T37" fmla="*/ 0 h 6"/>
                <a:gd name="T38" fmla="*/ 14 w 70"/>
                <a:gd name="T39" fmla="*/ 3 h 6"/>
                <a:gd name="T40" fmla="*/ 11 w 70"/>
                <a:gd name="T4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" h="6">
                  <a:moveTo>
                    <a:pt x="67" y="6"/>
                  </a:moveTo>
                  <a:cubicBezTo>
                    <a:pt x="59" y="6"/>
                    <a:pt x="59" y="6"/>
                    <a:pt x="59" y="6"/>
                  </a:cubicBezTo>
                  <a:cubicBezTo>
                    <a:pt x="57" y="6"/>
                    <a:pt x="56" y="5"/>
                    <a:pt x="56" y="3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9" y="0"/>
                    <a:pt x="70" y="1"/>
                    <a:pt x="70" y="3"/>
                  </a:cubicBezTo>
                  <a:cubicBezTo>
                    <a:pt x="70" y="5"/>
                    <a:pt x="69" y="6"/>
                    <a:pt x="67" y="6"/>
                  </a:cubicBezTo>
                  <a:close/>
                  <a:moveTo>
                    <a:pt x="39" y="6"/>
                  </a:moveTo>
                  <a:cubicBezTo>
                    <a:pt x="31" y="6"/>
                    <a:pt x="31" y="6"/>
                    <a:pt x="31" y="6"/>
                  </a:cubicBezTo>
                  <a:cubicBezTo>
                    <a:pt x="29" y="6"/>
                    <a:pt x="28" y="5"/>
                    <a:pt x="28" y="3"/>
                  </a:cubicBezTo>
                  <a:cubicBezTo>
                    <a:pt x="28" y="1"/>
                    <a:pt x="29" y="0"/>
                    <a:pt x="31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2" y="1"/>
                    <a:pt x="42" y="3"/>
                  </a:cubicBezTo>
                  <a:cubicBezTo>
                    <a:pt x="42" y="5"/>
                    <a:pt x="41" y="6"/>
                    <a:pt x="39" y="6"/>
                  </a:cubicBezTo>
                  <a:close/>
                  <a:moveTo>
                    <a:pt x="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3" y="0"/>
                    <a:pt x="14" y="1"/>
                    <a:pt x="14" y="3"/>
                  </a:cubicBezTo>
                  <a:cubicBezTo>
                    <a:pt x="14" y="5"/>
                    <a:pt x="13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8" name="Freeform 7238">
              <a:extLst>
                <a:ext uri="{FF2B5EF4-FFF2-40B4-BE49-F238E27FC236}">
                  <a16:creationId xmlns:a16="http://schemas.microsoft.com/office/drawing/2014/main" id="{ED29C974-F4BE-B27B-9B5A-9D95EBB66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988" y="-3009900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5"/>
                    <a:pt x="9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09" name="Freeform 7239">
              <a:extLst>
                <a:ext uri="{FF2B5EF4-FFF2-40B4-BE49-F238E27FC236}">
                  <a16:creationId xmlns:a16="http://schemas.microsoft.com/office/drawing/2014/main" id="{8375FBD1-6315-4CC4-DC07-AA8AED592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876" y="-3352800"/>
              <a:ext cx="509588" cy="390525"/>
            </a:xfrm>
            <a:custGeom>
              <a:avLst/>
              <a:gdLst>
                <a:gd name="T0" fmla="*/ 238 w 238"/>
                <a:gd name="T1" fmla="*/ 182 h 182"/>
                <a:gd name="T2" fmla="*/ 200 w 238"/>
                <a:gd name="T3" fmla="*/ 182 h 182"/>
                <a:gd name="T4" fmla="*/ 200 w 238"/>
                <a:gd name="T5" fmla="*/ 157 h 182"/>
                <a:gd name="T6" fmla="*/ 158 w 238"/>
                <a:gd name="T7" fmla="*/ 157 h 182"/>
                <a:gd name="T8" fmla="*/ 158 w 238"/>
                <a:gd name="T9" fmla="*/ 182 h 182"/>
                <a:gd name="T10" fmla="*/ 0 w 238"/>
                <a:gd name="T11" fmla="*/ 182 h 182"/>
                <a:gd name="T12" fmla="*/ 0 w 238"/>
                <a:gd name="T13" fmla="*/ 0 h 182"/>
                <a:gd name="T14" fmla="*/ 238 w 238"/>
                <a:gd name="T15" fmla="*/ 0 h 182"/>
                <a:gd name="T16" fmla="*/ 238 w 238"/>
                <a:gd name="T17" fmla="*/ 182 h 182"/>
                <a:gd name="T18" fmla="*/ 206 w 238"/>
                <a:gd name="T19" fmla="*/ 176 h 182"/>
                <a:gd name="T20" fmla="*/ 232 w 238"/>
                <a:gd name="T21" fmla="*/ 176 h 182"/>
                <a:gd name="T22" fmla="*/ 232 w 238"/>
                <a:gd name="T23" fmla="*/ 6 h 182"/>
                <a:gd name="T24" fmla="*/ 6 w 238"/>
                <a:gd name="T25" fmla="*/ 6 h 182"/>
                <a:gd name="T26" fmla="*/ 6 w 238"/>
                <a:gd name="T27" fmla="*/ 176 h 182"/>
                <a:gd name="T28" fmla="*/ 152 w 238"/>
                <a:gd name="T29" fmla="*/ 176 h 182"/>
                <a:gd name="T30" fmla="*/ 152 w 238"/>
                <a:gd name="T31" fmla="*/ 142 h 182"/>
                <a:gd name="T32" fmla="*/ 157 w 238"/>
                <a:gd name="T33" fmla="*/ 147 h 182"/>
                <a:gd name="T34" fmla="*/ 179 w 238"/>
                <a:gd name="T35" fmla="*/ 156 h 182"/>
                <a:gd name="T36" fmla="*/ 201 w 238"/>
                <a:gd name="T37" fmla="*/ 147 h 182"/>
                <a:gd name="T38" fmla="*/ 206 w 238"/>
                <a:gd name="T39" fmla="*/ 142 h 182"/>
                <a:gd name="T40" fmla="*/ 206 w 238"/>
                <a:gd name="T41" fmla="*/ 176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182">
                  <a:moveTo>
                    <a:pt x="238" y="182"/>
                  </a:moveTo>
                  <a:cubicBezTo>
                    <a:pt x="200" y="182"/>
                    <a:pt x="200" y="182"/>
                    <a:pt x="200" y="182"/>
                  </a:cubicBezTo>
                  <a:cubicBezTo>
                    <a:pt x="200" y="157"/>
                    <a:pt x="200" y="157"/>
                    <a:pt x="200" y="157"/>
                  </a:cubicBezTo>
                  <a:cubicBezTo>
                    <a:pt x="187" y="164"/>
                    <a:pt x="171" y="164"/>
                    <a:pt x="158" y="157"/>
                  </a:cubicBezTo>
                  <a:cubicBezTo>
                    <a:pt x="158" y="182"/>
                    <a:pt x="158" y="182"/>
                    <a:pt x="158" y="18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8" y="0"/>
                    <a:pt x="238" y="0"/>
                    <a:pt x="238" y="0"/>
                  </a:cubicBezTo>
                  <a:lnTo>
                    <a:pt x="238" y="182"/>
                  </a:lnTo>
                  <a:close/>
                  <a:moveTo>
                    <a:pt x="206" y="176"/>
                  </a:moveTo>
                  <a:cubicBezTo>
                    <a:pt x="232" y="176"/>
                    <a:pt x="232" y="176"/>
                    <a:pt x="232" y="176"/>
                  </a:cubicBezTo>
                  <a:cubicBezTo>
                    <a:pt x="232" y="6"/>
                    <a:pt x="232" y="6"/>
                    <a:pt x="232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76"/>
                    <a:pt x="6" y="176"/>
                    <a:pt x="6" y="176"/>
                  </a:cubicBezTo>
                  <a:cubicBezTo>
                    <a:pt x="152" y="176"/>
                    <a:pt x="152" y="176"/>
                    <a:pt x="152" y="176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7" y="147"/>
                    <a:pt x="157" y="147"/>
                    <a:pt x="157" y="147"/>
                  </a:cubicBezTo>
                  <a:cubicBezTo>
                    <a:pt x="163" y="153"/>
                    <a:pt x="171" y="156"/>
                    <a:pt x="179" y="156"/>
                  </a:cubicBezTo>
                  <a:cubicBezTo>
                    <a:pt x="187" y="156"/>
                    <a:pt x="195" y="153"/>
                    <a:pt x="201" y="147"/>
                  </a:cubicBezTo>
                  <a:cubicBezTo>
                    <a:pt x="206" y="142"/>
                    <a:pt x="206" y="142"/>
                    <a:pt x="206" y="142"/>
                  </a:cubicBezTo>
                  <a:lnTo>
                    <a:pt x="206" y="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10" name="Freeform 7242">
              <a:extLst>
                <a:ext uri="{FF2B5EF4-FFF2-40B4-BE49-F238E27FC236}">
                  <a16:creationId xmlns:a16="http://schemas.microsoft.com/office/drawing/2014/main" id="{F52AE16C-179B-0A96-26D0-5566479868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663" y="-3241675"/>
              <a:ext cx="211138" cy="12700"/>
            </a:xfrm>
            <a:custGeom>
              <a:avLst/>
              <a:gdLst>
                <a:gd name="T0" fmla="*/ 95 w 98"/>
                <a:gd name="T1" fmla="*/ 6 h 6"/>
                <a:gd name="T2" fmla="*/ 3 w 98"/>
                <a:gd name="T3" fmla="*/ 6 h 6"/>
                <a:gd name="T4" fmla="*/ 0 w 98"/>
                <a:gd name="T5" fmla="*/ 3 h 6"/>
                <a:gd name="T6" fmla="*/ 3 w 98"/>
                <a:gd name="T7" fmla="*/ 0 h 6"/>
                <a:gd name="T8" fmla="*/ 95 w 98"/>
                <a:gd name="T9" fmla="*/ 0 h 6"/>
                <a:gd name="T10" fmla="*/ 98 w 98"/>
                <a:gd name="T11" fmla="*/ 3 h 6"/>
                <a:gd name="T12" fmla="*/ 95 w 9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" h="6">
                  <a:moveTo>
                    <a:pt x="95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7" y="0"/>
                    <a:pt x="98" y="1"/>
                    <a:pt x="98" y="3"/>
                  </a:cubicBezTo>
                  <a:cubicBezTo>
                    <a:pt x="98" y="5"/>
                    <a:pt x="97" y="6"/>
                    <a:pt x="95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11" name="Freeform 7243">
              <a:extLst>
                <a:ext uri="{FF2B5EF4-FFF2-40B4-BE49-F238E27FC236}">
                  <a16:creationId xmlns:a16="http://schemas.microsoft.com/office/drawing/2014/main" id="{C7C7A497-704B-2889-C307-6D975E1B5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663" y="-3189287"/>
              <a:ext cx="107950" cy="12700"/>
            </a:xfrm>
            <a:custGeom>
              <a:avLst/>
              <a:gdLst>
                <a:gd name="T0" fmla="*/ 47 w 50"/>
                <a:gd name="T1" fmla="*/ 6 h 6"/>
                <a:gd name="T2" fmla="*/ 3 w 50"/>
                <a:gd name="T3" fmla="*/ 6 h 6"/>
                <a:gd name="T4" fmla="*/ 0 w 50"/>
                <a:gd name="T5" fmla="*/ 3 h 6"/>
                <a:gd name="T6" fmla="*/ 3 w 50"/>
                <a:gd name="T7" fmla="*/ 0 h 6"/>
                <a:gd name="T8" fmla="*/ 47 w 50"/>
                <a:gd name="T9" fmla="*/ 0 h 6"/>
                <a:gd name="T10" fmla="*/ 50 w 50"/>
                <a:gd name="T11" fmla="*/ 3 h 6"/>
                <a:gd name="T12" fmla="*/ 47 w 5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">
                  <a:moveTo>
                    <a:pt x="4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5"/>
                    <a:pt x="49" y="6"/>
                    <a:pt x="4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12" name="Freeform 7244">
              <a:extLst>
                <a:ext uri="{FF2B5EF4-FFF2-40B4-BE49-F238E27FC236}">
                  <a16:creationId xmlns:a16="http://schemas.microsoft.com/office/drawing/2014/main" id="{8C6F0529-0305-11BC-E242-F1D51D8A5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663" y="-3138487"/>
              <a:ext cx="82550" cy="12700"/>
            </a:xfrm>
            <a:custGeom>
              <a:avLst/>
              <a:gdLst>
                <a:gd name="T0" fmla="*/ 35 w 38"/>
                <a:gd name="T1" fmla="*/ 6 h 6"/>
                <a:gd name="T2" fmla="*/ 3 w 38"/>
                <a:gd name="T3" fmla="*/ 6 h 6"/>
                <a:gd name="T4" fmla="*/ 0 w 38"/>
                <a:gd name="T5" fmla="*/ 3 h 6"/>
                <a:gd name="T6" fmla="*/ 3 w 38"/>
                <a:gd name="T7" fmla="*/ 0 h 6"/>
                <a:gd name="T8" fmla="*/ 35 w 38"/>
                <a:gd name="T9" fmla="*/ 0 h 6"/>
                <a:gd name="T10" fmla="*/ 38 w 38"/>
                <a:gd name="T11" fmla="*/ 3 h 6"/>
                <a:gd name="T12" fmla="*/ 35 w 38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6">
                  <a:moveTo>
                    <a:pt x="35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5"/>
                    <a:pt x="37" y="6"/>
                    <a:pt x="35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13" name="Freeform 7245">
              <a:extLst>
                <a:ext uri="{FF2B5EF4-FFF2-40B4-BE49-F238E27FC236}">
                  <a16:creationId xmlns:a16="http://schemas.microsoft.com/office/drawing/2014/main" id="{1D20A23A-CD73-CCC8-16C4-C3FC7D6CA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7601" y="-3078162"/>
              <a:ext cx="192088" cy="12700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5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469DB4DE-534C-C0A9-3599-2725A5A3C8E3}"/>
              </a:ext>
            </a:extLst>
          </p:cNvPr>
          <p:cNvCxnSpPr>
            <a:cxnSpLocks/>
          </p:cNvCxnSpPr>
          <p:nvPr/>
        </p:nvCxnSpPr>
        <p:spPr>
          <a:xfrm flipH="1">
            <a:off x="8382855" y="2063240"/>
            <a:ext cx="1916788" cy="0"/>
          </a:xfrm>
          <a:prstGeom prst="line">
            <a:avLst/>
          </a:prstGeom>
          <a:noFill/>
          <a:ln w="12700" cap="flat" cmpd="sng" algn="ctr">
            <a:solidFill>
              <a:srgbClr val="0295D9"/>
            </a:solidFill>
            <a:prstDash val="solid"/>
            <a:miter lim="800000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3EAC64C7-E253-FB3F-140A-00D25545990B}"/>
              </a:ext>
            </a:extLst>
          </p:cNvPr>
          <p:cNvCxnSpPr>
            <a:cxnSpLocks/>
          </p:cNvCxnSpPr>
          <p:nvPr/>
        </p:nvCxnSpPr>
        <p:spPr>
          <a:xfrm flipH="1">
            <a:off x="1883355" y="5346690"/>
            <a:ext cx="2016000" cy="2586"/>
          </a:xfrm>
          <a:prstGeom prst="line">
            <a:avLst/>
          </a:prstGeom>
          <a:noFill/>
          <a:ln w="12700" cap="flat" cmpd="sng" algn="ctr">
            <a:solidFill>
              <a:srgbClr val="F3AB21"/>
            </a:solidFill>
            <a:prstDash val="solid"/>
            <a:miter lim="800000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821D39A-1E69-E4FE-5401-4A47726C52E2}"/>
              </a:ext>
            </a:extLst>
          </p:cNvPr>
          <p:cNvCxnSpPr>
            <a:cxnSpLocks/>
          </p:cNvCxnSpPr>
          <p:nvPr/>
        </p:nvCxnSpPr>
        <p:spPr>
          <a:xfrm flipH="1">
            <a:off x="1550971" y="2961926"/>
            <a:ext cx="1692000" cy="0"/>
          </a:xfrm>
          <a:prstGeom prst="line">
            <a:avLst/>
          </a:prstGeom>
          <a:noFill/>
          <a:ln w="12700" cap="flat" cmpd="sng" algn="ctr">
            <a:solidFill>
              <a:srgbClr val="213F99"/>
            </a:solidFill>
            <a:prstDash val="solid"/>
            <a:miter lim="800000"/>
          </a:ln>
          <a:effectLst/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387FCB35-987C-BF8D-BA84-DB2108AB7651}"/>
              </a:ext>
            </a:extLst>
          </p:cNvPr>
          <p:cNvCxnSpPr>
            <a:cxnSpLocks/>
          </p:cNvCxnSpPr>
          <p:nvPr/>
        </p:nvCxnSpPr>
        <p:spPr>
          <a:xfrm flipH="1">
            <a:off x="8209768" y="5096119"/>
            <a:ext cx="1908000" cy="0"/>
          </a:xfrm>
          <a:prstGeom prst="line">
            <a:avLst/>
          </a:prstGeom>
          <a:noFill/>
          <a:ln w="12700" cap="flat" cmpd="sng" algn="ctr">
            <a:solidFill>
              <a:srgbClr val="B63E8A"/>
            </a:solidFill>
            <a:prstDash val="solid"/>
            <a:miter lim="800000"/>
          </a:ln>
          <a:effectLst/>
        </p:spPr>
      </p:cxnSp>
      <p:sp>
        <p:nvSpPr>
          <p:cNvPr id="118" name="CaixaDeTexto 16">
            <a:extLst>
              <a:ext uri="{FF2B5EF4-FFF2-40B4-BE49-F238E27FC236}">
                <a16:creationId xmlns:a16="http://schemas.microsoft.com/office/drawing/2014/main" id="{65B8C12D-705A-986C-9D02-8BE899342CC5}"/>
              </a:ext>
            </a:extLst>
          </p:cNvPr>
          <p:cNvSpPr txBox="1"/>
          <p:nvPr/>
        </p:nvSpPr>
        <p:spPr>
          <a:xfrm flipH="1">
            <a:off x="4850219" y="795285"/>
            <a:ext cx="2902506" cy="8557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36000" tIns="36000" rIns="36000" bIns="36000" numCol="1" spcCol="38100" rtlCol="0" anchor="ctr">
            <a:noAutofit/>
          </a:bodyPr>
          <a:lstStyle/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55B4E6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5.</a:t>
            </a:r>
          </a:p>
          <a:p>
            <a:pPr marL="0" marR="0" lvl="0" indent="0" algn="l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55B4E6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Collaborate with various partners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55B4E6"/>
                </a:solidFill>
                <a:effectLst/>
                <a:uLnTx/>
                <a:uFillTx/>
                <a:latin typeface="Arial" panose="020B0604020202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 to increase access and improve health in LMICs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8F455F6-ED82-596A-DC0C-7E4821212AE1}"/>
              </a:ext>
            </a:extLst>
          </p:cNvPr>
          <p:cNvCxnSpPr>
            <a:cxnSpLocks/>
          </p:cNvCxnSpPr>
          <p:nvPr/>
        </p:nvCxnSpPr>
        <p:spPr>
          <a:xfrm flipH="1">
            <a:off x="4873393" y="1028775"/>
            <a:ext cx="2844000" cy="0"/>
          </a:xfrm>
          <a:prstGeom prst="line">
            <a:avLst/>
          </a:prstGeom>
          <a:noFill/>
          <a:ln w="12700" cap="flat" cmpd="sng" algn="ctr">
            <a:solidFill>
              <a:srgbClr val="55B4E6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18118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 6">
            <a:extLst>
              <a:ext uri="{FF2B5EF4-FFF2-40B4-BE49-F238E27FC236}">
                <a16:creationId xmlns:a16="http://schemas.microsoft.com/office/drawing/2014/main" id="{D7EB8E0C-A420-8448-9A54-92FD53FD2510}"/>
              </a:ext>
            </a:extLst>
          </p:cNvPr>
          <p:cNvSpPr/>
          <p:nvPr/>
        </p:nvSpPr>
        <p:spPr>
          <a:xfrm rot="8100000">
            <a:off x="2808258" y="705307"/>
            <a:ext cx="4362750" cy="4298401"/>
          </a:xfrm>
          <a:prstGeom prst="arc">
            <a:avLst/>
          </a:prstGeom>
          <a:noFill/>
          <a:ln w="12700" cap="flat">
            <a:solidFill>
              <a:srgbClr val="00AEEF"/>
            </a:solidFill>
            <a:prstDash val="dash"/>
            <a:round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4290" tIns="32144" rIns="64290" bIns="32144" numCol="1" spcCol="38100" rtlCol="0" anchor="t">
            <a:noAutofit/>
          </a:bodyPr>
          <a:lstStyle/>
          <a:p>
            <a:pPr marL="0" marR="0" lvl="0" indent="0" algn="l" defTabSz="642883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66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4843F6-7E6A-3E4E-8189-4EAFCE829886}"/>
              </a:ext>
            </a:extLst>
          </p:cNvPr>
          <p:cNvSpPr txBox="1"/>
          <p:nvPr/>
        </p:nvSpPr>
        <p:spPr>
          <a:xfrm>
            <a:off x="4213059" y="3968200"/>
            <a:ext cx="1531912" cy="5030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7" tIns="35717" rIns="35717" bIns="35717" numCol="1" spcCol="38100" rtlCol="0" anchor="ctr">
            <a:spAutoFit/>
          </a:bodyPr>
          <a:lstStyle/>
          <a:p>
            <a:pPr marL="0" marR="0" lvl="0" indent="0" algn="ctr" defTabSz="4107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PT Sans" panose="020B0503020203020204"/>
                <a:ea typeface="+mn-ea"/>
                <a:cs typeface="+mn-cs"/>
                <a:sym typeface="Helvetica Neue Medium"/>
              </a:rPr>
              <a:t>Royalties where appropriat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875CD889-274E-0A43-AA0F-14CFF062CA4C}"/>
              </a:ext>
            </a:extLst>
          </p:cNvPr>
          <p:cNvCxnSpPr/>
          <p:nvPr/>
        </p:nvCxnSpPr>
        <p:spPr>
          <a:xfrm>
            <a:off x="3280867" y="1899925"/>
            <a:ext cx="593412" cy="5675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17824FD-C535-D841-A14A-BD198BE18087}"/>
              </a:ext>
            </a:extLst>
          </p:cNvPr>
          <p:cNvCxnSpPr>
            <a:cxnSpLocks/>
          </p:cNvCxnSpPr>
          <p:nvPr/>
        </p:nvCxnSpPr>
        <p:spPr>
          <a:xfrm flipV="1">
            <a:off x="3156796" y="3425823"/>
            <a:ext cx="717484" cy="500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D40697E-52FF-D24A-A74E-A961D93D5718}"/>
              </a:ext>
            </a:extLst>
          </p:cNvPr>
          <p:cNvCxnSpPr>
            <a:cxnSpLocks/>
          </p:cNvCxnSpPr>
          <p:nvPr/>
        </p:nvCxnSpPr>
        <p:spPr>
          <a:xfrm>
            <a:off x="3228046" y="2946629"/>
            <a:ext cx="6990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B38DDB3-E411-EA42-A0D1-0D3397B31895}"/>
              </a:ext>
            </a:extLst>
          </p:cNvPr>
          <p:cNvSpPr txBox="1"/>
          <p:nvPr/>
        </p:nvSpPr>
        <p:spPr>
          <a:xfrm>
            <a:off x="1729788" y="937870"/>
            <a:ext cx="1847787" cy="369332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0" i="0" u="none" strike="noStrike" kern="1200" cap="none" spc="0" normalizeH="0" baseline="0" noProof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o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12BB54-5F42-2247-9F15-0F3E94A960C6}"/>
              </a:ext>
            </a:extLst>
          </p:cNvPr>
          <p:cNvSpPr txBox="1"/>
          <p:nvPr/>
        </p:nvSpPr>
        <p:spPr>
          <a:xfrm>
            <a:off x="6782370" y="920481"/>
            <a:ext cx="1847787" cy="369332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0" i="0" u="none" strike="noStrike" kern="1200" cap="none" spc="0" normalizeH="0" baseline="0" noProof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ufacturer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99878CF-6B7E-3D47-82EB-83B9B7946535}"/>
              </a:ext>
            </a:extLst>
          </p:cNvPr>
          <p:cNvCxnSpPr>
            <a:cxnSpLocks/>
          </p:cNvCxnSpPr>
          <p:nvPr/>
        </p:nvCxnSpPr>
        <p:spPr>
          <a:xfrm flipV="1">
            <a:off x="6310275" y="1833156"/>
            <a:ext cx="717484" cy="500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C6F8377-FD14-2744-816C-BE3F5187CB77}"/>
              </a:ext>
            </a:extLst>
          </p:cNvPr>
          <p:cNvCxnSpPr>
            <a:cxnSpLocks/>
          </p:cNvCxnSpPr>
          <p:nvPr/>
        </p:nvCxnSpPr>
        <p:spPr>
          <a:xfrm flipV="1">
            <a:off x="6347784" y="2333326"/>
            <a:ext cx="762757" cy="384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0D80EC6-19D0-264F-98D0-511B6BC7BD87}"/>
              </a:ext>
            </a:extLst>
          </p:cNvPr>
          <p:cNvCxnSpPr>
            <a:cxnSpLocks/>
          </p:cNvCxnSpPr>
          <p:nvPr/>
        </p:nvCxnSpPr>
        <p:spPr>
          <a:xfrm flipV="1">
            <a:off x="6347783" y="2964919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1E2B059-F1A2-8C4F-B9AF-63FBF1CA53B9}"/>
              </a:ext>
            </a:extLst>
          </p:cNvPr>
          <p:cNvCxnSpPr>
            <a:cxnSpLocks/>
          </p:cNvCxnSpPr>
          <p:nvPr/>
        </p:nvCxnSpPr>
        <p:spPr>
          <a:xfrm>
            <a:off x="6305704" y="3283367"/>
            <a:ext cx="842075" cy="4612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BB502CA-9518-2E43-B416-E48BCC591532}"/>
              </a:ext>
            </a:extLst>
          </p:cNvPr>
          <p:cNvCxnSpPr>
            <a:cxnSpLocks/>
          </p:cNvCxnSpPr>
          <p:nvPr/>
        </p:nvCxnSpPr>
        <p:spPr>
          <a:xfrm>
            <a:off x="6223003" y="3584780"/>
            <a:ext cx="870820" cy="7046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86104F0F-2923-6F44-BD6B-4F32C5D19B99}"/>
              </a:ext>
            </a:extLst>
          </p:cNvPr>
          <p:cNvSpPr txBox="1"/>
          <p:nvPr/>
        </p:nvSpPr>
        <p:spPr>
          <a:xfrm>
            <a:off x="4100482" y="1279588"/>
            <a:ext cx="1847787" cy="646331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0" i="0" u="none" strike="noStrike" kern="1200" cap="none" spc="0" normalizeH="0" baseline="0" noProof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takeholders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646FB4D-EE4B-A644-B96F-A844B47744EF}"/>
              </a:ext>
            </a:extLst>
          </p:cNvPr>
          <p:cNvCxnSpPr>
            <a:cxnSpLocks/>
          </p:cNvCxnSpPr>
          <p:nvPr/>
        </p:nvCxnSpPr>
        <p:spPr>
          <a:xfrm>
            <a:off x="4989633" y="2078785"/>
            <a:ext cx="0" cy="5090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F745E2B-26C5-D64B-9078-322FDB72738D}"/>
              </a:ext>
            </a:extLst>
          </p:cNvPr>
          <p:cNvCxnSpPr>
            <a:cxnSpLocks/>
          </p:cNvCxnSpPr>
          <p:nvPr/>
        </p:nvCxnSpPr>
        <p:spPr>
          <a:xfrm flipV="1">
            <a:off x="8051813" y="1677095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154903F5-C7E1-CC4E-AA21-25CBE619B05F}"/>
              </a:ext>
            </a:extLst>
          </p:cNvPr>
          <p:cNvCxnSpPr>
            <a:cxnSpLocks/>
          </p:cNvCxnSpPr>
          <p:nvPr/>
        </p:nvCxnSpPr>
        <p:spPr>
          <a:xfrm flipV="1">
            <a:off x="8051812" y="2293441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7F3D697-7459-1C43-9D49-315B0B793C5C}"/>
              </a:ext>
            </a:extLst>
          </p:cNvPr>
          <p:cNvCxnSpPr>
            <a:cxnSpLocks/>
          </p:cNvCxnSpPr>
          <p:nvPr/>
        </p:nvCxnSpPr>
        <p:spPr>
          <a:xfrm flipV="1">
            <a:off x="8051811" y="3536844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BDE4C201-24EC-C24E-9832-5E10ACB19466}"/>
              </a:ext>
            </a:extLst>
          </p:cNvPr>
          <p:cNvCxnSpPr>
            <a:cxnSpLocks/>
          </p:cNvCxnSpPr>
          <p:nvPr/>
        </p:nvCxnSpPr>
        <p:spPr>
          <a:xfrm flipV="1">
            <a:off x="8051812" y="2915142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9C513B3-B020-0542-8A88-07EAD6623BC7}"/>
              </a:ext>
            </a:extLst>
          </p:cNvPr>
          <p:cNvCxnSpPr>
            <a:cxnSpLocks/>
          </p:cNvCxnSpPr>
          <p:nvPr/>
        </p:nvCxnSpPr>
        <p:spPr>
          <a:xfrm flipV="1">
            <a:off x="8051810" y="4221883"/>
            <a:ext cx="869174" cy="83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>
            <a:extLst>
              <a:ext uri="{FF2B5EF4-FFF2-40B4-BE49-F238E27FC236}">
                <a16:creationId xmlns:a16="http://schemas.microsoft.com/office/drawing/2014/main" id="{21A2E64A-9DFF-4340-8A27-C233A28DE7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755" y="1380189"/>
            <a:ext cx="542075" cy="542075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83FB3F82-948E-5E4B-916D-5354D11988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554" y="2702250"/>
            <a:ext cx="542075" cy="54207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F593441-8FFF-9844-AECD-D921E49644C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554" y="3363358"/>
            <a:ext cx="542075" cy="54207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EDBEB78-307A-6C4F-98B4-BADE9925EF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0411" y="3997454"/>
            <a:ext cx="542075" cy="54207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4370311-8827-EF40-B334-7461996E364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0411" y="2038410"/>
            <a:ext cx="542075" cy="542075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A1844A27-E2E2-B048-8D33-F923EC3F009C}"/>
              </a:ext>
            </a:extLst>
          </p:cNvPr>
          <p:cNvSpPr txBox="1"/>
          <p:nvPr/>
        </p:nvSpPr>
        <p:spPr>
          <a:xfrm>
            <a:off x="8964286" y="918755"/>
            <a:ext cx="2093574" cy="369332"/>
          </a:xfrm>
          <a:prstGeom prst="rect">
            <a:avLst/>
          </a:prstGeom>
          <a:noFill/>
          <a:ln w="158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0" i="0" u="none" strike="noStrike" kern="1200" cap="none" spc="0" normalizeH="0" baseline="0" noProof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s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LMICs</a:t>
            </a: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FBD016AA-0C06-F24C-9F3D-FBE116FC24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7049" y="2490823"/>
            <a:ext cx="1981579" cy="111798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1415CC18-E995-3142-BE13-A294824D3169}"/>
              </a:ext>
            </a:extLst>
          </p:cNvPr>
          <p:cNvSpPr txBox="1"/>
          <p:nvPr/>
        </p:nvSpPr>
        <p:spPr>
          <a:xfrm>
            <a:off x="1964406" y="5075419"/>
            <a:ext cx="8380644" cy="369332"/>
          </a:xfrm>
          <a:prstGeom prst="rect">
            <a:avLst/>
          </a:prstGeom>
          <a:noFill/>
          <a:ln w="28575">
            <a:solidFill>
              <a:srgbClr val="41AFE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9" name="Table 55">
            <a:extLst>
              <a:ext uri="{FF2B5EF4-FFF2-40B4-BE49-F238E27FC236}">
                <a16:creationId xmlns:a16="http://schemas.microsoft.com/office/drawing/2014/main" id="{3C5B7977-228A-9642-A08D-9E56B9169D42}"/>
              </a:ext>
            </a:extLst>
          </p:cNvPr>
          <p:cNvGraphicFramePr>
            <a:graphicFrameLocks noGrp="1"/>
          </p:cNvGraphicFramePr>
          <p:nvPr/>
        </p:nvGraphicFramePr>
        <p:xfrm>
          <a:off x="1964406" y="5096170"/>
          <a:ext cx="8613715" cy="195070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58550">
                  <a:extLst>
                    <a:ext uri="{9D8B030D-6E8A-4147-A177-3AD203B41FA5}">
                      <a16:colId xmlns:a16="http://schemas.microsoft.com/office/drawing/2014/main" val="3070412584"/>
                    </a:ext>
                  </a:extLst>
                </a:gridCol>
                <a:gridCol w="4220308">
                  <a:extLst>
                    <a:ext uri="{9D8B030D-6E8A-4147-A177-3AD203B41FA5}">
                      <a16:colId xmlns:a16="http://schemas.microsoft.com/office/drawing/2014/main" val="1200674431"/>
                    </a:ext>
                  </a:extLst>
                </a:gridCol>
                <a:gridCol w="2034857">
                  <a:extLst>
                    <a:ext uri="{9D8B030D-6E8A-4147-A177-3AD203B41FA5}">
                      <a16:colId xmlns:a16="http://schemas.microsoft.com/office/drawing/2014/main" val="607715332"/>
                    </a:ext>
                  </a:extLst>
                </a:gridCol>
              </a:tblGrid>
              <a:tr h="263661">
                <a:tc>
                  <a:txBody>
                    <a:bodyPr/>
                    <a:lstStyle/>
                    <a:p>
                      <a:endParaRPr lang="en-CH" sz="170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 b="1" dirty="0">
                          <a:solidFill>
                            <a:schemeClr val="bg1"/>
                          </a:solidFill>
                        </a:rPr>
                        <a:t>G</a:t>
                      </a:r>
                      <a:r>
                        <a:rPr lang="en-CH" sz="1700" b="1" dirty="0">
                          <a:solidFill>
                            <a:schemeClr val="bg1"/>
                          </a:solidFill>
                        </a:rPr>
                        <a:t>uiding Principles</a:t>
                      </a: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170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3126611"/>
                  </a:ext>
                </a:extLst>
              </a:tr>
              <a:tr h="653424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Public health driven</a:t>
                      </a: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Flexible</a:t>
                      </a: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Bespoke</a:t>
                      </a:r>
                      <a:endParaRPr lang="en-US" sz="1700">
                        <a:solidFill>
                          <a:schemeClr val="bg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US" sz="1700">
                          <a:solidFill>
                            <a:schemeClr val="bg1"/>
                          </a:solidFill>
                        </a:rPr>
                        <a:t>Collaborative</a:t>
                      </a:r>
                      <a:endParaRPr lang="en-CH" sz="170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itchFamily="2" charset="2"/>
                        <a:buChar char="ü"/>
                      </a:pPr>
                      <a:r>
                        <a:rPr lang="en-CH" sz="1700" dirty="0">
                          <a:solidFill>
                            <a:schemeClr val="bg1"/>
                          </a:solidFill>
                        </a:rPr>
                        <a:t>Focus on accelerating access</a:t>
                      </a: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 dirty="0">
                          <a:solidFill>
                            <a:schemeClr val="bg1"/>
                          </a:solidFill>
                        </a:rPr>
                        <a:t>Facilitating innovation (where needed)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</a:pPr>
                      <a:r>
                        <a:rPr lang="en-CH" sz="1700" dirty="0">
                          <a:solidFill>
                            <a:schemeClr val="bg1"/>
                          </a:solidFill>
                        </a:rPr>
                        <a:t>Complementary</a:t>
                      </a:r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 to other access mechanisms </a:t>
                      </a:r>
                      <a:endParaRPr lang="en-CH" sz="1700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Non-exclusive</a:t>
                      </a: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Voluntary</a:t>
                      </a:r>
                    </a:p>
                    <a:p>
                      <a:pPr marL="285750" indent="-285750">
                        <a:buFont typeface="Wingdings" pitchFamily="2" charset="2"/>
                        <a:buChar char="ü"/>
                      </a:pPr>
                      <a:r>
                        <a:rPr lang="en-CH" sz="1700">
                          <a:solidFill>
                            <a:schemeClr val="bg1"/>
                          </a:solidFill>
                        </a:rPr>
                        <a:t>Transparent</a:t>
                      </a:r>
                    </a:p>
                  </a:txBody>
                  <a:tcPr marL="91436" marR="91436" marT="45718" marB="4571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5994746"/>
                  </a:ext>
                </a:extLst>
              </a:tr>
              <a:tr h="355370">
                <a:tc>
                  <a:txBody>
                    <a:bodyPr/>
                    <a:lstStyle/>
                    <a:p>
                      <a:endParaRPr lang="en-CH" sz="250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50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tc>
                  <a:txBody>
                    <a:bodyPr/>
                    <a:lstStyle/>
                    <a:p>
                      <a:endParaRPr lang="en-CH" sz="2500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18" marB="45718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6649745"/>
                  </a:ext>
                </a:extLst>
              </a:tr>
            </a:tbl>
          </a:graphicData>
        </a:graphic>
      </p:graphicFrame>
      <p:pic>
        <p:nvPicPr>
          <p:cNvPr id="57" name="Picture 56">
            <a:extLst>
              <a:ext uri="{FF2B5EF4-FFF2-40B4-BE49-F238E27FC236}">
                <a16:creationId xmlns:a16="http://schemas.microsoft.com/office/drawing/2014/main" id="{32E388F4-EA80-984C-B0E7-EBAAF517B5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767" y="1403488"/>
            <a:ext cx="508265" cy="50826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E4D693DA-EEEE-AD44-A72B-3BE1C0BCF06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766" y="2078308"/>
            <a:ext cx="508265" cy="50826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289C894-7395-B046-A0D6-6D8B5832D3E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765" y="2768346"/>
            <a:ext cx="508265" cy="50826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ED2F5634-7D67-6346-BEA7-5AFC1DDC824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415" y="3457006"/>
            <a:ext cx="508265" cy="50826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DAE7736-3ACB-C440-9798-A6413934AFD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415" y="4175517"/>
            <a:ext cx="508265" cy="508265"/>
          </a:xfrm>
          <a:prstGeom prst="rect">
            <a:avLst/>
          </a:prstGeom>
        </p:spPr>
      </p:pic>
      <p:pic>
        <p:nvPicPr>
          <p:cNvPr id="62" name="Picture 2">
            <a:extLst>
              <a:ext uri="{FF2B5EF4-FFF2-40B4-BE49-F238E27FC236}">
                <a16:creationId xmlns:a16="http://schemas.microsoft.com/office/drawing/2014/main" id="{85D4D78E-F38A-CF40-BD95-81FAC5F64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2126" y="1546785"/>
            <a:ext cx="636897" cy="63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>
            <a:extLst>
              <a:ext uri="{FF2B5EF4-FFF2-40B4-BE49-F238E27FC236}">
                <a16:creationId xmlns:a16="http://schemas.microsoft.com/office/drawing/2014/main" id="{719213B4-8799-3549-87CB-B2F9866D36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1925" y="2682225"/>
            <a:ext cx="636897" cy="63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>
            <a:extLst>
              <a:ext uri="{FF2B5EF4-FFF2-40B4-BE49-F238E27FC236}">
                <a16:creationId xmlns:a16="http://schemas.microsoft.com/office/drawing/2014/main" id="{450BB207-CE69-144D-9C15-AE9364743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1924" y="3945408"/>
            <a:ext cx="636897" cy="63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997D4864-CD0B-FBAA-2AE6-599C5D224A9F}"/>
              </a:ext>
            </a:extLst>
          </p:cNvPr>
          <p:cNvSpPr txBox="1">
            <a:spLocks/>
          </p:cNvSpPr>
          <p:nvPr/>
        </p:nvSpPr>
        <p:spPr>
          <a:xfrm>
            <a:off x="8681737" y="116277"/>
            <a:ext cx="3307064" cy="6077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gradFill>
                  <a:gsLst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213F99"/>
                    </a:gs>
                    <a:gs pos="100000">
                      <a:srgbClr val="55B4E5"/>
                    </a:gs>
                  </a:gsLst>
                  <a:lin ang="0" scaled="0"/>
                </a:gradFill>
                <a:effectLst/>
                <a:uLnTx/>
                <a:uFillTx/>
                <a:latin typeface="PT Sans"/>
                <a:ea typeface="+mj-ea"/>
                <a:cs typeface="+mj-cs"/>
              </a:rPr>
              <a:t>MPP’s operating model </a:t>
            </a:r>
          </a:p>
        </p:txBody>
      </p:sp>
    </p:spTree>
    <p:extLst>
      <p:ext uri="{BB962C8B-B14F-4D97-AF65-F5344CB8AC3E}">
        <p14:creationId xmlns:p14="http://schemas.microsoft.com/office/powerpoint/2010/main" val="2300177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oup 82">
            <a:extLst>
              <a:ext uri="{FF2B5EF4-FFF2-40B4-BE49-F238E27FC236}">
                <a16:creationId xmlns:a16="http://schemas.microsoft.com/office/drawing/2014/main" id="{05FD85E7-3DF2-99E6-D372-44824228E3E5}"/>
              </a:ext>
            </a:extLst>
          </p:cNvPr>
          <p:cNvGrpSpPr/>
          <p:nvPr/>
        </p:nvGrpSpPr>
        <p:grpSpPr>
          <a:xfrm>
            <a:off x="4389508" y="314628"/>
            <a:ext cx="7573437" cy="6127957"/>
            <a:chOff x="4636249" y="150913"/>
            <a:chExt cx="7573437" cy="612795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AFCB451-3F28-98DD-0812-EB3996E866EB}"/>
                </a:ext>
              </a:extLst>
            </p:cNvPr>
            <p:cNvGrpSpPr/>
            <p:nvPr/>
          </p:nvGrpSpPr>
          <p:grpSpPr>
            <a:xfrm>
              <a:off x="4636249" y="150913"/>
              <a:ext cx="7441676" cy="6127957"/>
              <a:chOff x="4636249" y="971617"/>
              <a:chExt cx="7441676" cy="5256452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1C5B2D15-E1A9-4583-CCFA-1F9DDB41580D}"/>
                  </a:ext>
                </a:extLst>
              </p:cNvPr>
              <p:cNvSpPr/>
              <p:nvPr/>
            </p:nvSpPr>
            <p:spPr>
              <a:xfrm>
                <a:off x="4636249" y="3645805"/>
                <a:ext cx="2186720" cy="2582114"/>
              </a:xfrm>
              <a:custGeom>
                <a:avLst/>
                <a:gdLst>
                  <a:gd name="connsiteX0" fmla="*/ 0 w 2328201"/>
                  <a:gd name="connsiteY0" fmla="*/ 0 h 2749177"/>
                  <a:gd name="connsiteX1" fmla="*/ 2328201 w 2328201"/>
                  <a:gd name="connsiteY1" fmla="*/ 0 h 2749177"/>
                  <a:gd name="connsiteX2" fmla="*/ 2328201 w 2328201"/>
                  <a:gd name="connsiteY2" fmla="*/ 2749177 h 2749177"/>
                  <a:gd name="connsiteX3" fmla="*/ 0 w 2328201"/>
                  <a:gd name="connsiteY3" fmla="*/ 2749177 h 2749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8201" h="2749177">
                    <a:moveTo>
                      <a:pt x="0" y="0"/>
                    </a:moveTo>
                    <a:lnTo>
                      <a:pt x="2328201" y="0"/>
                    </a:lnTo>
                    <a:lnTo>
                      <a:pt x="2328201" y="2749177"/>
                    </a:lnTo>
                    <a:lnTo>
                      <a:pt x="0" y="2749177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 w="15926" cap="flat">
                <a:noFill/>
                <a:prstDash val="solid"/>
                <a:miter/>
              </a:ln>
            </p:spPr>
            <p:txBody>
              <a:bodyPr lIns="36000" tIns="36000" rIns="36000" bIns="3600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4348D7EA-F627-EEF8-A544-E9CBDE8A2D2B}"/>
                  </a:ext>
                </a:extLst>
              </p:cNvPr>
              <p:cNvSpPr/>
              <p:nvPr/>
            </p:nvSpPr>
            <p:spPr>
              <a:xfrm>
                <a:off x="6908306" y="3645805"/>
                <a:ext cx="2897561" cy="2582264"/>
              </a:xfrm>
              <a:custGeom>
                <a:avLst/>
                <a:gdLst>
                  <a:gd name="connsiteX0" fmla="*/ 0 w 3085033"/>
                  <a:gd name="connsiteY0" fmla="*/ 0 h 2749336"/>
                  <a:gd name="connsiteX1" fmla="*/ 3085034 w 3085033"/>
                  <a:gd name="connsiteY1" fmla="*/ 0 h 2749336"/>
                  <a:gd name="connsiteX2" fmla="*/ 3085034 w 3085033"/>
                  <a:gd name="connsiteY2" fmla="*/ 2749337 h 2749336"/>
                  <a:gd name="connsiteX3" fmla="*/ 0 w 3085033"/>
                  <a:gd name="connsiteY3" fmla="*/ 2749337 h 274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5033" h="2749336">
                    <a:moveTo>
                      <a:pt x="0" y="0"/>
                    </a:moveTo>
                    <a:lnTo>
                      <a:pt x="3085034" y="0"/>
                    </a:lnTo>
                    <a:lnTo>
                      <a:pt x="3085034" y="2749337"/>
                    </a:lnTo>
                    <a:lnTo>
                      <a:pt x="0" y="2749337"/>
                    </a:ln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  <a:alpha val="62000"/>
                </a:schemeClr>
              </a:solidFill>
              <a:ln w="15926" cap="flat">
                <a:noFill/>
                <a:prstDash val="solid"/>
                <a:miter/>
              </a:ln>
            </p:spPr>
            <p:txBody>
              <a:bodyPr lIns="36000" tIns="36000" rIns="36000" bIns="3600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48" name="Rectangle: Single Corner Rounded 47">
                <a:extLst>
                  <a:ext uri="{FF2B5EF4-FFF2-40B4-BE49-F238E27FC236}">
                    <a16:creationId xmlns:a16="http://schemas.microsoft.com/office/drawing/2014/main" id="{AD64E685-64C8-4C41-10CA-4EBB899EBC00}"/>
                  </a:ext>
                </a:extLst>
              </p:cNvPr>
              <p:cNvSpPr/>
              <p:nvPr/>
            </p:nvSpPr>
            <p:spPr>
              <a:xfrm>
                <a:off x="4636249" y="971617"/>
                <a:ext cx="2186720" cy="2582114"/>
              </a:xfrm>
              <a:prstGeom prst="round1Rect">
                <a:avLst>
                  <a:gd name="adj" fmla="val 12685"/>
                </a:avLst>
              </a:prstGeom>
              <a:solidFill>
                <a:srgbClr val="FFD07B"/>
              </a:solidFill>
              <a:ln w="15926" cap="flat">
                <a:noFill/>
                <a:prstDash val="solid"/>
                <a:miter/>
              </a:ln>
            </p:spPr>
            <p:txBody>
              <a:bodyPr lIns="36000" tIns="36000" rIns="36000" bIns="3600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F63E4040-F4FD-C0F4-4DAE-58A91DAE3E31}"/>
                  </a:ext>
                </a:extLst>
              </p:cNvPr>
              <p:cNvSpPr/>
              <p:nvPr/>
            </p:nvSpPr>
            <p:spPr>
              <a:xfrm>
                <a:off x="6908306" y="971617"/>
                <a:ext cx="2897561" cy="2582264"/>
              </a:xfrm>
              <a:custGeom>
                <a:avLst/>
                <a:gdLst>
                  <a:gd name="connsiteX0" fmla="*/ 0 w 3085033"/>
                  <a:gd name="connsiteY0" fmla="*/ 0 h 2749336"/>
                  <a:gd name="connsiteX1" fmla="*/ 3085034 w 3085033"/>
                  <a:gd name="connsiteY1" fmla="*/ 0 h 2749336"/>
                  <a:gd name="connsiteX2" fmla="*/ 3085034 w 3085033"/>
                  <a:gd name="connsiteY2" fmla="*/ 2749337 h 2749336"/>
                  <a:gd name="connsiteX3" fmla="*/ 0 w 3085033"/>
                  <a:gd name="connsiteY3" fmla="*/ 2749337 h 274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5033" h="2749336">
                    <a:moveTo>
                      <a:pt x="0" y="0"/>
                    </a:moveTo>
                    <a:lnTo>
                      <a:pt x="3085034" y="0"/>
                    </a:lnTo>
                    <a:lnTo>
                      <a:pt x="3085034" y="2749337"/>
                    </a:lnTo>
                    <a:lnTo>
                      <a:pt x="0" y="2749337"/>
                    </a:lnTo>
                    <a:close/>
                  </a:path>
                </a:pathLst>
              </a:custGeom>
              <a:solidFill>
                <a:schemeClr val="accent1">
                  <a:alpha val="88000"/>
                </a:schemeClr>
              </a:solidFill>
              <a:ln w="15926" cap="flat">
                <a:noFill/>
                <a:prstDash val="solid"/>
                <a:miter/>
              </a:ln>
            </p:spPr>
            <p:txBody>
              <a:bodyPr lIns="36000" tIns="36000" rIns="36000" bIns="3600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CE9606F4-87EA-B5EF-B71E-E2774A30A736}"/>
                  </a:ext>
                </a:extLst>
              </p:cNvPr>
              <p:cNvSpPr/>
              <p:nvPr/>
            </p:nvSpPr>
            <p:spPr>
              <a:xfrm>
                <a:off x="9891205" y="971617"/>
                <a:ext cx="2186720" cy="2582264"/>
              </a:xfrm>
              <a:custGeom>
                <a:avLst/>
                <a:gdLst>
                  <a:gd name="connsiteX0" fmla="*/ 0 w 2328201"/>
                  <a:gd name="connsiteY0" fmla="*/ 0 h 2749336"/>
                  <a:gd name="connsiteX1" fmla="*/ 2328201 w 2328201"/>
                  <a:gd name="connsiteY1" fmla="*/ 0 h 2749336"/>
                  <a:gd name="connsiteX2" fmla="*/ 2328201 w 2328201"/>
                  <a:gd name="connsiteY2" fmla="*/ 2749337 h 2749336"/>
                  <a:gd name="connsiteX3" fmla="*/ 0 w 2328201"/>
                  <a:gd name="connsiteY3" fmla="*/ 2749337 h 274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28201" h="2749336">
                    <a:moveTo>
                      <a:pt x="0" y="0"/>
                    </a:moveTo>
                    <a:lnTo>
                      <a:pt x="2328201" y="0"/>
                    </a:lnTo>
                    <a:lnTo>
                      <a:pt x="2328201" y="2749337"/>
                    </a:lnTo>
                    <a:lnTo>
                      <a:pt x="0" y="2749337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5926" cap="flat">
                <a:noFill/>
                <a:prstDash val="solid"/>
                <a:miter/>
              </a:ln>
            </p:spPr>
            <p:txBody>
              <a:bodyPr lIns="36000" tIns="36000" rIns="36000" bIns="3600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DF00301F-C8BC-97EC-FB3B-0EE323C3F77C}"/>
                  </a:ext>
                </a:extLst>
              </p:cNvPr>
              <p:cNvGrpSpPr/>
              <p:nvPr/>
            </p:nvGrpSpPr>
            <p:grpSpPr>
              <a:xfrm>
                <a:off x="9891197" y="3721745"/>
                <a:ext cx="2186725" cy="1253977"/>
                <a:chOff x="9240970" y="3559586"/>
                <a:chExt cx="2328206" cy="1335109"/>
              </a:xfrm>
            </p:grpSpPr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04481021-49FF-7665-7AFD-7A7B9CCEBA43}"/>
                    </a:ext>
                  </a:extLst>
                </p:cNvPr>
                <p:cNvSpPr txBox="1"/>
                <p:nvPr/>
              </p:nvSpPr>
              <p:spPr>
                <a:xfrm>
                  <a:off x="9240973" y="3559586"/>
                  <a:ext cx="2328203" cy="1169551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0" b="1" i="0" u="none" strike="noStrike" kern="1200" cap="none" spc="-300" normalizeH="0" baseline="0" noProof="0">
                      <a:ln>
                        <a:noFill/>
                      </a:ln>
                      <a:solidFill>
                        <a:srgbClr val="283583"/>
                      </a:solidFill>
                      <a:effectLst/>
                      <a:uLnTx/>
                      <a:uFillTx/>
                      <a:latin typeface="PT Sans" panose="020B0503020203020204" pitchFamily="34" charset="0"/>
                      <a:ea typeface="PT Sans" panose="020B0503020203020204" pitchFamily="34" charset="0"/>
                      <a:cs typeface="+mn-cs"/>
                    </a:rPr>
                    <a:t>$1.2</a:t>
                  </a: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D25C16FF-99AE-76EB-3473-CF90DC959193}"/>
                    </a:ext>
                  </a:extLst>
                </p:cNvPr>
                <p:cNvSpPr txBox="1"/>
                <p:nvPr/>
              </p:nvSpPr>
              <p:spPr>
                <a:xfrm>
                  <a:off x="9240970" y="4563579"/>
                  <a:ext cx="2328200" cy="331116"/>
                </a:xfrm>
                <a:prstGeom prst="rect">
                  <a:avLst/>
                </a:prstGeom>
                <a:noFill/>
              </p:spPr>
              <p:txBody>
                <a:bodyPr wrap="square" lIns="36000" tIns="36000" rIns="36000" bIns="36000" rtlCol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8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3583"/>
                      </a:solidFill>
                      <a:effectLst/>
                      <a:uLnTx/>
                      <a:uFillTx/>
                      <a:latin typeface="PT Sans" panose="020B0503020203020204" pitchFamily="34" charset="0"/>
                      <a:ea typeface="PT Sans" panose="020B0503020203020204" pitchFamily="34" charset="0"/>
                      <a:cs typeface="+mn-cs"/>
                    </a:rPr>
                    <a:t>billion</a:t>
                  </a:r>
                </a:p>
              </p:txBody>
            </p:sp>
          </p:grpSp>
        </p:grp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C73DD331-D8C7-BA78-6C7A-686BFDA532B3}"/>
                </a:ext>
              </a:extLst>
            </p:cNvPr>
            <p:cNvSpPr/>
            <p:nvPr/>
          </p:nvSpPr>
          <p:spPr>
            <a:xfrm>
              <a:off x="4636249" y="150913"/>
              <a:ext cx="7441676" cy="6127782"/>
            </a:xfrm>
            <a:custGeom>
              <a:avLst/>
              <a:gdLst>
                <a:gd name="connsiteX0" fmla="*/ 0 w 7923152"/>
                <a:gd name="connsiteY0" fmla="*/ 0 h 5596385"/>
                <a:gd name="connsiteX1" fmla="*/ 7923153 w 7923152"/>
                <a:gd name="connsiteY1" fmla="*/ 0 h 5596385"/>
                <a:gd name="connsiteX2" fmla="*/ 7923153 w 7923152"/>
                <a:gd name="connsiteY2" fmla="*/ 5596386 h 5596385"/>
                <a:gd name="connsiteX3" fmla="*/ 0 w 7923152"/>
                <a:gd name="connsiteY3" fmla="*/ 5596386 h 559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23152" h="5596385">
                  <a:moveTo>
                    <a:pt x="0" y="0"/>
                  </a:moveTo>
                  <a:lnTo>
                    <a:pt x="7923153" y="0"/>
                  </a:lnTo>
                  <a:lnTo>
                    <a:pt x="7923153" y="5596386"/>
                  </a:lnTo>
                  <a:lnTo>
                    <a:pt x="0" y="5596386"/>
                  </a:lnTo>
                  <a:close/>
                </a:path>
              </a:pathLst>
            </a:custGeom>
            <a:noFill/>
            <a:ln w="15926" cap="flat">
              <a:noFill/>
              <a:prstDash val="solid"/>
              <a:miter/>
            </a:ln>
          </p:spPr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4A8AF036-A33E-4F4E-BD35-DD96E7027E66}"/>
                </a:ext>
              </a:extLst>
            </p:cNvPr>
            <p:cNvSpPr/>
            <p:nvPr/>
          </p:nvSpPr>
          <p:spPr>
            <a:xfrm>
              <a:off x="9891205" y="3268473"/>
              <a:ext cx="2186720" cy="3010221"/>
            </a:xfrm>
            <a:custGeom>
              <a:avLst/>
              <a:gdLst>
                <a:gd name="connsiteX0" fmla="*/ 0 w 2328201"/>
                <a:gd name="connsiteY0" fmla="*/ 0 h 2749177"/>
                <a:gd name="connsiteX1" fmla="*/ 2328201 w 2328201"/>
                <a:gd name="connsiteY1" fmla="*/ 0 h 2749177"/>
                <a:gd name="connsiteX2" fmla="*/ 2328201 w 2328201"/>
                <a:gd name="connsiteY2" fmla="*/ 2749177 h 2749177"/>
                <a:gd name="connsiteX3" fmla="*/ 0 w 2328201"/>
                <a:gd name="connsiteY3" fmla="*/ 2749177 h 274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201" h="2749177">
                  <a:moveTo>
                    <a:pt x="0" y="0"/>
                  </a:moveTo>
                  <a:lnTo>
                    <a:pt x="2328201" y="0"/>
                  </a:lnTo>
                  <a:lnTo>
                    <a:pt x="2328201" y="2749177"/>
                  </a:lnTo>
                  <a:lnTo>
                    <a:pt x="0" y="274917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w="15926" cap="flat">
              <a:noFill/>
              <a:prstDash val="solid"/>
              <a:miter/>
            </a:ln>
          </p:spPr>
          <p:txBody>
            <a:bodyPr lIns="36000" tIns="36000" rIns="36000" bIns="3600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9FBB5EDF-7D81-6B42-9CD2-E56C2AFC6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977245" y="835050"/>
              <a:ext cx="4759682" cy="4759682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17CACE4-0276-85A9-286F-BEB3F677BD70}"/>
                </a:ext>
              </a:extLst>
            </p:cNvPr>
            <p:cNvGrpSpPr/>
            <p:nvPr/>
          </p:nvGrpSpPr>
          <p:grpSpPr>
            <a:xfrm>
              <a:off x="4762492" y="296909"/>
              <a:ext cx="2186720" cy="1908375"/>
              <a:chOff x="5661292" y="933597"/>
              <a:chExt cx="2186720" cy="1908375"/>
            </a:xfrm>
          </p:grpSpPr>
          <p:sp>
            <p:nvSpPr>
              <p:cNvPr id="43" name="CaixaDeTexto 20">
                <a:extLst>
                  <a:ext uri="{FF2B5EF4-FFF2-40B4-BE49-F238E27FC236}">
                    <a16:creationId xmlns:a16="http://schemas.microsoft.com/office/drawing/2014/main" id="{DD84E785-A742-D516-FE52-8F7735E4265E}"/>
                  </a:ext>
                </a:extLst>
              </p:cNvPr>
              <p:cNvSpPr txBox="1"/>
              <p:nvPr/>
            </p:nvSpPr>
            <p:spPr>
              <a:xfrm>
                <a:off x="5661293" y="933597"/>
                <a:ext cx="2186719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43.56</a:t>
                </a: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213F99"/>
                  </a:solidFill>
                  <a:effectLst/>
                  <a:uLnTx/>
                  <a:uFillTx/>
                  <a:latin typeface="PT Sans" panose="020B0503020203020204" pitchFamily="34" charset="0"/>
                  <a:ea typeface="Helvetica Neue Medium"/>
                  <a:cs typeface="Arial" panose="020B0604020202020204" pitchFamily="34" charset="0"/>
                  <a:sym typeface="Helvetica Neue Medium"/>
                </a:endParaRPr>
              </a:p>
            </p:txBody>
          </p:sp>
          <p:sp>
            <p:nvSpPr>
              <p:cNvPr id="44" name="CaixaDeTexto 20">
                <a:extLst>
                  <a:ext uri="{FF2B5EF4-FFF2-40B4-BE49-F238E27FC236}">
                    <a16:creationId xmlns:a16="http://schemas.microsoft.com/office/drawing/2014/main" id="{99D04D84-2A34-A298-252F-83D1C39F26C0}"/>
                  </a:ext>
                </a:extLst>
              </p:cNvPr>
              <p:cNvSpPr txBox="1"/>
              <p:nvPr/>
            </p:nvSpPr>
            <p:spPr>
              <a:xfrm>
                <a:off x="5661292" y="1581297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Bn</a:t>
                </a:r>
              </a:p>
            </p:txBody>
          </p:sp>
          <p:sp>
            <p:nvSpPr>
              <p:cNvPr id="45" name="CaixaDeTexto 20">
                <a:extLst>
                  <a:ext uri="{FF2B5EF4-FFF2-40B4-BE49-F238E27FC236}">
                    <a16:creationId xmlns:a16="http://schemas.microsoft.com/office/drawing/2014/main" id="{57DCEF19-6819-3A68-5D0B-71B22D64291D}"/>
                  </a:ext>
                </a:extLst>
              </p:cNvPr>
              <p:cNvSpPr txBox="1"/>
              <p:nvPr/>
            </p:nvSpPr>
            <p:spPr>
              <a:xfrm>
                <a:off x="5661292" y="2165497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doses of treatment supplied </a:t>
                </a:r>
              </a:p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(2010 - 2023)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C41629D-8721-327E-E2C8-DF644B267CC3}"/>
                </a:ext>
              </a:extLst>
            </p:cNvPr>
            <p:cNvGrpSpPr/>
            <p:nvPr/>
          </p:nvGrpSpPr>
          <p:grpSpPr>
            <a:xfrm>
              <a:off x="9994892" y="944609"/>
              <a:ext cx="2083787" cy="1260675"/>
              <a:chOff x="5661292" y="1581297"/>
              <a:chExt cx="2083787" cy="1260675"/>
            </a:xfrm>
          </p:grpSpPr>
          <p:sp>
            <p:nvSpPr>
              <p:cNvPr id="41" name="CaixaDeTexto 20">
                <a:extLst>
                  <a:ext uri="{FF2B5EF4-FFF2-40B4-BE49-F238E27FC236}">
                    <a16:creationId xmlns:a16="http://schemas.microsoft.com/office/drawing/2014/main" id="{939034E0-42BB-6509-9CE6-AE3A9B4BAC67}"/>
                  </a:ext>
                </a:extLst>
              </p:cNvPr>
              <p:cNvSpPr txBox="1"/>
              <p:nvPr/>
            </p:nvSpPr>
            <p:spPr>
              <a:xfrm>
                <a:off x="5661292" y="1581297"/>
                <a:ext cx="2083787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170,000</a:t>
                </a:r>
              </a:p>
            </p:txBody>
          </p:sp>
          <p:sp>
            <p:nvSpPr>
              <p:cNvPr id="42" name="CaixaDeTexto 20">
                <a:extLst>
                  <a:ext uri="{FF2B5EF4-FFF2-40B4-BE49-F238E27FC236}">
                    <a16:creationId xmlns:a16="http://schemas.microsoft.com/office/drawing/2014/main" id="{382E29EE-10E8-7415-6DB8-9D162A04F3B5}"/>
                  </a:ext>
                </a:extLst>
              </p:cNvPr>
              <p:cNvSpPr txBox="1"/>
              <p:nvPr/>
            </p:nvSpPr>
            <p:spPr>
              <a:xfrm>
                <a:off x="5661292" y="2165497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projected 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deaths 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averted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4225E8E-FE7A-F463-BEBA-B1F3B4E11152}"/>
                </a:ext>
              </a:extLst>
            </p:cNvPr>
            <p:cNvGrpSpPr/>
            <p:nvPr/>
          </p:nvGrpSpPr>
          <p:grpSpPr>
            <a:xfrm>
              <a:off x="7023092" y="296909"/>
              <a:ext cx="5186594" cy="5591361"/>
              <a:chOff x="5661292" y="933597"/>
              <a:chExt cx="5186594" cy="5591361"/>
            </a:xfrm>
          </p:grpSpPr>
          <p:sp>
            <p:nvSpPr>
              <p:cNvPr id="35" name="CaixaDeTexto 20">
                <a:extLst>
                  <a:ext uri="{FF2B5EF4-FFF2-40B4-BE49-F238E27FC236}">
                    <a16:creationId xmlns:a16="http://schemas.microsoft.com/office/drawing/2014/main" id="{889C8181-3CA4-71C6-8389-29C53552E92F}"/>
                  </a:ext>
                </a:extLst>
              </p:cNvPr>
              <p:cNvSpPr txBox="1"/>
              <p:nvPr/>
            </p:nvSpPr>
            <p:spPr>
              <a:xfrm>
                <a:off x="5661293" y="933597"/>
                <a:ext cx="2186719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USD</a:t>
                </a: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" panose="020B0503020203020204" pitchFamily="34" charset="0"/>
                  <a:ea typeface="Helvetica Neue Medium"/>
                  <a:cs typeface="Arial" panose="020B0604020202020204" pitchFamily="34" charset="0"/>
                  <a:sym typeface="Helvetica Neue Medium"/>
                </a:endParaRPr>
              </a:p>
            </p:txBody>
          </p:sp>
          <p:sp>
            <p:nvSpPr>
              <p:cNvPr id="36" name="CaixaDeTexto 20">
                <a:extLst>
                  <a:ext uri="{FF2B5EF4-FFF2-40B4-BE49-F238E27FC236}">
                    <a16:creationId xmlns:a16="http://schemas.microsoft.com/office/drawing/2014/main" id="{05E53CF3-6AC5-D9F0-5C42-5B312E68C957}"/>
                  </a:ext>
                </a:extLst>
              </p:cNvPr>
              <p:cNvSpPr txBox="1"/>
              <p:nvPr/>
            </p:nvSpPr>
            <p:spPr>
              <a:xfrm>
                <a:off x="5661292" y="1581297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1.9 Bn</a:t>
                </a:r>
              </a:p>
            </p:txBody>
          </p:sp>
          <p:sp>
            <p:nvSpPr>
              <p:cNvPr id="37" name="CaixaDeTexto 20">
                <a:extLst>
                  <a:ext uri="{FF2B5EF4-FFF2-40B4-BE49-F238E27FC236}">
                    <a16:creationId xmlns:a16="http://schemas.microsoft.com/office/drawing/2014/main" id="{C4A0EDEB-76D4-0FDA-7306-849BAEE2A714}"/>
                  </a:ext>
                </a:extLst>
              </p:cNvPr>
              <p:cNvSpPr txBox="1"/>
              <p:nvPr/>
            </p:nvSpPr>
            <p:spPr>
              <a:xfrm>
                <a:off x="5661292" y="2165497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dollars saved through 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MPP’s </a:t>
                </a:r>
                <a:r>
                  <a:rPr kumimoji="0" lang="en-US" sz="1600" b="0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licences</a:t>
                </a: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 (2010 - 2023)</a:t>
                </a:r>
              </a:p>
            </p:txBody>
          </p:sp>
          <p:sp>
            <p:nvSpPr>
              <p:cNvPr id="38" name="CaixaDeTexto 20">
                <a:extLst>
                  <a:ext uri="{FF2B5EF4-FFF2-40B4-BE49-F238E27FC236}">
                    <a16:creationId xmlns:a16="http://schemas.microsoft.com/office/drawing/2014/main" id="{A6A4A2F3-9063-2349-5980-22DE7DE80604}"/>
                  </a:ext>
                </a:extLst>
              </p:cNvPr>
              <p:cNvSpPr txBox="1"/>
              <p:nvPr/>
            </p:nvSpPr>
            <p:spPr>
              <a:xfrm>
                <a:off x="8661167" y="4616583"/>
                <a:ext cx="2186719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USD</a:t>
                </a: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213F99"/>
                  </a:solidFill>
                  <a:effectLst/>
                  <a:uLnTx/>
                  <a:uFillTx/>
                  <a:latin typeface="PT Sans" panose="020B0503020203020204" pitchFamily="34" charset="0"/>
                  <a:ea typeface="Helvetica Neue Medium"/>
                  <a:cs typeface="Arial" panose="020B0604020202020204" pitchFamily="34" charset="0"/>
                  <a:sym typeface="Helvetica Neue Medium"/>
                </a:endParaRPr>
              </a:p>
            </p:txBody>
          </p:sp>
          <p:sp>
            <p:nvSpPr>
              <p:cNvPr id="39" name="CaixaDeTexto 20">
                <a:extLst>
                  <a:ext uri="{FF2B5EF4-FFF2-40B4-BE49-F238E27FC236}">
                    <a16:creationId xmlns:a16="http://schemas.microsoft.com/office/drawing/2014/main" id="{2DECF422-E90B-487B-AAEA-75AC340419D6}"/>
                  </a:ext>
                </a:extLst>
              </p:cNvPr>
              <p:cNvSpPr txBox="1"/>
              <p:nvPr/>
            </p:nvSpPr>
            <p:spPr>
              <a:xfrm>
                <a:off x="8661166" y="5264283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3.9 Bn</a:t>
                </a:r>
              </a:p>
            </p:txBody>
          </p:sp>
          <p:sp>
            <p:nvSpPr>
              <p:cNvPr id="40" name="CaixaDeTexto 20">
                <a:extLst>
                  <a:ext uri="{FF2B5EF4-FFF2-40B4-BE49-F238E27FC236}">
                    <a16:creationId xmlns:a16="http://schemas.microsoft.com/office/drawing/2014/main" id="{BA0192A3-1AE6-6449-5F5E-B27B80F519A1}"/>
                  </a:ext>
                </a:extLst>
              </p:cNvPr>
              <p:cNvSpPr txBox="1"/>
              <p:nvPr/>
            </p:nvSpPr>
            <p:spPr>
              <a:xfrm>
                <a:off x="8661166" y="5848483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projected </a:t>
                </a:r>
                <a:b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</a:b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savings</a:t>
                </a:r>
              </a:p>
            </p:txBody>
          </p:sp>
        </p:grp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FECD02F-09E2-9A77-E22E-5890401B2564}"/>
                </a:ext>
              </a:extLst>
            </p:cNvPr>
            <p:cNvSpPr/>
            <p:nvPr/>
          </p:nvSpPr>
          <p:spPr>
            <a:xfrm>
              <a:off x="10047261" y="520858"/>
              <a:ext cx="1216365" cy="292127"/>
            </a:xfrm>
            <a:custGeom>
              <a:avLst/>
              <a:gdLst>
                <a:gd name="connsiteX0" fmla="*/ 104456 w 869876"/>
                <a:gd name="connsiteY0" fmla="*/ 0 h 208913"/>
                <a:gd name="connsiteX1" fmla="*/ 0 w 869876"/>
                <a:gd name="connsiteY1" fmla="*/ 104457 h 208913"/>
                <a:gd name="connsiteX2" fmla="*/ 104456 w 869876"/>
                <a:gd name="connsiteY2" fmla="*/ 208913 h 208913"/>
                <a:gd name="connsiteX3" fmla="*/ 765420 w 869876"/>
                <a:gd name="connsiteY3" fmla="*/ 208913 h 208913"/>
                <a:gd name="connsiteX4" fmla="*/ 869876 w 869876"/>
                <a:gd name="connsiteY4" fmla="*/ 104457 h 208913"/>
                <a:gd name="connsiteX5" fmla="*/ 765420 w 869876"/>
                <a:gd name="connsiteY5" fmla="*/ 0 h 208913"/>
                <a:gd name="connsiteX6" fmla="*/ 104456 w 869876"/>
                <a:gd name="connsiteY6" fmla="*/ 0 h 20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876" h="208913">
                  <a:moveTo>
                    <a:pt x="104456" y="0"/>
                  </a:moveTo>
                  <a:cubicBezTo>
                    <a:pt x="46723" y="0"/>
                    <a:pt x="0" y="46723"/>
                    <a:pt x="0" y="104457"/>
                  </a:cubicBezTo>
                  <a:cubicBezTo>
                    <a:pt x="0" y="162191"/>
                    <a:pt x="46723" y="208913"/>
                    <a:pt x="104456" y="208913"/>
                  </a:cubicBezTo>
                  <a:lnTo>
                    <a:pt x="765420" y="208913"/>
                  </a:lnTo>
                  <a:cubicBezTo>
                    <a:pt x="823154" y="208913"/>
                    <a:pt x="869876" y="162191"/>
                    <a:pt x="869876" y="104457"/>
                  </a:cubicBezTo>
                  <a:cubicBezTo>
                    <a:pt x="869876" y="46723"/>
                    <a:pt x="823154" y="0"/>
                    <a:pt x="765420" y="0"/>
                  </a:cubicBezTo>
                  <a:lnTo>
                    <a:pt x="104456" y="0"/>
                  </a:lnTo>
                  <a:close/>
                </a:path>
              </a:pathLst>
            </a:custGeom>
            <a:gradFill>
              <a:gsLst>
                <a:gs pos="3800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D88448C-3755-3C10-8082-7703CDB25934}"/>
                </a:ext>
              </a:extLst>
            </p:cNvPr>
            <p:cNvSpPr txBox="1"/>
            <p:nvPr/>
          </p:nvSpPr>
          <p:spPr>
            <a:xfrm>
              <a:off x="10142998" y="504426"/>
              <a:ext cx="9877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/>
                  <a:solidFill>
                    <a:prstClr val="white"/>
                  </a:solidFill>
                  <a:effectLst/>
                  <a:uLnTx/>
                  <a:uFillTx/>
                  <a:latin typeface="PT Sans"/>
                  <a:ea typeface="PT Sans"/>
                  <a:cs typeface="+mn-cs"/>
                  <a:sym typeface="PT Sans"/>
                  <a:rtl val="0"/>
                </a:rPr>
                <a:t> By 2030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566F08E-4709-9ECE-8BD3-90DD909DD00D}"/>
                </a:ext>
              </a:extLst>
            </p:cNvPr>
            <p:cNvGrpSpPr/>
            <p:nvPr/>
          </p:nvGrpSpPr>
          <p:grpSpPr>
            <a:xfrm>
              <a:off x="6096000" y="2381762"/>
              <a:ext cx="639738" cy="696049"/>
              <a:chOff x="3296800" y="2439280"/>
              <a:chExt cx="791982" cy="861692"/>
            </a:xfrm>
            <a:solidFill>
              <a:schemeClr val="accent1"/>
            </a:solidFill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827CA0DB-9C0D-04DF-175E-F57DFE3FC5F2}"/>
                  </a:ext>
                </a:extLst>
              </p:cNvPr>
              <p:cNvSpPr/>
              <p:nvPr/>
            </p:nvSpPr>
            <p:spPr>
              <a:xfrm>
                <a:off x="3296800" y="2439280"/>
                <a:ext cx="791982" cy="861692"/>
              </a:xfrm>
              <a:custGeom>
                <a:avLst/>
                <a:gdLst>
                  <a:gd name="connsiteX0" fmla="*/ 422588 w 791982"/>
                  <a:gd name="connsiteY0" fmla="*/ 0 h 861692"/>
                  <a:gd name="connsiteX1" fmla="*/ 106242 w 791982"/>
                  <a:gd name="connsiteY1" fmla="*/ 0 h 861692"/>
                  <a:gd name="connsiteX2" fmla="*/ 102671 w 791982"/>
                  <a:gd name="connsiteY2" fmla="*/ 1786 h 861692"/>
                  <a:gd name="connsiteX3" fmla="*/ 66662 w 791982"/>
                  <a:gd name="connsiteY3" fmla="*/ 48508 h 861692"/>
                  <a:gd name="connsiteX4" fmla="*/ 66662 w 791982"/>
                  <a:gd name="connsiteY4" fmla="*/ 131687 h 861692"/>
                  <a:gd name="connsiteX5" fmla="*/ 84815 w 791982"/>
                  <a:gd name="connsiteY5" fmla="*/ 166506 h 861692"/>
                  <a:gd name="connsiteX6" fmla="*/ 98951 w 791982"/>
                  <a:gd name="connsiteY6" fmla="*/ 198646 h 861692"/>
                  <a:gd name="connsiteX7" fmla="*/ 98653 w 791982"/>
                  <a:gd name="connsiteY7" fmla="*/ 214568 h 861692"/>
                  <a:gd name="connsiteX8" fmla="*/ 93743 w 791982"/>
                  <a:gd name="connsiteY8" fmla="*/ 229745 h 861692"/>
                  <a:gd name="connsiteX9" fmla="*/ 19790 w 791982"/>
                  <a:gd name="connsiteY9" fmla="*/ 330631 h 861692"/>
                  <a:gd name="connsiteX10" fmla="*/ 0 w 791982"/>
                  <a:gd name="connsiteY10" fmla="*/ 391489 h 861692"/>
                  <a:gd name="connsiteX11" fmla="*/ 0 w 791982"/>
                  <a:gd name="connsiteY11" fmla="*/ 706049 h 861692"/>
                  <a:gd name="connsiteX12" fmla="*/ 1934 w 791982"/>
                  <a:gd name="connsiteY12" fmla="*/ 728518 h 861692"/>
                  <a:gd name="connsiteX13" fmla="*/ 85857 w 791982"/>
                  <a:gd name="connsiteY13" fmla="*/ 795626 h 861692"/>
                  <a:gd name="connsiteX14" fmla="*/ 177517 w 791982"/>
                  <a:gd name="connsiteY14" fmla="*/ 795626 h 861692"/>
                  <a:gd name="connsiteX15" fmla="*/ 339558 w 791982"/>
                  <a:gd name="connsiteY15" fmla="*/ 795626 h 861692"/>
                  <a:gd name="connsiteX16" fmla="*/ 339558 w 791982"/>
                  <a:gd name="connsiteY16" fmla="*/ 795626 h 861692"/>
                  <a:gd name="connsiteX17" fmla="*/ 350421 w 791982"/>
                  <a:gd name="connsiteY17" fmla="*/ 800685 h 861692"/>
                  <a:gd name="connsiteX18" fmla="*/ 459341 w 791982"/>
                  <a:gd name="connsiteY18" fmla="*/ 861693 h 861692"/>
                  <a:gd name="connsiteX19" fmla="*/ 527342 w 791982"/>
                  <a:gd name="connsiteY19" fmla="*/ 842795 h 861692"/>
                  <a:gd name="connsiteX20" fmla="*/ 724649 w 791982"/>
                  <a:gd name="connsiteY20" fmla="*/ 726435 h 861692"/>
                  <a:gd name="connsiteX21" fmla="*/ 791013 w 791982"/>
                  <a:gd name="connsiteY21" fmla="*/ 592219 h 861692"/>
                  <a:gd name="connsiteX22" fmla="*/ 660815 w 791982"/>
                  <a:gd name="connsiteY22" fmla="*/ 474072 h 861692"/>
                  <a:gd name="connsiteX23" fmla="*/ 613050 w 791982"/>
                  <a:gd name="connsiteY23" fmla="*/ 483596 h 861692"/>
                  <a:gd name="connsiteX24" fmla="*/ 550852 w 791982"/>
                  <a:gd name="connsiteY24" fmla="*/ 517819 h 861692"/>
                  <a:gd name="connsiteX25" fmla="*/ 527789 w 791982"/>
                  <a:gd name="connsiteY25" fmla="*/ 531211 h 861692"/>
                  <a:gd name="connsiteX26" fmla="*/ 527789 w 791982"/>
                  <a:gd name="connsiteY26" fmla="*/ 520795 h 861692"/>
                  <a:gd name="connsiteX27" fmla="*/ 527789 w 791982"/>
                  <a:gd name="connsiteY27" fmla="*/ 391340 h 861692"/>
                  <a:gd name="connsiteX28" fmla="*/ 508296 w 791982"/>
                  <a:gd name="connsiteY28" fmla="*/ 331226 h 861692"/>
                  <a:gd name="connsiteX29" fmla="*/ 452050 w 791982"/>
                  <a:gd name="connsiteY29" fmla="*/ 255636 h 861692"/>
                  <a:gd name="connsiteX30" fmla="*/ 428986 w 791982"/>
                  <a:gd name="connsiteY30" fmla="*/ 183320 h 861692"/>
                  <a:gd name="connsiteX31" fmla="*/ 428986 w 791982"/>
                  <a:gd name="connsiteY31" fmla="*/ 180790 h 861692"/>
                  <a:gd name="connsiteX32" fmla="*/ 433897 w 791982"/>
                  <a:gd name="connsiteY32" fmla="*/ 173499 h 861692"/>
                  <a:gd name="connsiteX33" fmla="*/ 461871 w 791982"/>
                  <a:gd name="connsiteY33" fmla="*/ 126479 h 861692"/>
                  <a:gd name="connsiteX34" fmla="*/ 461871 w 791982"/>
                  <a:gd name="connsiteY34" fmla="*/ 52526 h 861692"/>
                  <a:gd name="connsiteX35" fmla="*/ 446247 w 791982"/>
                  <a:gd name="connsiteY35" fmla="*/ 14136 h 861692"/>
                  <a:gd name="connsiteX36" fmla="*/ 422588 w 791982"/>
                  <a:gd name="connsiteY36" fmla="*/ 0 h 861692"/>
                  <a:gd name="connsiteX37" fmla="*/ 271706 w 791982"/>
                  <a:gd name="connsiteY37" fmla="*/ 144632 h 861692"/>
                  <a:gd name="connsiteX38" fmla="*/ 121271 w 791982"/>
                  <a:gd name="connsiteY38" fmla="*/ 144632 h 861692"/>
                  <a:gd name="connsiteX39" fmla="*/ 99397 w 791982"/>
                  <a:gd name="connsiteY39" fmla="*/ 122461 h 861692"/>
                  <a:gd name="connsiteX40" fmla="*/ 99397 w 791982"/>
                  <a:gd name="connsiteY40" fmla="*/ 56841 h 861692"/>
                  <a:gd name="connsiteX41" fmla="*/ 121866 w 791982"/>
                  <a:gd name="connsiteY41" fmla="*/ 33628 h 861692"/>
                  <a:gd name="connsiteX42" fmla="*/ 405179 w 791982"/>
                  <a:gd name="connsiteY42" fmla="*/ 33628 h 861692"/>
                  <a:gd name="connsiteX43" fmla="*/ 428391 w 791982"/>
                  <a:gd name="connsiteY43" fmla="*/ 57139 h 861692"/>
                  <a:gd name="connsiteX44" fmla="*/ 428391 w 791982"/>
                  <a:gd name="connsiteY44" fmla="*/ 121866 h 861692"/>
                  <a:gd name="connsiteX45" fmla="*/ 406220 w 791982"/>
                  <a:gd name="connsiteY45" fmla="*/ 144632 h 861692"/>
                  <a:gd name="connsiteX46" fmla="*/ 271706 w 791982"/>
                  <a:gd name="connsiteY46" fmla="*/ 144632 h 861692"/>
                  <a:gd name="connsiteX47" fmla="*/ 34224 w 791982"/>
                  <a:gd name="connsiteY47" fmla="*/ 379734 h 861692"/>
                  <a:gd name="connsiteX48" fmla="*/ 45979 w 791982"/>
                  <a:gd name="connsiteY48" fmla="*/ 351760 h 861692"/>
                  <a:gd name="connsiteX49" fmla="*/ 125288 w 791982"/>
                  <a:gd name="connsiteY49" fmla="*/ 243286 h 861692"/>
                  <a:gd name="connsiteX50" fmla="*/ 132133 w 791982"/>
                  <a:gd name="connsiteY50" fmla="*/ 222603 h 861692"/>
                  <a:gd name="connsiteX51" fmla="*/ 132431 w 791982"/>
                  <a:gd name="connsiteY51" fmla="*/ 178558 h 861692"/>
                  <a:gd name="connsiteX52" fmla="*/ 395060 w 791982"/>
                  <a:gd name="connsiteY52" fmla="*/ 178558 h 861692"/>
                  <a:gd name="connsiteX53" fmla="*/ 395060 w 791982"/>
                  <a:gd name="connsiteY53" fmla="*/ 211740 h 861692"/>
                  <a:gd name="connsiteX54" fmla="*/ 386132 w 791982"/>
                  <a:gd name="connsiteY54" fmla="*/ 211740 h 861692"/>
                  <a:gd name="connsiteX55" fmla="*/ 313668 w 791982"/>
                  <a:gd name="connsiteY55" fmla="*/ 211740 h 861692"/>
                  <a:gd name="connsiteX56" fmla="*/ 250279 w 791982"/>
                  <a:gd name="connsiteY56" fmla="*/ 211740 h 861692"/>
                  <a:gd name="connsiteX57" fmla="*/ 231531 w 791982"/>
                  <a:gd name="connsiteY57" fmla="*/ 224537 h 861692"/>
                  <a:gd name="connsiteX58" fmla="*/ 249684 w 791982"/>
                  <a:gd name="connsiteY58" fmla="*/ 245369 h 861692"/>
                  <a:gd name="connsiteX59" fmla="*/ 317834 w 791982"/>
                  <a:gd name="connsiteY59" fmla="*/ 245369 h 861692"/>
                  <a:gd name="connsiteX60" fmla="*/ 394614 w 791982"/>
                  <a:gd name="connsiteY60" fmla="*/ 245220 h 861692"/>
                  <a:gd name="connsiteX61" fmla="*/ 394763 w 791982"/>
                  <a:gd name="connsiteY61" fmla="*/ 245220 h 861692"/>
                  <a:gd name="connsiteX62" fmla="*/ 408899 w 791982"/>
                  <a:gd name="connsiteY62" fmla="*/ 252214 h 861692"/>
                  <a:gd name="connsiteX63" fmla="*/ 482107 w 791982"/>
                  <a:gd name="connsiteY63" fmla="*/ 352653 h 861692"/>
                  <a:gd name="connsiteX64" fmla="*/ 495946 w 791982"/>
                  <a:gd name="connsiteY64" fmla="*/ 379585 h 861692"/>
                  <a:gd name="connsiteX65" fmla="*/ 34075 w 791982"/>
                  <a:gd name="connsiteY65" fmla="*/ 379585 h 861692"/>
                  <a:gd name="connsiteX66" fmla="*/ 142995 w 791982"/>
                  <a:gd name="connsiteY66" fmla="*/ 660815 h 861692"/>
                  <a:gd name="connsiteX67" fmla="*/ 37051 w 791982"/>
                  <a:gd name="connsiteY67" fmla="*/ 660815 h 861692"/>
                  <a:gd name="connsiteX68" fmla="*/ 33926 w 791982"/>
                  <a:gd name="connsiteY68" fmla="*/ 660517 h 861692"/>
                  <a:gd name="connsiteX69" fmla="*/ 33926 w 791982"/>
                  <a:gd name="connsiteY69" fmla="*/ 414255 h 861692"/>
                  <a:gd name="connsiteX70" fmla="*/ 494011 w 791982"/>
                  <a:gd name="connsiteY70" fmla="*/ 414255 h 861692"/>
                  <a:gd name="connsiteX71" fmla="*/ 494011 w 791982"/>
                  <a:gd name="connsiteY71" fmla="*/ 422439 h 861692"/>
                  <a:gd name="connsiteX72" fmla="*/ 494011 w 791982"/>
                  <a:gd name="connsiteY72" fmla="*/ 542669 h 861692"/>
                  <a:gd name="connsiteX73" fmla="*/ 487018 w 791982"/>
                  <a:gd name="connsiteY73" fmla="*/ 555168 h 861692"/>
                  <a:gd name="connsiteX74" fmla="*/ 387620 w 791982"/>
                  <a:gd name="connsiteY74" fmla="*/ 614390 h 861692"/>
                  <a:gd name="connsiteX75" fmla="*/ 348486 w 791982"/>
                  <a:gd name="connsiteY75" fmla="*/ 654565 h 861692"/>
                  <a:gd name="connsiteX76" fmla="*/ 339261 w 791982"/>
                  <a:gd name="connsiteY76" fmla="*/ 660517 h 861692"/>
                  <a:gd name="connsiteX77" fmla="*/ 142847 w 791982"/>
                  <a:gd name="connsiteY77" fmla="*/ 660815 h 861692"/>
                  <a:gd name="connsiteX78" fmla="*/ 627930 w 791982"/>
                  <a:gd name="connsiteY78" fmla="*/ 744291 h 861692"/>
                  <a:gd name="connsiteX79" fmla="*/ 529426 w 791982"/>
                  <a:gd name="connsiteY79" fmla="*/ 570196 h 861692"/>
                  <a:gd name="connsiteX80" fmla="*/ 533741 w 791982"/>
                  <a:gd name="connsiteY80" fmla="*/ 566774 h 861692"/>
                  <a:gd name="connsiteX81" fmla="*/ 609925 w 791982"/>
                  <a:gd name="connsiteY81" fmla="*/ 521986 h 861692"/>
                  <a:gd name="connsiteX82" fmla="*/ 660815 w 791982"/>
                  <a:gd name="connsiteY82" fmla="*/ 508147 h 861692"/>
                  <a:gd name="connsiteX83" fmla="*/ 755748 w 791982"/>
                  <a:gd name="connsiteY83" fmla="*/ 585076 h 861692"/>
                  <a:gd name="connsiteX84" fmla="*/ 718697 w 791982"/>
                  <a:gd name="connsiteY84" fmla="*/ 689086 h 861692"/>
                  <a:gd name="connsiteX85" fmla="*/ 627930 w 791982"/>
                  <a:gd name="connsiteY85" fmla="*/ 744440 h 861692"/>
                  <a:gd name="connsiteX86" fmla="*/ 460234 w 791982"/>
                  <a:gd name="connsiteY86" fmla="*/ 827320 h 861692"/>
                  <a:gd name="connsiteX87" fmla="*/ 374824 w 791982"/>
                  <a:gd name="connsiteY87" fmla="*/ 776729 h 861692"/>
                  <a:gd name="connsiteX88" fmla="*/ 406071 w 791982"/>
                  <a:gd name="connsiteY88" fmla="*/ 642810 h 861692"/>
                  <a:gd name="connsiteX89" fmla="*/ 500261 w 791982"/>
                  <a:gd name="connsiteY89" fmla="*/ 586415 h 861692"/>
                  <a:gd name="connsiteX90" fmla="*/ 598914 w 791982"/>
                  <a:gd name="connsiteY90" fmla="*/ 760807 h 861692"/>
                  <a:gd name="connsiteX91" fmla="*/ 591028 w 791982"/>
                  <a:gd name="connsiteY91" fmla="*/ 765718 h 861692"/>
                  <a:gd name="connsiteX92" fmla="*/ 504725 w 791982"/>
                  <a:gd name="connsiteY92" fmla="*/ 816012 h 861692"/>
                  <a:gd name="connsiteX93" fmla="*/ 460383 w 791982"/>
                  <a:gd name="connsiteY93" fmla="*/ 827172 h 861692"/>
                  <a:gd name="connsiteX94" fmla="*/ 187635 w 791982"/>
                  <a:gd name="connsiteY94" fmla="*/ 761700 h 861692"/>
                  <a:gd name="connsiteX95" fmla="*/ 86154 w 791982"/>
                  <a:gd name="connsiteY95" fmla="*/ 761700 h 861692"/>
                  <a:gd name="connsiteX96" fmla="*/ 34819 w 791982"/>
                  <a:gd name="connsiteY96" fmla="*/ 721376 h 861692"/>
                  <a:gd name="connsiteX97" fmla="*/ 33182 w 791982"/>
                  <a:gd name="connsiteY97" fmla="*/ 694890 h 861692"/>
                  <a:gd name="connsiteX98" fmla="*/ 330482 w 791982"/>
                  <a:gd name="connsiteY98" fmla="*/ 694890 h 861692"/>
                  <a:gd name="connsiteX99" fmla="*/ 330482 w 791982"/>
                  <a:gd name="connsiteY99" fmla="*/ 761403 h 861692"/>
                  <a:gd name="connsiteX100" fmla="*/ 326464 w 791982"/>
                  <a:gd name="connsiteY100" fmla="*/ 761700 h 861692"/>
                  <a:gd name="connsiteX101" fmla="*/ 187635 w 791982"/>
                  <a:gd name="connsiteY101" fmla="*/ 761700 h 86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791982" h="861692">
                    <a:moveTo>
                      <a:pt x="422588" y="0"/>
                    </a:moveTo>
                    <a:lnTo>
                      <a:pt x="106242" y="0"/>
                    </a:lnTo>
                    <a:lnTo>
                      <a:pt x="102671" y="1786"/>
                    </a:lnTo>
                    <a:cubicBezTo>
                      <a:pt x="80500" y="9226"/>
                      <a:pt x="67406" y="24552"/>
                      <a:pt x="66662" y="48508"/>
                    </a:cubicBezTo>
                    <a:cubicBezTo>
                      <a:pt x="65769" y="76185"/>
                      <a:pt x="66364" y="104010"/>
                      <a:pt x="66662" y="131687"/>
                    </a:cubicBezTo>
                    <a:cubicBezTo>
                      <a:pt x="66810" y="146269"/>
                      <a:pt x="72614" y="160256"/>
                      <a:pt x="84815" y="166506"/>
                    </a:cubicBezTo>
                    <a:cubicBezTo>
                      <a:pt x="99695" y="174243"/>
                      <a:pt x="99844" y="185403"/>
                      <a:pt x="98951" y="198646"/>
                    </a:cubicBezTo>
                    <a:cubicBezTo>
                      <a:pt x="98653" y="204003"/>
                      <a:pt x="99546" y="209360"/>
                      <a:pt x="98653" y="214568"/>
                    </a:cubicBezTo>
                    <a:cubicBezTo>
                      <a:pt x="97761" y="219776"/>
                      <a:pt x="96719" y="225728"/>
                      <a:pt x="93743" y="229745"/>
                    </a:cubicBezTo>
                    <a:cubicBezTo>
                      <a:pt x="69340" y="263671"/>
                      <a:pt x="44788" y="297300"/>
                      <a:pt x="19790" y="330631"/>
                    </a:cubicBezTo>
                    <a:cubicBezTo>
                      <a:pt x="6250" y="348784"/>
                      <a:pt x="0" y="368872"/>
                      <a:pt x="0" y="391489"/>
                    </a:cubicBezTo>
                    <a:cubicBezTo>
                      <a:pt x="0" y="496392"/>
                      <a:pt x="0" y="601146"/>
                      <a:pt x="0" y="706049"/>
                    </a:cubicBezTo>
                    <a:cubicBezTo>
                      <a:pt x="0" y="713638"/>
                      <a:pt x="297" y="721376"/>
                      <a:pt x="1934" y="728518"/>
                    </a:cubicBezTo>
                    <a:cubicBezTo>
                      <a:pt x="11904" y="770628"/>
                      <a:pt x="43449" y="795626"/>
                      <a:pt x="85857" y="795626"/>
                    </a:cubicBezTo>
                    <a:cubicBezTo>
                      <a:pt x="116509" y="795626"/>
                      <a:pt x="147013" y="795626"/>
                      <a:pt x="177517" y="795626"/>
                    </a:cubicBezTo>
                    <a:cubicBezTo>
                      <a:pt x="231531" y="795626"/>
                      <a:pt x="285545" y="795626"/>
                      <a:pt x="339558" y="795626"/>
                    </a:cubicBezTo>
                    <a:lnTo>
                      <a:pt x="339558" y="795626"/>
                    </a:lnTo>
                    <a:cubicBezTo>
                      <a:pt x="344171" y="795626"/>
                      <a:pt x="347445" y="796221"/>
                      <a:pt x="350421" y="800685"/>
                    </a:cubicBezTo>
                    <a:cubicBezTo>
                      <a:pt x="377056" y="840266"/>
                      <a:pt x="417231" y="861693"/>
                      <a:pt x="459341" y="861693"/>
                    </a:cubicBezTo>
                    <a:cubicBezTo>
                      <a:pt x="481959" y="861693"/>
                      <a:pt x="505320" y="855592"/>
                      <a:pt x="527342" y="842795"/>
                    </a:cubicBezTo>
                    <a:cubicBezTo>
                      <a:pt x="593409" y="804554"/>
                      <a:pt x="659178" y="765867"/>
                      <a:pt x="724649" y="726435"/>
                    </a:cubicBezTo>
                    <a:cubicBezTo>
                      <a:pt x="774348" y="696378"/>
                      <a:pt x="797114" y="650548"/>
                      <a:pt x="791013" y="592219"/>
                    </a:cubicBezTo>
                    <a:cubicBezTo>
                      <a:pt x="783722" y="523027"/>
                      <a:pt x="724649" y="474072"/>
                      <a:pt x="660815" y="474072"/>
                    </a:cubicBezTo>
                    <a:cubicBezTo>
                      <a:pt x="644893" y="474072"/>
                      <a:pt x="628823" y="477048"/>
                      <a:pt x="613050" y="483596"/>
                    </a:cubicBezTo>
                    <a:cubicBezTo>
                      <a:pt x="591326" y="492523"/>
                      <a:pt x="571535" y="506213"/>
                      <a:pt x="550852" y="517819"/>
                    </a:cubicBezTo>
                    <a:cubicBezTo>
                      <a:pt x="543561" y="521986"/>
                      <a:pt x="536270" y="526301"/>
                      <a:pt x="527789" y="531211"/>
                    </a:cubicBezTo>
                    <a:lnTo>
                      <a:pt x="527789" y="520795"/>
                    </a:lnTo>
                    <a:cubicBezTo>
                      <a:pt x="527789" y="477644"/>
                      <a:pt x="527789" y="434492"/>
                      <a:pt x="527789" y="391340"/>
                    </a:cubicBezTo>
                    <a:cubicBezTo>
                      <a:pt x="527789" y="369021"/>
                      <a:pt x="521539" y="349082"/>
                      <a:pt x="508296" y="331226"/>
                    </a:cubicBezTo>
                    <a:cubicBezTo>
                      <a:pt x="489547" y="306079"/>
                      <a:pt x="472287" y="279444"/>
                      <a:pt x="452050" y="255636"/>
                    </a:cubicBezTo>
                    <a:cubicBezTo>
                      <a:pt x="433748" y="234209"/>
                      <a:pt x="424671" y="211443"/>
                      <a:pt x="428986" y="183320"/>
                    </a:cubicBezTo>
                    <a:lnTo>
                      <a:pt x="428986" y="180790"/>
                    </a:lnTo>
                    <a:cubicBezTo>
                      <a:pt x="430474" y="178261"/>
                      <a:pt x="431665" y="174690"/>
                      <a:pt x="433897" y="173499"/>
                    </a:cubicBezTo>
                    <a:cubicBezTo>
                      <a:pt x="452199" y="163381"/>
                      <a:pt x="461573" y="147608"/>
                      <a:pt x="461871" y="126479"/>
                    </a:cubicBezTo>
                    <a:cubicBezTo>
                      <a:pt x="462169" y="101778"/>
                      <a:pt x="462020" y="77078"/>
                      <a:pt x="461871" y="52526"/>
                    </a:cubicBezTo>
                    <a:cubicBezTo>
                      <a:pt x="461871" y="37646"/>
                      <a:pt x="457407" y="23957"/>
                      <a:pt x="446247" y="14136"/>
                    </a:cubicBezTo>
                    <a:cubicBezTo>
                      <a:pt x="439402" y="8184"/>
                      <a:pt x="430474" y="4613"/>
                      <a:pt x="422588" y="0"/>
                    </a:cubicBezTo>
                    <a:moveTo>
                      <a:pt x="271706" y="144632"/>
                    </a:moveTo>
                    <a:cubicBezTo>
                      <a:pt x="221561" y="144632"/>
                      <a:pt x="171416" y="144632"/>
                      <a:pt x="121271" y="144632"/>
                    </a:cubicBezTo>
                    <a:cubicBezTo>
                      <a:pt x="105349" y="144632"/>
                      <a:pt x="99397" y="138680"/>
                      <a:pt x="99397" y="122461"/>
                    </a:cubicBezTo>
                    <a:cubicBezTo>
                      <a:pt x="99397" y="100588"/>
                      <a:pt x="99397" y="78714"/>
                      <a:pt x="99397" y="56841"/>
                    </a:cubicBezTo>
                    <a:cubicBezTo>
                      <a:pt x="99397" y="39432"/>
                      <a:pt x="104903" y="33628"/>
                      <a:pt x="121866" y="33628"/>
                    </a:cubicBezTo>
                    <a:lnTo>
                      <a:pt x="405179" y="33628"/>
                    </a:lnTo>
                    <a:cubicBezTo>
                      <a:pt x="422737" y="33628"/>
                      <a:pt x="428242" y="39283"/>
                      <a:pt x="428391" y="57139"/>
                    </a:cubicBezTo>
                    <a:cubicBezTo>
                      <a:pt x="428391" y="78714"/>
                      <a:pt x="428391" y="100290"/>
                      <a:pt x="428391" y="121866"/>
                    </a:cubicBezTo>
                    <a:cubicBezTo>
                      <a:pt x="428391" y="138829"/>
                      <a:pt x="422588" y="144632"/>
                      <a:pt x="406220" y="144632"/>
                    </a:cubicBezTo>
                    <a:cubicBezTo>
                      <a:pt x="361432" y="144632"/>
                      <a:pt x="316495" y="144632"/>
                      <a:pt x="271706" y="144632"/>
                    </a:cubicBezTo>
                    <a:moveTo>
                      <a:pt x="34224" y="379734"/>
                    </a:moveTo>
                    <a:cubicBezTo>
                      <a:pt x="34968" y="368872"/>
                      <a:pt x="39878" y="360093"/>
                      <a:pt x="45979" y="351760"/>
                    </a:cubicBezTo>
                    <a:cubicBezTo>
                      <a:pt x="72465" y="315751"/>
                      <a:pt x="99249" y="279741"/>
                      <a:pt x="125288" y="243286"/>
                    </a:cubicBezTo>
                    <a:cubicBezTo>
                      <a:pt x="129306" y="237631"/>
                      <a:pt x="131687" y="229596"/>
                      <a:pt x="132133" y="222603"/>
                    </a:cubicBezTo>
                    <a:cubicBezTo>
                      <a:pt x="133175" y="208169"/>
                      <a:pt x="132431" y="193587"/>
                      <a:pt x="132431" y="178558"/>
                    </a:cubicBezTo>
                    <a:lnTo>
                      <a:pt x="395060" y="178558"/>
                    </a:lnTo>
                    <a:lnTo>
                      <a:pt x="395060" y="211740"/>
                    </a:lnTo>
                    <a:lnTo>
                      <a:pt x="386132" y="211740"/>
                    </a:lnTo>
                    <a:cubicBezTo>
                      <a:pt x="362027" y="211740"/>
                      <a:pt x="337773" y="211740"/>
                      <a:pt x="313668" y="211740"/>
                    </a:cubicBezTo>
                    <a:cubicBezTo>
                      <a:pt x="292538" y="211740"/>
                      <a:pt x="271409" y="211740"/>
                      <a:pt x="250279" y="211740"/>
                    </a:cubicBezTo>
                    <a:cubicBezTo>
                      <a:pt x="239863" y="211740"/>
                      <a:pt x="233167" y="216353"/>
                      <a:pt x="231531" y="224537"/>
                    </a:cubicBezTo>
                    <a:cubicBezTo>
                      <a:pt x="229150" y="236441"/>
                      <a:pt x="236590" y="245369"/>
                      <a:pt x="249684" y="245369"/>
                    </a:cubicBezTo>
                    <a:cubicBezTo>
                      <a:pt x="272450" y="245369"/>
                      <a:pt x="295216" y="245369"/>
                      <a:pt x="317834" y="245369"/>
                    </a:cubicBezTo>
                    <a:cubicBezTo>
                      <a:pt x="343427" y="245369"/>
                      <a:pt x="369020" y="245369"/>
                      <a:pt x="394614" y="245220"/>
                    </a:cubicBezTo>
                    <a:lnTo>
                      <a:pt x="394763" y="245220"/>
                    </a:lnTo>
                    <a:cubicBezTo>
                      <a:pt x="401012" y="245220"/>
                      <a:pt x="405030" y="246857"/>
                      <a:pt x="408899" y="252214"/>
                    </a:cubicBezTo>
                    <a:cubicBezTo>
                      <a:pt x="433153" y="285842"/>
                      <a:pt x="458002" y="319024"/>
                      <a:pt x="482107" y="352653"/>
                    </a:cubicBezTo>
                    <a:cubicBezTo>
                      <a:pt x="487613" y="360241"/>
                      <a:pt x="490887" y="369467"/>
                      <a:pt x="495946" y="379585"/>
                    </a:cubicBezTo>
                    <a:lnTo>
                      <a:pt x="34075" y="379585"/>
                    </a:lnTo>
                    <a:moveTo>
                      <a:pt x="142995" y="660815"/>
                    </a:moveTo>
                    <a:cubicBezTo>
                      <a:pt x="107730" y="660815"/>
                      <a:pt x="72465" y="660815"/>
                      <a:pt x="37051" y="660815"/>
                    </a:cubicBezTo>
                    <a:lnTo>
                      <a:pt x="33926" y="660517"/>
                    </a:lnTo>
                    <a:lnTo>
                      <a:pt x="33926" y="414255"/>
                    </a:lnTo>
                    <a:lnTo>
                      <a:pt x="494011" y="414255"/>
                    </a:lnTo>
                    <a:lnTo>
                      <a:pt x="494011" y="422439"/>
                    </a:lnTo>
                    <a:cubicBezTo>
                      <a:pt x="494011" y="462466"/>
                      <a:pt x="494011" y="502642"/>
                      <a:pt x="494011" y="542669"/>
                    </a:cubicBezTo>
                    <a:cubicBezTo>
                      <a:pt x="494011" y="548769"/>
                      <a:pt x="492226" y="552192"/>
                      <a:pt x="487018" y="555168"/>
                    </a:cubicBezTo>
                    <a:cubicBezTo>
                      <a:pt x="453687" y="574660"/>
                      <a:pt x="420505" y="594302"/>
                      <a:pt x="387620" y="614390"/>
                    </a:cubicBezTo>
                    <a:cubicBezTo>
                      <a:pt x="371401" y="624359"/>
                      <a:pt x="358902" y="638495"/>
                      <a:pt x="348486" y="654565"/>
                    </a:cubicBezTo>
                    <a:cubicBezTo>
                      <a:pt x="346552" y="657541"/>
                      <a:pt x="342386" y="660517"/>
                      <a:pt x="339261" y="660517"/>
                    </a:cubicBezTo>
                    <a:cubicBezTo>
                      <a:pt x="273789" y="660666"/>
                      <a:pt x="208318" y="660815"/>
                      <a:pt x="142847" y="660815"/>
                    </a:cubicBezTo>
                    <a:moveTo>
                      <a:pt x="627930" y="744291"/>
                    </a:moveTo>
                    <a:cubicBezTo>
                      <a:pt x="594897" y="685813"/>
                      <a:pt x="562310" y="628228"/>
                      <a:pt x="529426" y="570196"/>
                    </a:cubicBezTo>
                    <a:lnTo>
                      <a:pt x="533741" y="566774"/>
                    </a:lnTo>
                    <a:cubicBezTo>
                      <a:pt x="559185" y="551745"/>
                      <a:pt x="584332" y="536568"/>
                      <a:pt x="609925" y="521986"/>
                    </a:cubicBezTo>
                    <a:cubicBezTo>
                      <a:pt x="626591" y="512611"/>
                      <a:pt x="644000" y="508147"/>
                      <a:pt x="660815" y="508147"/>
                    </a:cubicBezTo>
                    <a:cubicBezTo>
                      <a:pt x="704115" y="508147"/>
                      <a:pt x="743547" y="537163"/>
                      <a:pt x="755748" y="585076"/>
                    </a:cubicBezTo>
                    <a:cubicBezTo>
                      <a:pt x="765420" y="623020"/>
                      <a:pt x="751433" y="666469"/>
                      <a:pt x="718697" y="689086"/>
                    </a:cubicBezTo>
                    <a:cubicBezTo>
                      <a:pt x="689682" y="709026"/>
                      <a:pt x="658731" y="725840"/>
                      <a:pt x="627930" y="744440"/>
                    </a:cubicBezTo>
                    <a:moveTo>
                      <a:pt x="460234" y="827320"/>
                    </a:moveTo>
                    <a:cubicBezTo>
                      <a:pt x="426159" y="827320"/>
                      <a:pt x="392977" y="808869"/>
                      <a:pt x="374824" y="776729"/>
                    </a:cubicBezTo>
                    <a:cubicBezTo>
                      <a:pt x="348933" y="730750"/>
                      <a:pt x="362176" y="671082"/>
                      <a:pt x="406071" y="642810"/>
                    </a:cubicBezTo>
                    <a:cubicBezTo>
                      <a:pt x="436575" y="623169"/>
                      <a:pt x="468269" y="605462"/>
                      <a:pt x="500261" y="586415"/>
                    </a:cubicBezTo>
                    <a:cubicBezTo>
                      <a:pt x="533443" y="645191"/>
                      <a:pt x="566030" y="702776"/>
                      <a:pt x="598914" y="760807"/>
                    </a:cubicBezTo>
                    <a:cubicBezTo>
                      <a:pt x="596087" y="762593"/>
                      <a:pt x="593558" y="764081"/>
                      <a:pt x="591028" y="765718"/>
                    </a:cubicBezTo>
                    <a:cubicBezTo>
                      <a:pt x="562310" y="782532"/>
                      <a:pt x="534038" y="800239"/>
                      <a:pt x="504725" y="816012"/>
                    </a:cubicBezTo>
                    <a:cubicBezTo>
                      <a:pt x="490589" y="823600"/>
                      <a:pt x="475412" y="827172"/>
                      <a:pt x="460383" y="827172"/>
                    </a:cubicBezTo>
                    <a:moveTo>
                      <a:pt x="187635" y="761700"/>
                    </a:moveTo>
                    <a:cubicBezTo>
                      <a:pt x="153709" y="761700"/>
                      <a:pt x="119932" y="761700"/>
                      <a:pt x="86154" y="761700"/>
                    </a:cubicBezTo>
                    <a:cubicBezTo>
                      <a:pt x="59371" y="761700"/>
                      <a:pt x="39878" y="746523"/>
                      <a:pt x="34819" y="721376"/>
                    </a:cubicBezTo>
                    <a:cubicBezTo>
                      <a:pt x="33033" y="713043"/>
                      <a:pt x="33777" y="704264"/>
                      <a:pt x="33182" y="694890"/>
                    </a:cubicBezTo>
                    <a:lnTo>
                      <a:pt x="330482" y="694890"/>
                    </a:lnTo>
                    <a:lnTo>
                      <a:pt x="330482" y="761403"/>
                    </a:lnTo>
                    <a:cubicBezTo>
                      <a:pt x="330482" y="761403"/>
                      <a:pt x="328398" y="761700"/>
                      <a:pt x="326464" y="761700"/>
                    </a:cubicBezTo>
                    <a:cubicBezTo>
                      <a:pt x="280188" y="761700"/>
                      <a:pt x="233911" y="761700"/>
                      <a:pt x="187635" y="761700"/>
                    </a:cubicBezTo>
                  </a:path>
                </a:pathLst>
              </a:custGeom>
              <a:grpFill/>
              <a:ln w="148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172ABEF0-1C95-7A64-193A-382E17167FC3}"/>
                  </a:ext>
                </a:extLst>
              </p:cNvPr>
              <p:cNvSpPr/>
              <p:nvPr/>
            </p:nvSpPr>
            <p:spPr>
              <a:xfrm>
                <a:off x="3478335" y="2898622"/>
                <a:ext cx="164571" cy="166952"/>
              </a:xfrm>
              <a:custGeom>
                <a:avLst/>
                <a:gdLst>
                  <a:gd name="connsiteX0" fmla="*/ 82434 w 164571"/>
                  <a:gd name="connsiteY0" fmla="*/ 0 h 166952"/>
                  <a:gd name="connsiteX1" fmla="*/ 80798 w 164571"/>
                  <a:gd name="connsiteY1" fmla="*/ 0 h 166952"/>
                  <a:gd name="connsiteX2" fmla="*/ 66513 w 164571"/>
                  <a:gd name="connsiteY2" fmla="*/ 13838 h 166952"/>
                  <a:gd name="connsiteX3" fmla="*/ 65769 w 164571"/>
                  <a:gd name="connsiteY3" fmla="*/ 40622 h 166952"/>
                  <a:gd name="connsiteX4" fmla="*/ 65769 w 164571"/>
                  <a:gd name="connsiteY4" fmla="*/ 67108 h 166952"/>
                  <a:gd name="connsiteX5" fmla="*/ 53567 w 164571"/>
                  <a:gd name="connsiteY5" fmla="*/ 67108 h 166952"/>
                  <a:gd name="connsiteX6" fmla="*/ 43896 w 164571"/>
                  <a:gd name="connsiteY6" fmla="*/ 67108 h 166952"/>
                  <a:gd name="connsiteX7" fmla="*/ 33628 w 164571"/>
                  <a:gd name="connsiteY7" fmla="*/ 67108 h 166952"/>
                  <a:gd name="connsiteX8" fmla="*/ 16070 w 164571"/>
                  <a:gd name="connsiteY8" fmla="*/ 67257 h 166952"/>
                  <a:gd name="connsiteX9" fmla="*/ 0 w 164571"/>
                  <a:gd name="connsiteY9" fmla="*/ 83922 h 166952"/>
                  <a:gd name="connsiteX10" fmla="*/ 15921 w 164571"/>
                  <a:gd name="connsiteY10" fmla="*/ 100737 h 166952"/>
                  <a:gd name="connsiteX11" fmla="*/ 26040 w 164571"/>
                  <a:gd name="connsiteY11" fmla="*/ 100885 h 166952"/>
                  <a:gd name="connsiteX12" fmla="*/ 32736 w 164571"/>
                  <a:gd name="connsiteY12" fmla="*/ 100885 h 166952"/>
                  <a:gd name="connsiteX13" fmla="*/ 39729 w 164571"/>
                  <a:gd name="connsiteY13" fmla="*/ 100885 h 166952"/>
                  <a:gd name="connsiteX14" fmla="*/ 65471 w 164571"/>
                  <a:gd name="connsiteY14" fmla="*/ 100885 h 166952"/>
                  <a:gd name="connsiteX15" fmla="*/ 65471 w 164571"/>
                  <a:gd name="connsiteY15" fmla="*/ 111301 h 166952"/>
                  <a:gd name="connsiteX16" fmla="*/ 65769 w 164571"/>
                  <a:gd name="connsiteY16" fmla="*/ 147459 h 166952"/>
                  <a:gd name="connsiteX17" fmla="*/ 71870 w 164571"/>
                  <a:gd name="connsiteY17" fmla="*/ 163678 h 166952"/>
                  <a:gd name="connsiteX18" fmla="*/ 83178 w 164571"/>
                  <a:gd name="connsiteY18" fmla="*/ 166952 h 166952"/>
                  <a:gd name="connsiteX19" fmla="*/ 88237 w 164571"/>
                  <a:gd name="connsiteY19" fmla="*/ 166357 h 166952"/>
                  <a:gd name="connsiteX20" fmla="*/ 98802 w 164571"/>
                  <a:gd name="connsiteY20" fmla="*/ 149245 h 166952"/>
                  <a:gd name="connsiteX21" fmla="*/ 98802 w 164571"/>
                  <a:gd name="connsiteY21" fmla="*/ 101183 h 166952"/>
                  <a:gd name="connsiteX22" fmla="*/ 104457 w 164571"/>
                  <a:gd name="connsiteY22" fmla="*/ 100885 h 166952"/>
                  <a:gd name="connsiteX23" fmla="*/ 107135 w 164571"/>
                  <a:gd name="connsiteY23" fmla="*/ 100885 h 166952"/>
                  <a:gd name="connsiteX24" fmla="*/ 118444 w 164571"/>
                  <a:gd name="connsiteY24" fmla="*/ 100885 h 166952"/>
                  <a:gd name="connsiteX25" fmla="*/ 129008 w 164571"/>
                  <a:gd name="connsiteY25" fmla="*/ 100885 h 166952"/>
                  <a:gd name="connsiteX26" fmla="*/ 148203 w 164571"/>
                  <a:gd name="connsiteY26" fmla="*/ 100737 h 166952"/>
                  <a:gd name="connsiteX27" fmla="*/ 164571 w 164571"/>
                  <a:gd name="connsiteY27" fmla="*/ 84071 h 166952"/>
                  <a:gd name="connsiteX28" fmla="*/ 148352 w 164571"/>
                  <a:gd name="connsiteY28" fmla="*/ 67257 h 166952"/>
                  <a:gd name="connsiteX29" fmla="*/ 142847 w 164571"/>
                  <a:gd name="connsiteY29" fmla="*/ 67257 h 166952"/>
                  <a:gd name="connsiteX30" fmla="*/ 136002 w 164571"/>
                  <a:gd name="connsiteY30" fmla="*/ 67257 h 166952"/>
                  <a:gd name="connsiteX31" fmla="*/ 99546 w 164571"/>
                  <a:gd name="connsiteY31" fmla="*/ 67257 h 166952"/>
                  <a:gd name="connsiteX32" fmla="*/ 98951 w 164571"/>
                  <a:gd name="connsiteY32" fmla="*/ 64430 h 166952"/>
                  <a:gd name="connsiteX33" fmla="*/ 98802 w 164571"/>
                  <a:gd name="connsiteY33" fmla="*/ 23213 h 166952"/>
                  <a:gd name="connsiteX34" fmla="*/ 97463 w 164571"/>
                  <a:gd name="connsiteY34" fmla="*/ 11606 h 166952"/>
                  <a:gd name="connsiteX35" fmla="*/ 82137 w 164571"/>
                  <a:gd name="connsiteY35" fmla="*/ 0 h 166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64571" h="166952">
                    <a:moveTo>
                      <a:pt x="82434" y="0"/>
                    </a:moveTo>
                    <a:cubicBezTo>
                      <a:pt x="82434" y="0"/>
                      <a:pt x="81393" y="0"/>
                      <a:pt x="80798" y="0"/>
                    </a:cubicBezTo>
                    <a:cubicBezTo>
                      <a:pt x="73358" y="744"/>
                      <a:pt x="67257" y="5952"/>
                      <a:pt x="66513" y="13838"/>
                    </a:cubicBezTo>
                    <a:cubicBezTo>
                      <a:pt x="65620" y="22766"/>
                      <a:pt x="65769" y="31694"/>
                      <a:pt x="65769" y="40622"/>
                    </a:cubicBezTo>
                    <a:cubicBezTo>
                      <a:pt x="65769" y="49252"/>
                      <a:pt x="65769" y="57883"/>
                      <a:pt x="65769" y="67108"/>
                    </a:cubicBezTo>
                    <a:lnTo>
                      <a:pt x="53567" y="67108"/>
                    </a:lnTo>
                    <a:cubicBezTo>
                      <a:pt x="50294" y="67108"/>
                      <a:pt x="47169" y="67108"/>
                      <a:pt x="43896" y="67108"/>
                    </a:cubicBezTo>
                    <a:cubicBezTo>
                      <a:pt x="40473" y="67108"/>
                      <a:pt x="37051" y="67108"/>
                      <a:pt x="33628" y="67108"/>
                    </a:cubicBezTo>
                    <a:cubicBezTo>
                      <a:pt x="27825" y="67108"/>
                      <a:pt x="22022" y="67108"/>
                      <a:pt x="16070" y="67257"/>
                    </a:cubicBezTo>
                    <a:cubicBezTo>
                      <a:pt x="6547" y="67555"/>
                      <a:pt x="149" y="74548"/>
                      <a:pt x="0" y="83922"/>
                    </a:cubicBezTo>
                    <a:cubicBezTo>
                      <a:pt x="0" y="93148"/>
                      <a:pt x="6398" y="100290"/>
                      <a:pt x="15921" y="100737"/>
                    </a:cubicBezTo>
                    <a:cubicBezTo>
                      <a:pt x="19344" y="100737"/>
                      <a:pt x="22617" y="100885"/>
                      <a:pt x="26040" y="100885"/>
                    </a:cubicBezTo>
                    <a:cubicBezTo>
                      <a:pt x="28272" y="100885"/>
                      <a:pt x="30504" y="100885"/>
                      <a:pt x="32736" y="100885"/>
                    </a:cubicBezTo>
                    <a:cubicBezTo>
                      <a:pt x="35116" y="100885"/>
                      <a:pt x="37497" y="100885"/>
                      <a:pt x="39729" y="100885"/>
                    </a:cubicBezTo>
                    <a:lnTo>
                      <a:pt x="65471" y="100885"/>
                    </a:lnTo>
                    <a:cubicBezTo>
                      <a:pt x="65471" y="105201"/>
                      <a:pt x="65471" y="108177"/>
                      <a:pt x="65471" y="111301"/>
                    </a:cubicBezTo>
                    <a:cubicBezTo>
                      <a:pt x="65471" y="123354"/>
                      <a:pt x="64876" y="135407"/>
                      <a:pt x="65769" y="147459"/>
                    </a:cubicBezTo>
                    <a:cubicBezTo>
                      <a:pt x="66215" y="153114"/>
                      <a:pt x="68001" y="160405"/>
                      <a:pt x="71870" y="163678"/>
                    </a:cubicBezTo>
                    <a:cubicBezTo>
                      <a:pt x="74548" y="165910"/>
                      <a:pt x="79012" y="166952"/>
                      <a:pt x="83178" y="166952"/>
                    </a:cubicBezTo>
                    <a:cubicBezTo>
                      <a:pt x="84964" y="166952"/>
                      <a:pt x="86750" y="166803"/>
                      <a:pt x="88237" y="166357"/>
                    </a:cubicBezTo>
                    <a:cubicBezTo>
                      <a:pt x="95975" y="164571"/>
                      <a:pt x="98654" y="156983"/>
                      <a:pt x="98802" y="149245"/>
                    </a:cubicBezTo>
                    <a:cubicBezTo>
                      <a:pt x="98951" y="133621"/>
                      <a:pt x="98802" y="117848"/>
                      <a:pt x="98802" y="101183"/>
                    </a:cubicBezTo>
                    <a:cubicBezTo>
                      <a:pt x="101332" y="101183"/>
                      <a:pt x="102969" y="100885"/>
                      <a:pt x="104457" y="100885"/>
                    </a:cubicBezTo>
                    <a:lnTo>
                      <a:pt x="107135" y="100885"/>
                    </a:lnTo>
                    <a:cubicBezTo>
                      <a:pt x="110855" y="100885"/>
                      <a:pt x="114575" y="100885"/>
                      <a:pt x="118444" y="100885"/>
                    </a:cubicBezTo>
                    <a:cubicBezTo>
                      <a:pt x="122015" y="100885"/>
                      <a:pt x="125586" y="100885"/>
                      <a:pt x="129008" y="100885"/>
                    </a:cubicBezTo>
                    <a:cubicBezTo>
                      <a:pt x="135407" y="100885"/>
                      <a:pt x="141805" y="100885"/>
                      <a:pt x="148203" y="100737"/>
                    </a:cubicBezTo>
                    <a:cubicBezTo>
                      <a:pt x="157429" y="100588"/>
                      <a:pt x="164571" y="92850"/>
                      <a:pt x="164571" y="84071"/>
                    </a:cubicBezTo>
                    <a:cubicBezTo>
                      <a:pt x="164571" y="75292"/>
                      <a:pt x="157429" y="67852"/>
                      <a:pt x="148352" y="67257"/>
                    </a:cubicBezTo>
                    <a:cubicBezTo>
                      <a:pt x="146567" y="67257"/>
                      <a:pt x="144632" y="67257"/>
                      <a:pt x="142847" y="67257"/>
                    </a:cubicBezTo>
                    <a:cubicBezTo>
                      <a:pt x="140615" y="67257"/>
                      <a:pt x="138234" y="67257"/>
                      <a:pt x="136002" y="67257"/>
                    </a:cubicBezTo>
                    <a:lnTo>
                      <a:pt x="99546" y="67257"/>
                    </a:lnTo>
                    <a:lnTo>
                      <a:pt x="98951" y="64430"/>
                    </a:lnTo>
                    <a:cubicBezTo>
                      <a:pt x="98951" y="50740"/>
                      <a:pt x="98951" y="36902"/>
                      <a:pt x="98802" y="23213"/>
                    </a:cubicBezTo>
                    <a:cubicBezTo>
                      <a:pt x="98802" y="19344"/>
                      <a:pt x="98505" y="15326"/>
                      <a:pt x="97463" y="11606"/>
                    </a:cubicBezTo>
                    <a:cubicBezTo>
                      <a:pt x="95380" y="4315"/>
                      <a:pt x="89279" y="0"/>
                      <a:pt x="82137" y="0"/>
                    </a:cubicBezTo>
                  </a:path>
                </a:pathLst>
              </a:custGeom>
              <a:grpFill/>
              <a:ln w="148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BE299587-CE8F-2C01-95D7-E12C7AFFBE7C}"/>
                  </a:ext>
                </a:extLst>
              </p:cNvPr>
              <p:cNvSpPr/>
              <p:nvPr/>
            </p:nvSpPr>
            <p:spPr>
              <a:xfrm>
                <a:off x="3461967" y="2651318"/>
                <a:ext cx="32884" cy="33628"/>
              </a:xfrm>
              <a:custGeom>
                <a:avLst/>
                <a:gdLst>
                  <a:gd name="connsiteX0" fmla="*/ 16368 w 32884"/>
                  <a:gd name="connsiteY0" fmla="*/ 0 h 33628"/>
                  <a:gd name="connsiteX1" fmla="*/ 16070 w 32884"/>
                  <a:gd name="connsiteY1" fmla="*/ 0 h 33628"/>
                  <a:gd name="connsiteX2" fmla="*/ 0 w 32884"/>
                  <a:gd name="connsiteY2" fmla="*/ 16665 h 33628"/>
                  <a:gd name="connsiteX3" fmla="*/ 15773 w 32884"/>
                  <a:gd name="connsiteY3" fmla="*/ 33628 h 33628"/>
                  <a:gd name="connsiteX4" fmla="*/ 16219 w 32884"/>
                  <a:gd name="connsiteY4" fmla="*/ 33628 h 33628"/>
                  <a:gd name="connsiteX5" fmla="*/ 32885 w 32884"/>
                  <a:gd name="connsiteY5" fmla="*/ 16963 h 33628"/>
                  <a:gd name="connsiteX6" fmla="*/ 16219 w 32884"/>
                  <a:gd name="connsiteY6" fmla="*/ 0 h 3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84" h="33628">
                    <a:moveTo>
                      <a:pt x="16368" y="0"/>
                    </a:moveTo>
                    <a:lnTo>
                      <a:pt x="16070" y="0"/>
                    </a:lnTo>
                    <a:cubicBezTo>
                      <a:pt x="7142" y="149"/>
                      <a:pt x="149" y="7440"/>
                      <a:pt x="0" y="16665"/>
                    </a:cubicBezTo>
                    <a:cubicBezTo>
                      <a:pt x="0" y="25891"/>
                      <a:pt x="6845" y="33331"/>
                      <a:pt x="15773" y="33628"/>
                    </a:cubicBezTo>
                    <a:cubicBezTo>
                      <a:pt x="15922" y="33628"/>
                      <a:pt x="16070" y="33628"/>
                      <a:pt x="16219" y="33628"/>
                    </a:cubicBezTo>
                    <a:cubicBezTo>
                      <a:pt x="24998" y="33628"/>
                      <a:pt x="32885" y="25891"/>
                      <a:pt x="32885" y="16963"/>
                    </a:cubicBezTo>
                    <a:cubicBezTo>
                      <a:pt x="32885" y="8035"/>
                      <a:pt x="25147" y="0"/>
                      <a:pt x="16219" y="0"/>
                    </a:cubicBezTo>
                  </a:path>
                </a:pathLst>
              </a:custGeom>
              <a:grpFill/>
              <a:ln w="148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T Sans"/>
                  <a:ea typeface="+mn-ea"/>
                  <a:cs typeface="+mn-cs"/>
                </a:endParaRPr>
              </a:p>
            </p:txBody>
          </p:sp>
        </p:grp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D748500-8C3F-A9B5-2183-A532CAD3A02E}"/>
                </a:ext>
              </a:extLst>
            </p:cNvPr>
            <p:cNvSpPr/>
            <p:nvPr/>
          </p:nvSpPr>
          <p:spPr>
            <a:xfrm>
              <a:off x="9040445" y="2440245"/>
              <a:ext cx="641562" cy="576698"/>
            </a:xfrm>
            <a:custGeom>
              <a:avLst/>
              <a:gdLst>
                <a:gd name="connsiteX0" fmla="*/ 298341 w 666772"/>
                <a:gd name="connsiteY0" fmla="*/ 0 h 599360"/>
                <a:gd name="connsiteX1" fmla="*/ 175582 w 666772"/>
                <a:gd name="connsiteY1" fmla="*/ 5505 h 599360"/>
                <a:gd name="connsiteX2" fmla="*/ 80500 w 666772"/>
                <a:gd name="connsiteY2" fmla="*/ 18600 h 599360"/>
                <a:gd name="connsiteX3" fmla="*/ 24105 w 666772"/>
                <a:gd name="connsiteY3" fmla="*/ 37348 h 599360"/>
                <a:gd name="connsiteX4" fmla="*/ 149 w 666772"/>
                <a:gd name="connsiteY4" fmla="*/ 62495 h 599360"/>
                <a:gd name="connsiteX5" fmla="*/ 149 w 666772"/>
                <a:gd name="connsiteY5" fmla="*/ 149691 h 599360"/>
                <a:gd name="connsiteX6" fmla="*/ 28867 w 666772"/>
                <a:gd name="connsiteY6" fmla="*/ 178261 h 599360"/>
                <a:gd name="connsiteX7" fmla="*/ 66810 w 666772"/>
                <a:gd name="connsiteY7" fmla="*/ 194629 h 599360"/>
                <a:gd name="connsiteX8" fmla="*/ 66810 w 666772"/>
                <a:gd name="connsiteY8" fmla="*/ 276170 h 599360"/>
                <a:gd name="connsiteX9" fmla="*/ 34075 w 666772"/>
                <a:gd name="connsiteY9" fmla="*/ 287925 h 599360"/>
                <a:gd name="connsiteX10" fmla="*/ 10416 w 666772"/>
                <a:gd name="connsiteY10" fmla="*/ 302359 h 599360"/>
                <a:gd name="connsiteX11" fmla="*/ 0 w 666772"/>
                <a:gd name="connsiteY11" fmla="*/ 317685 h 599360"/>
                <a:gd name="connsiteX12" fmla="*/ 0 w 666772"/>
                <a:gd name="connsiteY12" fmla="*/ 406220 h 599360"/>
                <a:gd name="connsiteX13" fmla="*/ 30504 w 666772"/>
                <a:gd name="connsiteY13" fmla="*/ 434790 h 599360"/>
                <a:gd name="connsiteX14" fmla="*/ 33926 w 666772"/>
                <a:gd name="connsiteY14" fmla="*/ 441337 h 599360"/>
                <a:gd name="connsiteX15" fmla="*/ 33331 w 666772"/>
                <a:gd name="connsiteY15" fmla="*/ 522581 h 599360"/>
                <a:gd name="connsiteX16" fmla="*/ 49401 w 666772"/>
                <a:gd name="connsiteY16" fmla="*/ 548025 h 599360"/>
                <a:gd name="connsiteX17" fmla="*/ 99844 w 666772"/>
                <a:gd name="connsiteY17" fmla="*/ 571238 h 599360"/>
                <a:gd name="connsiteX18" fmla="*/ 223495 w 666772"/>
                <a:gd name="connsiteY18" fmla="*/ 593707 h 599360"/>
                <a:gd name="connsiteX19" fmla="*/ 332416 w 666772"/>
                <a:gd name="connsiteY19" fmla="*/ 599361 h 599360"/>
                <a:gd name="connsiteX20" fmla="*/ 369020 w 666772"/>
                <a:gd name="connsiteY20" fmla="*/ 598617 h 599360"/>
                <a:gd name="connsiteX21" fmla="*/ 566030 w 666772"/>
                <a:gd name="connsiteY21" fmla="*/ 571089 h 599360"/>
                <a:gd name="connsiteX22" fmla="*/ 611711 w 666772"/>
                <a:gd name="connsiteY22" fmla="*/ 551448 h 599360"/>
                <a:gd name="connsiteX23" fmla="*/ 633733 w 666772"/>
                <a:gd name="connsiteY23" fmla="*/ 512016 h 599360"/>
                <a:gd name="connsiteX24" fmla="*/ 633733 w 666772"/>
                <a:gd name="connsiteY24" fmla="*/ 453538 h 599360"/>
                <a:gd name="connsiteX25" fmla="*/ 612902 w 666772"/>
                <a:gd name="connsiteY25" fmla="*/ 416934 h 599360"/>
                <a:gd name="connsiteX26" fmla="*/ 599658 w 666772"/>
                <a:gd name="connsiteY26" fmla="*/ 409940 h 599360"/>
                <a:gd name="connsiteX27" fmla="*/ 599658 w 666772"/>
                <a:gd name="connsiteY27" fmla="*/ 327952 h 599360"/>
                <a:gd name="connsiteX28" fmla="*/ 631204 w 666772"/>
                <a:gd name="connsiteY28" fmla="*/ 315007 h 599360"/>
                <a:gd name="connsiteX29" fmla="*/ 657095 w 666772"/>
                <a:gd name="connsiteY29" fmla="*/ 297895 h 599360"/>
                <a:gd name="connsiteX30" fmla="*/ 666767 w 666772"/>
                <a:gd name="connsiteY30" fmla="*/ 274831 h 599360"/>
                <a:gd name="connsiteX31" fmla="*/ 666767 w 666772"/>
                <a:gd name="connsiteY31" fmla="*/ 203854 h 599360"/>
                <a:gd name="connsiteX32" fmla="*/ 654565 w 666772"/>
                <a:gd name="connsiteY32" fmla="*/ 178558 h 599360"/>
                <a:gd name="connsiteX33" fmla="*/ 606503 w 666772"/>
                <a:gd name="connsiteY33" fmla="*/ 156685 h 599360"/>
                <a:gd name="connsiteX34" fmla="*/ 600254 w 666772"/>
                <a:gd name="connsiteY34" fmla="*/ 155048 h 599360"/>
                <a:gd name="connsiteX35" fmla="*/ 600254 w 666772"/>
                <a:gd name="connsiteY35" fmla="*/ 72167 h 599360"/>
                <a:gd name="connsiteX36" fmla="*/ 587755 w 666772"/>
                <a:gd name="connsiteY36" fmla="*/ 45532 h 599360"/>
                <a:gd name="connsiteX37" fmla="*/ 540883 w 666772"/>
                <a:gd name="connsiteY37" fmla="*/ 23957 h 599360"/>
                <a:gd name="connsiteX38" fmla="*/ 441932 w 666772"/>
                <a:gd name="connsiteY38" fmla="*/ 6994 h 599360"/>
                <a:gd name="connsiteX39" fmla="*/ 305632 w 666772"/>
                <a:gd name="connsiteY39" fmla="*/ 149 h 599360"/>
                <a:gd name="connsiteX40" fmla="*/ 298490 w 666772"/>
                <a:gd name="connsiteY40" fmla="*/ 149 h 599360"/>
                <a:gd name="connsiteX41" fmla="*/ 303252 w 666772"/>
                <a:gd name="connsiteY41" fmla="*/ 121866 h 599360"/>
                <a:gd name="connsiteX42" fmla="*/ 263820 w 666772"/>
                <a:gd name="connsiteY42" fmla="*/ 121271 h 599360"/>
                <a:gd name="connsiteX43" fmla="*/ 75887 w 666772"/>
                <a:gd name="connsiteY43" fmla="*/ 95082 h 599360"/>
                <a:gd name="connsiteX44" fmla="*/ 32289 w 666772"/>
                <a:gd name="connsiteY44" fmla="*/ 77078 h 599360"/>
                <a:gd name="connsiteX45" fmla="*/ 32587 w 666772"/>
                <a:gd name="connsiteY45" fmla="*/ 57734 h 599360"/>
                <a:gd name="connsiteX46" fmla="*/ 90469 w 666772"/>
                <a:gd name="connsiteY46" fmla="*/ 39432 h 599360"/>
                <a:gd name="connsiteX47" fmla="*/ 211592 w 666772"/>
                <a:gd name="connsiteY47" fmla="*/ 24998 h 599360"/>
                <a:gd name="connsiteX48" fmla="*/ 310989 w 666772"/>
                <a:gd name="connsiteY48" fmla="*/ 21278 h 599360"/>
                <a:gd name="connsiteX49" fmla="*/ 442824 w 666772"/>
                <a:gd name="connsiteY49" fmla="*/ 29462 h 599360"/>
                <a:gd name="connsiteX50" fmla="*/ 556358 w 666772"/>
                <a:gd name="connsiteY50" fmla="*/ 52526 h 599360"/>
                <a:gd name="connsiteX51" fmla="*/ 571387 w 666772"/>
                <a:gd name="connsiteY51" fmla="*/ 60115 h 599360"/>
                <a:gd name="connsiteX52" fmla="*/ 571982 w 666772"/>
                <a:gd name="connsiteY52" fmla="*/ 74548 h 599360"/>
                <a:gd name="connsiteX53" fmla="*/ 553382 w 666772"/>
                <a:gd name="connsiteY53" fmla="*/ 85113 h 599360"/>
                <a:gd name="connsiteX54" fmla="*/ 467228 w 666772"/>
                <a:gd name="connsiteY54" fmla="*/ 108474 h 599360"/>
                <a:gd name="connsiteX55" fmla="*/ 303252 w 666772"/>
                <a:gd name="connsiteY55" fmla="*/ 121866 h 599360"/>
                <a:gd name="connsiteX56" fmla="*/ 55502 w 666772"/>
                <a:gd name="connsiteY56" fmla="*/ 167547 h 599360"/>
                <a:gd name="connsiteX57" fmla="*/ 28569 w 666772"/>
                <a:gd name="connsiteY57" fmla="*/ 152667 h 599360"/>
                <a:gd name="connsiteX58" fmla="*/ 22320 w 666772"/>
                <a:gd name="connsiteY58" fmla="*/ 140019 h 599360"/>
                <a:gd name="connsiteX59" fmla="*/ 22320 w 666772"/>
                <a:gd name="connsiteY59" fmla="*/ 99546 h 599360"/>
                <a:gd name="connsiteX60" fmla="*/ 53419 w 666772"/>
                <a:gd name="connsiteY60" fmla="*/ 113087 h 599360"/>
                <a:gd name="connsiteX61" fmla="*/ 55353 w 666772"/>
                <a:gd name="connsiteY61" fmla="*/ 116658 h 599360"/>
                <a:gd name="connsiteX62" fmla="*/ 55353 w 666772"/>
                <a:gd name="connsiteY62" fmla="*/ 167696 h 599360"/>
                <a:gd name="connsiteX63" fmla="*/ 544454 w 666772"/>
                <a:gd name="connsiteY63" fmla="*/ 167398 h 599360"/>
                <a:gd name="connsiteX64" fmla="*/ 544603 w 666772"/>
                <a:gd name="connsiteY64" fmla="*/ 117551 h 599360"/>
                <a:gd name="connsiteX65" fmla="*/ 548174 w 666772"/>
                <a:gd name="connsiteY65" fmla="*/ 112641 h 599360"/>
                <a:gd name="connsiteX66" fmla="*/ 577041 w 666772"/>
                <a:gd name="connsiteY66" fmla="*/ 99993 h 599360"/>
                <a:gd name="connsiteX67" fmla="*/ 577636 w 666772"/>
                <a:gd name="connsiteY67" fmla="*/ 104457 h 599360"/>
                <a:gd name="connsiteX68" fmla="*/ 577636 w 666772"/>
                <a:gd name="connsiteY68" fmla="*/ 140168 h 599360"/>
                <a:gd name="connsiteX69" fmla="*/ 571536 w 666772"/>
                <a:gd name="connsiteY69" fmla="*/ 152072 h 599360"/>
                <a:gd name="connsiteX70" fmla="*/ 544454 w 666772"/>
                <a:gd name="connsiteY70" fmla="*/ 167398 h 599360"/>
                <a:gd name="connsiteX71" fmla="*/ 489547 w 666772"/>
                <a:gd name="connsiteY71" fmla="*/ 181832 h 599360"/>
                <a:gd name="connsiteX72" fmla="*/ 489547 w 666772"/>
                <a:gd name="connsiteY72" fmla="*/ 128413 h 599360"/>
                <a:gd name="connsiteX73" fmla="*/ 522134 w 666772"/>
                <a:gd name="connsiteY73" fmla="*/ 120676 h 599360"/>
                <a:gd name="connsiteX74" fmla="*/ 522134 w 666772"/>
                <a:gd name="connsiteY74" fmla="*/ 157280 h 599360"/>
                <a:gd name="connsiteX75" fmla="*/ 506064 w 666772"/>
                <a:gd name="connsiteY75" fmla="*/ 177963 h 599360"/>
                <a:gd name="connsiteX76" fmla="*/ 489547 w 666772"/>
                <a:gd name="connsiteY76" fmla="*/ 181832 h 599360"/>
                <a:gd name="connsiteX77" fmla="*/ 110557 w 666772"/>
                <a:gd name="connsiteY77" fmla="*/ 182129 h 599360"/>
                <a:gd name="connsiteX78" fmla="*/ 80649 w 666772"/>
                <a:gd name="connsiteY78" fmla="*/ 174541 h 599360"/>
                <a:gd name="connsiteX79" fmla="*/ 78268 w 666772"/>
                <a:gd name="connsiteY79" fmla="*/ 171267 h 599360"/>
                <a:gd name="connsiteX80" fmla="*/ 78268 w 666772"/>
                <a:gd name="connsiteY80" fmla="*/ 120824 h 599360"/>
                <a:gd name="connsiteX81" fmla="*/ 110706 w 666772"/>
                <a:gd name="connsiteY81" fmla="*/ 128116 h 599360"/>
                <a:gd name="connsiteX82" fmla="*/ 110706 w 666772"/>
                <a:gd name="connsiteY82" fmla="*/ 181981 h 599360"/>
                <a:gd name="connsiteX83" fmla="*/ 434045 w 666772"/>
                <a:gd name="connsiteY83" fmla="*/ 191206 h 599360"/>
                <a:gd name="connsiteX84" fmla="*/ 434045 w 666772"/>
                <a:gd name="connsiteY84" fmla="*/ 136746 h 599360"/>
                <a:gd name="connsiteX85" fmla="*/ 466335 w 666772"/>
                <a:gd name="connsiteY85" fmla="*/ 132133 h 599360"/>
                <a:gd name="connsiteX86" fmla="*/ 466335 w 666772"/>
                <a:gd name="connsiteY86" fmla="*/ 186147 h 599360"/>
                <a:gd name="connsiteX87" fmla="*/ 434045 w 666772"/>
                <a:gd name="connsiteY87" fmla="*/ 191057 h 599360"/>
                <a:gd name="connsiteX88" fmla="*/ 166506 w 666772"/>
                <a:gd name="connsiteY88" fmla="*/ 191057 h 599360"/>
                <a:gd name="connsiteX89" fmla="*/ 134365 w 666772"/>
                <a:gd name="connsiteY89" fmla="*/ 186296 h 599360"/>
                <a:gd name="connsiteX90" fmla="*/ 134365 w 666772"/>
                <a:gd name="connsiteY90" fmla="*/ 132133 h 599360"/>
                <a:gd name="connsiteX91" fmla="*/ 166506 w 666772"/>
                <a:gd name="connsiteY91" fmla="*/ 136448 h 599360"/>
                <a:gd name="connsiteX92" fmla="*/ 166506 w 666772"/>
                <a:gd name="connsiteY92" fmla="*/ 190909 h 599360"/>
                <a:gd name="connsiteX93" fmla="*/ 378395 w 666772"/>
                <a:gd name="connsiteY93" fmla="*/ 196563 h 599360"/>
                <a:gd name="connsiteX94" fmla="*/ 378395 w 666772"/>
                <a:gd name="connsiteY94" fmla="*/ 141656 h 599360"/>
                <a:gd name="connsiteX95" fmla="*/ 410833 w 666772"/>
                <a:gd name="connsiteY95" fmla="*/ 138978 h 599360"/>
                <a:gd name="connsiteX96" fmla="*/ 410833 w 666772"/>
                <a:gd name="connsiteY96" fmla="*/ 193736 h 599360"/>
                <a:gd name="connsiteX97" fmla="*/ 378395 w 666772"/>
                <a:gd name="connsiteY97" fmla="*/ 196563 h 599360"/>
                <a:gd name="connsiteX98" fmla="*/ 221859 w 666772"/>
                <a:gd name="connsiteY98" fmla="*/ 196563 h 599360"/>
                <a:gd name="connsiteX99" fmla="*/ 189569 w 666772"/>
                <a:gd name="connsiteY99" fmla="*/ 193736 h 599360"/>
                <a:gd name="connsiteX100" fmla="*/ 189569 w 666772"/>
                <a:gd name="connsiteY100" fmla="*/ 138978 h 599360"/>
                <a:gd name="connsiteX101" fmla="*/ 221859 w 666772"/>
                <a:gd name="connsiteY101" fmla="*/ 141507 h 599360"/>
                <a:gd name="connsiteX102" fmla="*/ 221859 w 666772"/>
                <a:gd name="connsiteY102" fmla="*/ 196414 h 599360"/>
                <a:gd name="connsiteX103" fmla="*/ 311882 w 666772"/>
                <a:gd name="connsiteY103" fmla="*/ 143888 h 599360"/>
                <a:gd name="connsiteX104" fmla="*/ 355331 w 666772"/>
                <a:gd name="connsiteY104" fmla="*/ 143888 h 599360"/>
                <a:gd name="connsiteX105" fmla="*/ 355331 w 666772"/>
                <a:gd name="connsiteY105" fmla="*/ 198051 h 599360"/>
                <a:gd name="connsiteX106" fmla="*/ 311882 w 666772"/>
                <a:gd name="connsiteY106" fmla="*/ 198051 h 599360"/>
                <a:gd name="connsiteX107" fmla="*/ 311882 w 666772"/>
                <a:gd name="connsiteY107" fmla="*/ 143888 h 599360"/>
                <a:gd name="connsiteX108" fmla="*/ 245518 w 666772"/>
                <a:gd name="connsiteY108" fmla="*/ 143888 h 599360"/>
                <a:gd name="connsiteX109" fmla="*/ 288818 w 666772"/>
                <a:gd name="connsiteY109" fmla="*/ 143888 h 599360"/>
                <a:gd name="connsiteX110" fmla="*/ 288818 w 666772"/>
                <a:gd name="connsiteY110" fmla="*/ 198348 h 599360"/>
                <a:gd name="connsiteX111" fmla="*/ 245518 w 666772"/>
                <a:gd name="connsiteY111" fmla="*/ 198348 h 599360"/>
                <a:gd name="connsiteX112" fmla="*/ 245518 w 666772"/>
                <a:gd name="connsiteY112" fmla="*/ 143888 h 599360"/>
                <a:gd name="connsiteX113" fmla="*/ 306227 w 666772"/>
                <a:gd name="connsiteY113" fmla="*/ 221115 h 599360"/>
                <a:gd name="connsiteX114" fmla="*/ 331077 w 666772"/>
                <a:gd name="connsiteY114" fmla="*/ 220966 h 599360"/>
                <a:gd name="connsiteX115" fmla="*/ 532550 w 666772"/>
                <a:gd name="connsiteY115" fmla="*/ 193587 h 599360"/>
                <a:gd name="connsiteX116" fmla="*/ 577339 w 666772"/>
                <a:gd name="connsiteY116" fmla="*/ 174987 h 599360"/>
                <a:gd name="connsiteX117" fmla="*/ 582696 w 666772"/>
                <a:gd name="connsiteY117" fmla="*/ 173648 h 599360"/>
                <a:gd name="connsiteX118" fmla="*/ 631799 w 666772"/>
                <a:gd name="connsiteY118" fmla="*/ 189867 h 599360"/>
                <a:gd name="connsiteX119" fmla="*/ 644000 w 666772"/>
                <a:gd name="connsiteY119" fmla="*/ 200432 h 599360"/>
                <a:gd name="connsiteX120" fmla="*/ 632096 w 666772"/>
                <a:gd name="connsiteY120" fmla="*/ 211740 h 599360"/>
                <a:gd name="connsiteX121" fmla="*/ 568708 w 666772"/>
                <a:gd name="connsiteY121" fmla="*/ 234060 h 599360"/>
                <a:gd name="connsiteX122" fmla="*/ 451306 w 666772"/>
                <a:gd name="connsiteY122" fmla="*/ 251321 h 599360"/>
                <a:gd name="connsiteX123" fmla="*/ 366640 w 666772"/>
                <a:gd name="connsiteY123" fmla="*/ 254743 h 599360"/>
                <a:gd name="connsiteX124" fmla="*/ 316792 w 666772"/>
                <a:gd name="connsiteY124" fmla="*/ 253553 h 599360"/>
                <a:gd name="connsiteX125" fmla="*/ 141210 w 666772"/>
                <a:gd name="connsiteY125" fmla="*/ 227513 h 599360"/>
                <a:gd name="connsiteX126" fmla="*/ 99397 w 666772"/>
                <a:gd name="connsiteY126" fmla="*/ 210401 h 599360"/>
                <a:gd name="connsiteX127" fmla="*/ 89577 w 666772"/>
                <a:gd name="connsiteY127" fmla="*/ 201920 h 599360"/>
                <a:gd name="connsiteX128" fmla="*/ 90618 w 666772"/>
                <a:gd name="connsiteY128" fmla="*/ 200134 h 599360"/>
                <a:gd name="connsiteX129" fmla="*/ 118890 w 666772"/>
                <a:gd name="connsiteY129" fmla="*/ 205788 h 599360"/>
                <a:gd name="connsiteX130" fmla="*/ 220668 w 666772"/>
                <a:gd name="connsiteY130" fmla="*/ 218139 h 599360"/>
                <a:gd name="connsiteX131" fmla="*/ 306227 w 666772"/>
                <a:gd name="connsiteY131" fmla="*/ 221115 h 599360"/>
                <a:gd name="connsiteX132" fmla="*/ 611562 w 666772"/>
                <a:gd name="connsiteY132" fmla="*/ 300573 h 599360"/>
                <a:gd name="connsiteX133" fmla="*/ 611562 w 666772"/>
                <a:gd name="connsiteY133" fmla="*/ 283759 h 599360"/>
                <a:gd name="connsiteX134" fmla="*/ 611711 w 666772"/>
                <a:gd name="connsiteY134" fmla="*/ 251321 h 599360"/>
                <a:gd name="connsiteX135" fmla="*/ 614836 w 666772"/>
                <a:gd name="connsiteY135" fmla="*/ 245369 h 599360"/>
                <a:gd name="connsiteX136" fmla="*/ 644596 w 666772"/>
                <a:gd name="connsiteY136" fmla="*/ 232275 h 599360"/>
                <a:gd name="connsiteX137" fmla="*/ 644298 w 666772"/>
                <a:gd name="connsiteY137" fmla="*/ 275873 h 599360"/>
                <a:gd name="connsiteX138" fmla="*/ 638792 w 666772"/>
                <a:gd name="connsiteY138" fmla="*/ 284801 h 599360"/>
                <a:gd name="connsiteX139" fmla="*/ 611414 w 666772"/>
                <a:gd name="connsiteY139" fmla="*/ 300424 h 599360"/>
                <a:gd name="connsiteX140" fmla="*/ 122461 w 666772"/>
                <a:gd name="connsiteY140" fmla="*/ 298639 h 599360"/>
                <a:gd name="connsiteX141" fmla="*/ 91660 w 666772"/>
                <a:gd name="connsiteY141" fmla="*/ 280932 h 599360"/>
                <a:gd name="connsiteX142" fmla="*/ 89428 w 666772"/>
                <a:gd name="connsiteY142" fmla="*/ 276468 h 599360"/>
                <a:gd name="connsiteX143" fmla="*/ 89428 w 666772"/>
                <a:gd name="connsiteY143" fmla="*/ 232275 h 599360"/>
                <a:gd name="connsiteX144" fmla="*/ 120229 w 666772"/>
                <a:gd name="connsiteY144" fmla="*/ 245666 h 599360"/>
                <a:gd name="connsiteX145" fmla="*/ 122461 w 666772"/>
                <a:gd name="connsiteY145" fmla="*/ 248940 h 599360"/>
                <a:gd name="connsiteX146" fmla="*/ 122461 w 666772"/>
                <a:gd name="connsiteY146" fmla="*/ 298639 h 599360"/>
                <a:gd name="connsiteX147" fmla="*/ 177666 w 666772"/>
                <a:gd name="connsiteY147" fmla="*/ 314560 h 599360"/>
                <a:gd name="connsiteX148" fmla="*/ 144781 w 666772"/>
                <a:gd name="connsiteY148" fmla="*/ 306376 h 599360"/>
                <a:gd name="connsiteX149" fmla="*/ 144781 w 666772"/>
                <a:gd name="connsiteY149" fmla="*/ 253255 h 599360"/>
                <a:gd name="connsiteX150" fmla="*/ 174541 w 666772"/>
                <a:gd name="connsiteY150" fmla="*/ 260100 h 599360"/>
                <a:gd name="connsiteX151" fmla="*/ 177517 w 666772"/>
                <a:gd name="connsiteY151" fmla="*/ 263969 h 599360"/>
                <a:gd name="connsiteX152" fmla="*/ 177666 w 666772"/>
                <a:gd name="connsiteY152" fmla="*/ 314560 h 599360"/>
                <a:gd name="connsiteX153" fmla="*/ 556060 w 666772"/>
                <a:gd name="connsiteY153" fmla="*/ 314560 h 599360"/>
                <a:gd name="connsiteX154" fmla="*/ 556060 w 666772"/>
                <a:gd name="connsiteY154" fmla="*/ 263374 h 599360"/>
                <a:gd name="connsiteX155" fmla="*/ 558888 w 666772"/>
                <a:gd name="connsiteY155" fmla="*/ 260100 h 599360"/>
                <a:gd name="connsiteX156" fmla="*/ 588201 w 666772"/>
                <a:gd name="connsiteY156" fmla="*/ 253404 h 599360"/>
                <a:gd name="connsiteX157" fmla="*/ 588201 w 666772"/>
                <a:gd name="connsiteY157" fmla="*/ 306674 h 599360"/>
                <a:gd name="connsiteX158" fmla="*/ 555763 w 666772"/>
                <a:gd name="connsiteY158" fmla="*/ 314560 h 599360"/>
                <a:gd name="connsiteX159" fmla="*/ 500261 w 666772"/>
                <a:gd name="connsiteY159" fmla="*/ 323935 h 599360"/>
                <a:gd name="connsiteX160" fmla="*/ 500261 w 666772"/>
                <a:gd name="connsiteY160" fmla="*/ 269474 h 599360"/>
                <a:gd name="connsiteX161" fmla="*/ 532997 w 666772"/>
                <a:gd name="connsiteY161" fmla="*/ 264861 h 599360"/>
                <a:gd name="connsiteX162" fmla="*/ 532848 w 666772"/>
                <a:gd name="connsiteY162" fmla="*/ 315156 h 599360"/>
                <a:gd name="connsiteX163" fmla="*/ 529425 w 666772"/>
                <a:gd name="connsiteY163" fmla="*/ 319471 h 599360"/>
                <a:gd name="connsiteX164" fmla="*/ 500410 w 666772"/>
                <a:gd name="connsiteY164" fmla="*/ 323935 h 599360"/>
                <a:gd name="connsiteX165" fmla="*/ 232870 w 666772"/>
                <a:gd name="connsiteY165" fmla="*/ 323935 h 599360"/>
                <a:gd name="connsiteX166" fmla="*/ 204300 w 666772"/>
                <a:gd name="connsiteY166" fmla="*/ 319471 h 599360"/>
                <a:gd name="connsiteX167" fmla="*/ 200580 w 666772"/>
                <a:gd name="connsiteY167" fmla="*/ 316048 h 599360"/>
                <a:gd name="connsiteX168" fmla="*/ 200580 w 666772"/>
                <a:gd name="connsiteY168" fmla="*/ 264861 h 599360"/>
                <a:gd name="connsiteX169" fmla="*/ 233019 w 666772"/>
                <a:gd name="connsiteY169" fmla="*/ 269326 h 599360"/>
                <a:gd name="connsiteX170" fmla="*/ 233019 w 666772"/>
                <a:gd name="connsiteY170" fmla="*/ 323935 h 599360"/>
                <a:gd name="connsiteX171" fmla="*/ 288669 w 666772"/>
                <a:gd name="connsiteY171" fmla="*/ 329440 h 599360"/>
                <a:gd name="connsiteX172" fmla="*/ 256231 w 666772"/>
                <a:gd name="connsiteY172" fmla="*/ 326762 h 599360"/>
                <a:gd name="connsiteX173" fmla="*/ 256231 w 666772"/>
                <a:gd name="connsiteY173" fmla="*/ 271855 h 599360"/>
                <a:gd name="connsiteX174" fmla="*/ 288669 w 666772"/>
                <a:gd name="connsiteY174" fmla="*/ 274682 h 599360"/>
                <a:gd name="connsiteX175" fmla="*/ 288669 w 666772"/>
                <a:gd name="connsiteY175" fmla="*/ 329440 h 599360"/>
                <a:gd name="connsiteX176" fmla="*/ 445205 w 666772"/>
                <a:gd name="connsiteY176" fmla="*/ 329440 h 599360"/>
                <a:gd name="connsiteX177" fmla="*/ 445205 w 666772"/>
                <a:gd name="connsiteY177" fmla="*/ 274533 h 599360"/>
                <a:gd name="connsiteX178" fmla="*/ 477644 w 666772"/>
                <a:gd name="connsiteY178" fmla="*/ 271855 h 599360"/>
                <a:gd name="connsiteX179" fmla="*/ 477644 w 666772"/>
                <a:gd name="connsiteY179" fmla="*/ 326464 h 599360"/>
                <a:gd name="connsiteX180" fmla="*/ 445205 w 666772"/>
                <a:gd name="connsiteY180" fmla="*/ 329440 h 599360"/>
                <a:gd name="connsiteX181" fmla="*/ 311584 w 666772"/>
                <a:gd name="connsiteY181" fmla="*/ 276468 h 599360"/>
                <a:gd name="connsiteX182" fmla="*/ 355331 w 666772"/>
                <a:gd name="connsiteY182" fmla="*/ 276468 h 599360"/>
                <a:gd name="connsiteX183" fmla="*/ 355331 w 666772"/>
                <a:gd name="connsiteY183" fmla="*/ 330928 h 599360"/>
                <a:gd name="connsiteX184" fmla="*/ 311584 w 666772"/>
                <a:gd name="connsiteY184" fmla="*/ 330928 h 599360"/>
                <a:gd name="connsiteX185" fmla="*/ 311584 w 666772"/>
                <a:gd name="connsiteY185" fmla="*/ 276468 h 599360"/>
                <a:gd name="connsiteX186" fmla="*/ 378395 w 666772"/>
                <a:gd name="connsiteY186" fmla="*/ 276765 h 599360"/>
                <a:gd name="connsiteX187" fmla="*/ 421695 w 666772"/>
                <a:gd name="connsiteY187" fmla="*/ 276765 h 599360"/>
                <a:gd name="connsiteX188" fmla="*/ 421695 w 666772"/>
                <a:gd name="connsiteY188" fmla="*/ 330779 h 599360"/>
                <a:gd name="connsiteX189" fmla="*/ 378395 w 666772"/>
                <a:gd name="connsiteY189" fmla="*/ 330779 h 599360"/>
                <a:gd name="connsiteX190" fmla="*/ 378395 w 666772"/>
                <a:gd name="connsiteY190" fmla="*/ 276765 h 599360"/>
                <a:gd name="connsiteX191" fmla="*/ 298341 w 666772"/>
                <a:gd name="connsiteY191" fmla="*/ 376609 h 599360"/>
                <a:gd name="connsiteX192" fmla="*/ 231084 w 666772"/>
                <a:gd name="connsiteY192" fmla="*/ 374526 h 599360"/>
                <a:gd name="connsiteX193" fmla="*/ 62644 w 666772"/>
                <a:gd name="connsiteY193" fmla="*/ 345808 h 599360"/>
                <a:gd name="connsiteX194" fmla="*/ 30355 w 666772"/>
                <a:gd name="connsiteY194" fmla="*/ 330928 h 599360"/>
                <a:gd name="connsiteX195" fmla="*/ 30504 w 666772"/>
                <a:gd name="connsiteY195" fmla="*/ 314709 h 599360"/>
                <a:gd name="connsiteX196" fmla="*/ 73953 w 666772"/>
                <a:gd name="connsiteY196" fmla="*/ 298044 h 599360"/>
                <a:gd name="connsiteX197" fmla="*/ 77970 w 666772"/>
                <a:gd name="connsiteY197" fmla="*/ 299234 h 599360"/>
                <a:gd name="connsiteX198" fmla="*/ 146567 w 666772"/>
                <a:gd name="connsiteY198" fmla="*/ 330184 h 599360"/>
                <a:gd name="connsiteX199" fmla="*/ 251321 w 666772"/>
                <a:gd name="connsiteY199" fmla="*/ 348635 h 599360"/>
                <a:gd name="connsiteX200" fmla="*/ 364854 w 666772"/>
                <a:gd name="connsiteY200" fmla="*/ 354885 h 599360"/>
                <a:gd name="connsiteX201" fmla="*/ 387769 w 666772"/>
                <a:gd name="connsiteY201" fmla="*/ 354587 h 599360"/>
                <a:gd name="connsiteX202" fmla="*/ 551894 w 666772"/>
                <a:gd name="connsiteY202" fmla="*/ 338368 h 599360"/>
                <a:gd name="connsiteX203" fmla="*/ 555019 w 666772"/>
                <a:gd name="connsiteY203" fmla="*/ 338368 h 599360"/>
                <a:gd name="connsiteX204" fmla="*/ 555465 w 666772"/>
                <a:gd name="connsiteY204" fmla="*/ 340749 h 599360"/>
                <a:gd name="connsiteX205" fmla="*/ 495053 w 666772"/>
                <a:gd name="connsiteY205" fmla="*/ 357563 h 599360"/>
                <a:gd name="connsiteX206" fmla="*/ 362473 w 666772"/>
                <a:gd name="connsiteY206" fmla="*/ 374824 h 599360"/>
                <a:gd name="connsiteX207" fmla="*/ 298490 w 666772"/>
                <a:gd name="connsiteY207" fmla="*/ 376609 h 599360"/>
                <a:gd name="connsiteX208" fmla="*/ 55502 w 666772"/>
                <a:gd name="connsiteY208" fmla="*/ 420654 h 599360"/>
                <a:gd name="connsiteX209" fmla="*/ 24552 w 666772"/>
                <a:gd name="connsiteY209" fmla="*/ 403244 h 599360"/>
                <a:gd name="connsiteX210" fmla="*/ 22469 w 666772"/>
                <a:gd name="connsiteY210" fmla="*/ 397292 h 599360"/>
                <a:gd name="connsiteX211" fmla="*/ 22469 w 666772"/>
                <a:gd name="connsiteY211" fmla="*/ 354141 h 599360"/>
                <a:gd name="connsiteX212" fmla="*/ 52675 w 666772"/>
                <a:gd name="connsiteY212" fmla="*/ 367235 h 599360"/>
                <a:gd name="connsiteX213" fmla="*/ 55353 w 666772"/>
                <a:gd name="connsiteY213" fmla="*/ 370955 h 599360"/>
                <a:gd name="connsiteX214" fmla="*/ 55353 w 666772"/>
                <a:gd name="connsiteY214" fmla="*/ 420654 h 599360"/>
                <a:gd name="connsiteX215" fmla="*/ 544454 w 666772"/>
                <a:gd name="connsiteY215" fmla="*/ 420803 h 599360"/>
                <a:gd name="connsiteX216" fmla="*/ 544603 w 666772"/>
                <a:gd name="connsiteY216" fmla="*/ 370657 h 599360"/>
                <a:gd name="connsiteX217" fmla="*/ 548174 w 666772"/>
                <a:gd name="connsiteY217" fmla="*/ 366937 h 599360"/>
                <a:gd name="connsiteX218" fmla="*/ 577487 w 666772"/>
                <a:gd name="connsiteY218" fmla="*/ 354141 h 599360"/>
                <a:gd name="connsiteX219" fmla="*/ 577487 w 666772"/>
                <a:gd name="connsiteY219" fmla="*/ 398483 h 599360"/>
                <a:gd name="connsiteX220" fmla="*/ 575404 w 666772"/>
                <a:gd name="connsiteY220" fmla="*/ 403095 h 599360"/>
                <a:gd name="connsiteX221" fmla="*/ 544454 w 666772"/>
                <a:gd name="connsiteY221" fmla="*/ 420803 h 599360"/>
                <a:gd name="connsiteX222" fmla="*/ 489547 w 666772"/>
                <a:gd name="connsiteY222" fmla="*/ 436575 h 599360"/>
                <a:gd name="connsiteX223" fmla="*/ 489547 w 666772"/>
                <a:gd name="connsiteY223" fmla="*/ 382859 h 599360"/>
                <a:gd name="connsiteX224" fmla="*/ 521837 w 666772"/>
                <a:gd name="connsiteY224" fmla="*/ 375419 h 599360"/>
                <a:gd name="connsiteX225" fmla="*/ 521837 w 666772"/>
                <a:gd name="connsiteY225" fmla="*/ 428689 h 599360"/>
                <a:gd name="connsiteX226" fmla="*/ 489547 w 666772"/>
                <a:gd name="connsiteY226" fmla="*/ 436575 h 599360"/>
                <a:gd name="connsiteX227" fmla="*/ 110557 w 666772"/>
                <a:gd name="connsiteY227" fmla="*/ 436575 h 599360"/>
                <a:gd name="connsiteX228" fmla="*/ 78417 w 666772"/>
                <a:gd name="connsiteY228" fmla="*/ 428689 h 599360"/>
                <a:gd name="connsiteX229" fmla="*/ 78417 w 666772"/>
                <a:gd name="connsiteY229" fmla="*/ 375419 h 599360"/>
                <a:gd name="connsiteX230" fmla="*/ 110557 w 666772"/>
                <a:gd name="connsiteY230" fmla="*/ 382710 h 599360"/>
                <a:gd name="connsiteX231" fmla="*/ 110557 w 666772"/>
                <a:gd name="connsiteY231" fmla="*/ 436575 h 599360"/>
                <a:gd name="connsiteX232" fmla="*/ 166357 w 666772"/>
                <a:gd name="connsiteY232" fmla="*/ 445950 h 599360"/>
                <a:gd name="connsiteX233" fmla="*/ 138085 w 666772"/>
                <a:gd name="connsiteY233" fmla="*/ 441486 h 599360"/>
                <a:gd name="connsiteX234" fmla="*/ 133919 w 666772"/>
                <a:gd name="connsiteY234" fmla="*/ 437170 h 599360"/>
                <a:gd name="connsiteX235" fmla="*/ 133770 w 666772"/>
                <a:gd name="connsiteY235" fmla="*/ 386728 h 599360"/>
                <a:gd name="connsiteX236" fmla="*/ 166357 w 666772"/>
                <a:gd name="connsiteY236" fmla="*/ 391340 h 599360"/>
                <a:gd name="connsiteX237" fmla="*/ 166357 w 666772"/>
                <a:gd name="connsiteY237" fmla="*/ 445801 h 599360"/>
                <a:gd name="connsiteX238" fmla="*/ 433897 w 666772"/>
                <a:gd name="connsiteY238" fmla="*/ 445801 h 599360"/>
                <a:gd name="connsiteX239" fmla="*/ 433897 w 666772"/>
                <a:gd name="connsiteY239" fmla="*/ 391192 h 599360"/>
                <a:gd name="connsiteX240" fmla="*/ 466037 w 666772"/>
                <a:gd name="connsiteY240" fmla="*/ 386728 h 599360"/>
                <a:gd name="connsiteX241" fmla="*/ 466037 w 666772"/>
                <a:gd name="connsiteY241" fmla="*/ 440741 h 599360"/>
                <a:gd name="connsiteX242" fmla="*/ 433897 w 666772"/>
                <a:gd name="connsiteY242" fmla="*/ 445801 h 599360"/>
                <a:gd name="connsiteX243" fmla="*/ 221710 w 666772"/>
                <a:gd name="connsiteY243" fmla="*/ 451157 h 599360"/>
                <a:gd name="connsiteX244" fmla="*/ 189420 w 666772"/>
                <a:gd name="connsiteY244" fmla="*/ 448330 h 599360"/>
                <a:gd name="connsiteX245" fmla="*/ 189420 w 666772"/>
                <a:gd name="connsiteY245" fmla="*/ 393572 h 599360"/>
                <a:gd name="connsiteX246" fmla="*/ 221710 w 666772"/>
                <a:gd name="connsiteY246" fmla="*/ 396400 h 599360"/>
                <a:gd name="connsiteX247" fmla="*/ 221710 w 666772"/>
                <a:gd name="connsiteY247" fmla="*/ 451157 h 599360"/>
                <a:gd name="connsiteX248" fmla="*/ 378097 w 666772"/>
                <a:gd name="connsiteY248" fmla="*/ 451157 h 599360"/>
                <a:gd name="connsiteX249" fmla="*/ 378097 w 666772"/>
                <a:gd name="connsiteY249" fmla="*/ 396251 h 599360"/>
                <a:gd name="connsiteX250" fmla="*/ 410535 w 666772"/>
                <a:gd name="connsiteY250" fmla="*/ 393423 h 599360"/>
                <a:gd name="connsiteX251" fmla="*/ 410535 w 666772"/>
                <a:gd name="connsiteY251" fmla="*/ 448181 h 599360"/>
                <a:gd name="connsiteX252" fmla="*/ 378097 w 666772"/>
                <a:gd name="connsiteY252" fmla="*/ 451009 h 599360"/>
                <a:gd name="connsiteX253" fmla="*/ 244922 w 666772"/>
                <a:gd name="connsiteY253" fmla="*/ 398036 h 599360"/>
                <a:gd name="connsiteX254" fmla="*/ 288223 w 666772"/>
                <a:gd name="connsiteY254" fmla="*/ 398036 h 599360"/>
                <a:gd name="connsiteX255" fmla="*/ 288223 w 666772"/>
                <a:gd name="connsiteY255" fmla="*/ 452497 h 599360"/>
                <a:gd name="connsiteX256" fmla="*/ 244922 w 666772"/>
                <a:gd name="connsiteY256" fmla="*/ 452497 h 599360"/>
                <a:gd name="connsiteX257" fmla="*/ 244922 w 666772"/>
                <a:gd name="connsiteY257" fmla="*/ 398036 h 599360"/>
                <a:gd name="connsiteX258" fmla="*/ 311584 w 666772"/>
                <a:gd name="connsiteY258" fmla="*/ 398334 h 599360"/>
                <a:gd name="connsiteX259" fmla="*/ 355033 w 666772"/>
                <a:gd name="connsiteY259" fmla="*/ 398334 h 599360"/>
                <a:gd name="connsiteX260" fmla="*/ 355033 w 666772"/>
                <a:gd name="connsiteY260" fmla="*/ 452497 h 599360"/>
                <a:gd name="connsiteX261" fmla="*/ 311584 w 666772"/>
                <a:gd name="connsiteY261" fmla="*/ 452497 h 599360"/>
                <a:gd name="connsiteX262" fmla="*/ 311584 w 666772"/>
                <a:gd name="connsiteY262" fmla="*/ 398334 h 599360"/>
                <a:gd name="connsiteX263" fmla="*/ 311584 w 666772"/>
                <a:gd name="connsiteY263" fmla="*/ 475858 h 599360"/>
                <a:gd name="connsiteX264" fmla="*/ 315899 w 666772"/>
                <a:gd name="connsiteY264" fmla="*/ 475858 h 599360"/>
                <a:gd name="connsiteX265" fmla="*/ 503535 w 666772"/>
                <a:gd name="connsiteY265" fmla="*/ 455770 h 599360"/>
                <a:gd name="connsiteX266" fmla="*/ 579422 w 666772"/>
                <a:gd name="connsiteY266" fmla="*/ 428094 h 599360"/>
                <a:gd name="connsiteX267" fmla="*/ 584630 w 666772"/>
                <a:gd name="connsiteY267" fmla="*/ 427350 h 599360"/>
                <a:gd name="connsiteX268" fmla="*/ 605908 w 666772"/>
                <a:gd name="connsiteY268" fmla="*/ 438212 h 599360"/>
                <a:gd name="connsiteX269" fmla="*/ 606354 w 666772"/>
                <a:gd name="connsiteY269" fmla="*/ 449669 h 599360"/>
                <a:gd name="connsiteX270" fmla="*/ 577785 w 666772"/>
                <a:gd name="connsiteY270" fmla="*/ 464698 h 599360"/>
                <a:gd name="connsiteX271" fmla="*/ 494309 w 666772"/>
                <a:gd name="connsiteY271" fmla="*/ 485679 h 599360"/>
                <a:gd name="connsiteX272" fmla="*/ 336880 w 666772"/>
                <a:gd name="connsiteY272" fmla="*/ 498029 h 599360"/>
                <a:gd name="connsiteX273" fmla="*/ 291943 w 666772"/>
                <a:gd name="connsiteY273" fmla="*/ 497285 h 599360"/>
                <a:gd name="connsiteX274" fmla="*/ 104754 w 666772"/>
                <a:gd name="connsiteY274" fmla="*/ 470204 h 599360"/>
                <a:gd name="connsiteX275" fmla="*/ 66513 w 666772"/>
                <a:gd name="connsiteY275" fmla="*/ 454431 h 599360"/>
                <a:gd name="connsiteX276" fmla="*/ 56692 w 666772"/>
                <a:gd name="connsiteY276" fmla="*/ 446842 h 599360"/>
                <a:gd name="connsiteX277" fmla="*/ 57585 w 666772"/>
                <a:gd name="connsiteY277" fmla="*/ 445652 h 599360"/>
                <a:gd name="connsiteX278" fmla="*/ 95677 w 666772"/>
                <a:gd name="connsiteY278" fmla="*/ 455770 h 599360"/>
                <a:gd name="connsiteX279" fmla="*/ 200878 w 666772"/>
                <a:gd name="connsiteY279" fmla="*/ 471543 h 599360"/>
                <a:gd name="connsiteX280" fmla="*/ 311584 w 666772"/>
                <a:gd name="connsiteY280" fmla="*/ 476007 h 599360"/>
                <a:gd name="connsiteX281" fmla="*/ 88684 w 666772"/>
                <a:gd name="connsiteY281" fmla="*/ 542520 h 599360"/>
                <a:gd name="connsiteX282" fmla="*/ 59668 w 666772"/>
                <a:gd name="connsiteY282" fmla="*/ 526896 h 599360"/>
                <a:gd name="connsiteX283" fmla="*/ 56097 w 666772"/>
                <a:gd name="connsiteY283" fmla="*/ 519754 h 599360"/>
                <a:gd name="connsiteX284" fmla="*/ 55948 w 666772"/>
                <a:gd name="connsiteY284" fmla="*/ 476007 h 599360"/>
                <a:gd name="connsiteX285" fmla="*/ 85708 w 666772"/>
                <a:gd name="connsiteY285" fmla="*/ 488803 h 599360"/>
                <a:gd name="connsiteX286" fmla="*/ 88535 w 666772"/>
                <a:gd name="connsiteY286" fmla="*/ 492375 h 599360"/>
                <a:gd name="connsiteX287" fmla="*/ 88535 w 666772"/>
                <a:gd name="connsiteY287" fmla="*/ 542520 h 599360"/>
                <a:gd name="connsiteX288" fmla="*/ 577934 w 666772"/>
                <a:gd name="connsiteY288" fmla="*/ 544008 h 599360"/>
                <a:gd name="connsiteX289" fmla="*/ 577934 w 666772"/>
                <a:gd name="connsiteY289" fmla="*/ 492970 h 599360"/>
                <a:gd name="connsiteX290" fmla="*/ 580463 w 666772"/>
                <a:gd name="connsiteY290" fmla="*/ 489250 h 599360"/>
                <a:gd name="connsiteX291" fmla="*/ 610521 w 666772"/>
                <a:gd name="connsiteY291" fmla="*/ 476156 h 599360"/>
                <a:gd name="connsiteX292" fmla="*/ 610223 w 666772"/>
                <a:gd name="connsiteY292" fmla="*/ 521390 h 599360"/>
                <a:gd name="connsiteX293" fmla="*/ 604717 w 666772"/>
                <a:gd name="connsiteY293" fmla="*/ 528830 h 599360"/>
                <a:gd name="connsiteX294" fmla="*/ 577785 w 666772"/>
                <a:gd name="connsiteY294" fmla="*/ 544008 h 599360"/>
                <a:gd name="connsiteX295" fmla="*/ 522283 w 666772"/>
                <a:gd name="connsiteY295" fmla="*/ 558441 h 599360"/>
                <a:gd name="connsiteX296" fmla="*/ 522283 w 666772"/>
                <a:gd name="connsiteY296" fmla="*/ 504725 h 599360"/>
                <a:gd name="connsiteX297" fmla="*/ 555019 w 666772"/>
                <a:gd name="connsiteY297" fmla="*/ 497285 h 599360"/>
                <a:gd name="connsiteX298" fmla="*/ 555019 w 666772"/>
                <a:gd name="connsiteY298" fmla="*/ 547430 h 599360"/>
                <a:gd name="connsiteX299" fmla="*/ 552340 w 666772"/>
                <a:gd name="connsiteY299" fmla="*/ 551001 h 599360"/>
                <a:gd name="connsiteX300" fmla="*/ 522432 w 666772"/>
                <a:gd name="connsiteY300" fmla="*/ 558590 h 599360"/>
                <a:gd name="connsiteX301" fmla="*/ 144186 w 666772"/>
                <a:gd name="connsiteY301" fmla="*/ 558590 h 599360"/>
                <a:gd name="connsiteX302" fmla="*/ 114277 w 666772"/>
                <a:gd name="connsiteY302" fmla="*/ 551001 h 599360"/>
                <a:gd name="connsiteX303" fmla="*/ 111450 w 666772"/>
                <a:gd name="connsiteY303" fmla="*/ 547430 h 599360"/>
                <a:gd name="connsiteX304" fmla="*/ 111450 w 666772"/>
                <a:gd name="connsiteY304" fmla="*/ 497285 h 599360"/>
                <a:gd name="connsiteX305" fmla="*/ 144334 w 666772"/>
                <a:gd name="connsiteY305" fmla="*/ 504725 h 599360"/>
                <a:gd name="connsiteX306" fmla="*/ 144334 w 666772"/>
                <a:gd name="connsiteY306" fmla="*/ 558590 h 599360"/>
                <a:gd name="connsiteX307" fmla="*/ 467674 w 666772"/>
                <a:gd name="connsiteY307" fmla="*/ 567816 h 599360"/>
                <a:gd name="connsiteX308" fmla="*/ 467674 w 666772"/>
                <a:gd name="connsiteY308" fmla="*/ 513355 h 599360"/>
                <a:gd name="connsiteX309" fmla="*/ 499666 w 666772"/>
                <a:gd name="connsiteY309" fmla="*/ 508742 h 599360"/>
                <a:gd name="connsiteX310" fmla="*/ 499666 w 666772"/>
                <a:gd name="connsiteY310" fmla="*/ 562905 h 599360"/>
                <a:gd name="connsiteX311" fmla="*/ 467674 w 666772"/>
                <a:gd name="connsiteY311" fmla="*/ 567816 h 599360"/>
                <a:gd name="connsiteX312" fmla="*/ 199539 w 666772"/>
                <a:gd name="connsiteY312" fmla="*/ 567816 h 599360"/>
                <a:gd name="connsiteX313" fmla="*/ 167101 w 666772"/>
                <a:gd name="connsiteY313" fmla="*/ 562905 h 599360"/>
                <a:gd name="connsiteX314" fmla="*/ 167101 w 666772"/>
                <a:gd name="connsiteY314" fmla="*/ 508891 h 599360"/>
                <a:gd name="connsiteX315" fmla="*/ 199539 w 666772"/>
                <a:gd name="connsiteY315" fmla="*/ 513355 h 599360"/>
                <a:gd name="connsiteX316" fmla="*/ 199539 w 666772"/>
                <a:gd name="connsiteY316" fmla="*/ 567816 h 599360"/>
                <a:gd name="connsiteX317" fmla="*/ 412023 w 666772"/>
                <a:gd name="connsiteY317" fmla="*/ 573470 h 599360"/>
                <a:gd name="connsiteX318" fmla="*/ 412023 w 666772"/>
                <a:gd name="connsiteY318" fmla="*/ 518563 h 599360"/>
                <a:gd name="connsiteX319" fmla="*/ 443866 w 666772"/>
                <a:gd name="connsiteY319" fmla="*/ 515885 h 599360"/>
                <a:gd name="connsiteX320" fmla="*/ 443866 w 666772"/>
                <a:gd name="connsiteY320" fmla="*/ 570643 h 599360"/>
                <a:gd name="connsiteX321" fmla="*/ 412023 w 666772"/>
                <a:gd name="connsiteY321" fmla="*/ 573470 h 599360"/>
                <a:gd name="connsiteX322" fmla="*/ 255041 w 666772"/>
                <a:gd name="connsiteY322" fmla="*/ 573470 h 599360"/>
                <a:gd name="connsiteX323" fmla="*/ 223049 w 666772"/>
                <a:gd name="connsiteY323" fmla="*/ 570494 h 599360"/>
                <a:gd name="connsiteX324" fmla="*/ 223049 w 666772"/>
                <a:gd name="connsiteY324" fmla="*/ 515885 h 599360"/>
                <a:gd name="connsiteX325" fmla="*/ 255041 w 666772"/>
                <a:gd name="connsiteY325" fmla="*/ 518414 h 599360"/>
                <a:gd name="connsiteX326" fmla="*/ 255041 w 666772"/>
                <a:gd name="connsiteY326" fmla="*/ 573470 h 599360"/>
                <a:gd name="connsiteX327" fmla="*/ 278402 w 666772"/>
                <a:gd name="connsiteY327" fmla="*/ 520646 h 599360"/>
                <a:gd name="connsiteX328" fmla="*/ 321554 w 666772"/>
                <a:gd name="connsiteY328" fmla="*/ 520646 h 599360"/>
                <a:gd name="connsiteX329" fmla="*/ 321554 w 666772"/>
                <a:gd name="connsiteY329" fmla="*/ 575107 h 599360"/>
                <a:gd name="connsiteX330" fmla="*/ 278402 w 666772"/>
                <a:gd name="connsiteY330" fmla="*/ 575107 h 599360"/>
                <a:gd name="connsiteX331" fmla="*/ 278402 w 666772"/>
                <a:gd name="connsiteY331" fmla="*/ 520646 h 599360"/>
                <a:gd name="connsiteX332" fmla="*/ 345213 w 666772"/>
                <a:gd name="connsiteY332" fmla="*/ 520646 h 599360"/>
                <a:gd name="connsiteX333" fmla="*/ 388365 w 666772"/>
                <a:gd name="connsiteY333" fmla="*/ 520646 h 599360"/>
                <a:gd name="connsiteX334" fmla="*/ 388365 w 666772"/>
                <a:gd name="connsiteY334" fmla="*/ 574958 h 599360"/>
                <a:gd name="connsiteX335" fmla="*/ 345213 w 666772"/>
                <a:gd name="connsiteY335" fmla="*/ 574958 h 599360"/>
                <a:gd name="connsiteX336" fmla="*/ 345213 w 666772"/>
                <a:gd name="connsiteY336" fmla="*/ 520646 h 59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</a:cxnLst>
              <a:rect l="l" t="t" r="r" b="b"/>
              <a:pathLst>
                <a:path w="666772" h="599360">
                  <a:moveTo>
                    <a:pt x="298341" y="0"/>
                  </a:moveTo>
                  <a:cubicBezTo>
                    <a:pt x="257421" y="0"/>
                    <a:pt x="216502" y="2381"/>
                    <a:pt x="175582" y="5505"/>
                  </a:cubicBezTo>
                  <a:cubicBezTo>
                    <a:pt x="143740" y="8035"/>
                    <a:pt x="112045" y="13392"/>
                    <a:pt x="80500" y="18600"/>
                  </a:cubicBezTo>
                  <a:cubicBezTo>
                    <a:pt x="60859" y="21873"/>
                    <a:pt x="41812" y="27974"/>
                    <a:pt x="24105" y="37348"/>
                  </a:cubicBezTo>
                  <a:cubicBezTo>
                    <a:pt x="13243" y="43152"/>
                    <a:pt x="4315" y="50592"/>
                    <a:pt x="149" y="62495"/>
                  </a:cubicBezTo>
                  <a:lnTo>
                    <a:pt x="149" y="149691"/>
                  </a:lnTo>
                  <a:cubicBezTo>
                    <a:pt x="5505" y="163381"/>
                    <a:pt x="16219" y="172011"/>
                    <a:pt x="28867" y="178261"/>
                  </a:cubicBezTo>
                  <a:cubicBezTo>
                    <a:pt x="41217" y="184213"/>
                    <a:pt x="54163" y="189272"/>
                    <a:pt x="66810" y="194629"/>
                  </a:cubicBezTo>
                  <a:lnTo>
                    <a:pt x="66810" y="276170"/>
                  </a:lnTo>
                  <a:cubicBezTo>
                    <a:pt x="55502" y="280188"/>
                    <a:pt x="44491" y="283313"/>
                    <a:pt x="34075" y="287925"/>
                  </a:cubicBezTo>
                  <a:cubicBezTo>
                    <a:pt x="25742" y="291645"/>
                    <a:pt x="17558" y="296556"/>
                    <a:pt x="10416" y="302359"/>
                  </a:cubicBezTo>
                  <a:cubicBezTo>
                    <a:pt x="5803" y="306079"/>
                    <a:pt x="3422" y="312477"/>
                    <a:pt x="0" y="317685"/>
                  </a:cubicBezTo>
                  <a:lnTo>
                    <a:pt x="0" y="406220"/>
                  </a:lnTo>
                  <a:cubicBezTo>
                    <a:pt x="6398" y="419761"/>
                    <a:pt x="17558" y="428391"/>
                    <a:pt x="30504" y="434790"/>
                  </a:cubicBezTo>
                  <a:cubicBezTo>
                    <a:pt x="33628" y="436278"/>
                    <a:pt x="33926" y="438212"/>
                    <a:pt x="33926" y="441337"/>
                  </a:cubicBezTo>
                  <a:cubicBezTo>
                    <a:pt x="33480" y="468418"/>
                    <a:pt x="33182" y="495499"/>
                    <a:pt x="33331" y="522581"/>
                  </a:cubicBezTo>
                  <a:cubicBezTo>
                    <a:pt x="33331" y="534038"/>
                    <a:pt x="40920" y="541627"/>
                    <a:pt x="49401" y="548025"/>
                  </a:cubicBezTo>
                  <a:cubicBezTo>
                    <a:pt x="64579" y="559483"/>
                    <a:pt x="81988" y="565881"/>
                    <a:pt x="99844" y="571238"/>
                  </a:cubicBezTo>
                  <a:cubicBezTo>
                    <a:pt x="140168" y="583291"/>
                    <a:pt x="181683" y="589540"/>
                    <a:pt x="223495" y="593707"/>
                  </a:cubicBezTo>
                  <a:cubicBezTo>
                    <a:pt x="259802" y="597427"/>
                    <a:pt x="295960" y="599361"/>
                    <a:pt x="332416" y="599361"/>
                  </a:cubicBezTo>
                  <a:cubicBezTo>
                    <a:pt x="344618" y="599361"/>
                    <a:pt x="356819" y="599063"/>
                    <a:pt x="369020" y="598617"/>
                  </a:cubicBezTo>
                  <a:cubicBezTo>
                    <a:pt x="435533" y="596087"/>
                    <a:pt x="501749" y="590284"/>
                    <a:pt x="566030" y="571089"/>
                  </a:cubicBezTo>
                  <a:cubicBezTo>
                    <a:pt x="581803" y="566328"/>
                    <a:pt x="597129" y="559036"/>
                    <a:pt x="611711" y="551448"/>
                  </a:cubicBezTo>
                  <a:cubicBezTo>
                    <a:pt x="627037" y="543413"/>
                    <a:pt x="634626" y="530318"/>
                    <a:pt x="633733" y="512016"/>
                  </a:cubicBezTo>
                  <a:cubicBezTo>
                    <a:pt x="632692" y="492523"/>
                    <a:pt x="632841" y="473031"/>
                    <a:pt x="633733" y="453538"/>
                  </a:cubicBezTo>
                  <a:cubicBezTo>
                    <a:pt x="634477" y="436426"/>
                    <a:pt x="627037" y="424969"/>
                    <a:pt x="612902" y="416934"/>
                  </a:cubicBezTo>
                  <a:cubicBezTo>
                    <a:pt x="608437" y="414404"/>
                    <a:pt x="603825" y="412023"/>
                    <a:pt x="599658" y="409940"/>
                  </a:cubicBezTo>
                  <a:lnTo>
                    <a:pt x="599658" y="327952"/>
                  </a:lnTo>
                  <a:cubicBezTo>
                    <a:pt x="610818" y="323488"/>
                    <a:pt x="621383" y="320066"/>
                    <a:pt x="631204" y="315007"/>
                  </a:cubicBezTo>
                  <a:cubicBezTo>
                    <a:pt x="640280" y="310245"/>
                    <a:pt x="649060" y="304293"/>
                    <a:pt x="657095" y="297895"/>
                  </a:cubicBezTo>
                  <a:cubicBezTo>
                    <a:pt x="664088" y="292241"/>
                    <a:pt x="666916" y="284205"/>
                    <a:pt x="666767" y="274831"/>
                  </a:cubicBezTo>
                  <a:cubicBezTo>
                    <a:pt x="666469" y="251172"/>
                    <a:pt x="666469" y="227513"/>
                    <a:pt x="666767" y="203854"/>
                  </a:cubicBezTo>
                  <a:cubicBezTo>
                    <a:pt x="666916" y="193141"/>
                    <a:pt x="662451" y="185105"/>
                    <a:pt x="654565" y="178558"/>
                  </a:cubicBezTo>
                  <a:cubicBezTo>
                    <a:pt x="640429" y="166952"/>
                    <a:pt x="623466" y="161893"/>
                    <a:pt x="606503" y="156685"/>
                  </a:cubicBezTo>
                  <a:cubicBezTo>
                    <a:pt x="603974" y="155941"/>
                    <a:pt x="601593" y="155346"/>
                    <a:pt x="600254" y="155048"/>
                  </a:cubicBezTo>
                  <a:cubicBezTo>
                    <a:pt x="600254" y="127074"/>
                    <a:pt x="600105" y="99546"/>
                    <a:pt x="600254" y="72167"/>
                  </a:cubicBezTo>
                  <a:cubicBezTo>
                    <a:pt x="600254" y="61007"/>
                    <a:pt x="596236" y="52377"/>
                    <a:pt x="587755" y="45532"/>
                  </a:cubicBezTo>
                  <a:cubicBezTo>
                    <a:pt x="573916" y="34372"/>
                    <a:pt x="557548" y="28718"/>
                    <a:pt x="540883" y="23957"/>
                  </a:cubicBezTo>
                  <a:cubicBezTo>
                    <a:pt x="508445" y="14731"/>
                    <a:pt x="475411" y="9374"/>
                    <a:pt x="441932" y="6994"/>
                  </a:cubicBezTo>
                  <a:cubicBezTo>
                    <a:pt x="396548" y="3869"/>
                    <a:pt x="351016" y="446"/>
                    <a:pt x="305632" y="149"/>
                  </a:cubicBezTo>
                  <a:cubicBezTo>
                    <a:pt x="303252" y="149"/>
                    <a:pt x="300871" y="149"/>
                    <a:pt x="298490" y="149"/>
                  </a:cubicBezTo>
                  <a:moveTo>
                    <a:pt x="303252" y="121866"/>
                  </a:moveTo>
                  <a:cubicBezTo>
                    <a:pt x="290157" y="121866"/>
                    <a:pt x="276914" y="121717"/>
                    <a:pt x="263820" y="121271"/>
                  </a:cubicBezTo>
                  <a:cubicBezTo>
                    <a:pt x="200283" y="119336"/>
                    <a:pt x="137192" y="113087"/>
                    <a:pt x="75887" y="95082"/>
                  </a:cubicBezTo>
                  <a:cubicBezTo>
                    <a:pt x="60859" y="90618"/>
                    <a:pt x="46276" y="84220"/>
                    <a:pt x="32289" y="77078"/>
                  </a:cubicBezTo>
                  <a:cubicBezTo>
                    <a:pt x="19641" y="70531"/>
                    <a:pt x="20088" y="64430"/>
                    <a:pt x="32587" y="57734"/>
                  </a:cubicBezTo>
                  <a:cubicBezTo>
                    <a:pt x="50740" y="48062"/>
                    <a:pt x="70530" y="43449"/>
                    <a:pt x="90469" y="39432"/>
                  </a:cubicBezTo>
                  <a:cubicBezTo>
                    <a:pt x="130496" y="31248"/>
                    <a:pt x="170821" y="26933"/>
                    <a:pt x="211592" y="24998"/>
                  </a:cubicBezTo>
                  <a:cubicBezTo>
                    <a:pt x="241054" y="23659"/>
                    <a:pt x="270516" y="22766"/>
                    <a:pt x="310989" y="21278"/>
                  </a:cubicBezTo>
                  <a:cubicBezTo>
                    <a:pt x="347593" y="23510"/>
                    <a:pt x="395358" y="25296"/>
                    <a:pt x="442824" y="29462"/>
                  </a:cubicBezTo>
                  <a:cubicBezTo>
                    <a:pt x="481364" y="32884"/>
                    <a:pt x="519754" y="38688"/>
                    <a:pt x="556358" y="52526"/>
                  </a:cubicBezTo>
                  <a:cubicBezTo>
                    <a:pt x="561566" y="54460"/>
                    <a:pt x="566625" y="57139"/>
                    <a:pt x="571387" y="60115"/>
                  </a:cubicBezTo>
                  <a:cubicBezTo>
                    <a:pt x="579124" y="65025"/>
                    <a:pt x="579422" y="69340"/>
                    <a:pt x="571982" y="74548"/>
                  </a:cubicBezTo>
                  <a:cubicBezTo>
                    <a:pt x="566179" y="78714"/>
                    <a:pt x="559929" y="82286"/>
                    <a:pt x="553382" y="85113"/>
                  </a:cubicBezTo>
                  <a:cubicBezTo>
                    <a:pt x="525854" y="97017"/>
                    <a:pt x="496541" y="103266"/>
                    <a:pt x="467228" y="108474"/>
                  </a:cubicBezTo>
                  <a:cubicBezTo>
                    <a:pt x="412916" y="118146"/>
                    <a:pt x="358158" y="121866"/>
                    <a:pt x="303252" y="121866"/>
                  </a:cubicBezTo>
                  <a:moveTo>
                    <a:pt x="55502" y="167547"/>
                  </a:moveTo>
                  <a:cubicBezTo>
                    <a:pt x="45383" y="161893"/>
                    <a:pt x="36902" y="157578"/>
                    <a:pt x="28569" y="152667"/>
                  </a:cubicBezTo>
                  <a:cubicBezTo>
                    <a:pt x="23956" y="149989"/>
                    <a:pt x="22171" y="145525"/>
                    <a:pt x="22320" y="140019"/>
                  </a:cubicBezTo>
                  <a:cubicBezTo>
                    <a:pt x="22617" y="126628"/>
                    <a:pt x="22320" y="113236"/>
                    <a:pt x="22320" y="99546"/>
                  </a:cubicBezTo>
                  <a:cubicBezTo>
                    <a:pt x="33033" y="104159"/>
                    <a:pt x="43300" y="108474"/>
                    <a:pt x="53419" y="113087"/>
                  </a:cubicBezTo>
                  <a:lnTo>
                    <a:pt x="55353" y="116658"/>
                  </a:lnTo>
                  <a:cubicBezTo>
                    <a:pt x="55353" y="132877"/>
                    <a:pt x="55353" y="148947"/>
                    <a:pt x="55353" y="167696"/>
                  </a:cubicBezTo>
                  <a:moveTo>
                    <a:pt x="544454" y="167398"/>
                  </a:moveTo>
                  <a:cubicBezTo>
                    <a:pt x="544454" y="149245"/>
                    <a:pt x="544454" y="133324"/>
                    <a:pt x="544603" y="117551"/>
                  </a:cubicBezTo>
                  <a:cubicBezTo>
                    <a:pt x="544603" y="115765"/>
                    <a:pt x="546537" y="113384"/>
                    <a:pt x="548174" y="112641"/>
                  </a:cubicBezTo>
                  <a:cubicBezTo>
                    <a:pt x="557548" y="108325"/>
                    <a:pt x="567071" y="104308"/>
                    <a:pt x="577041" y="99993"/>
                  </a:cubicBezTo>
                  <a:lnTo>
                    <a:pt x="577636" y="104457"/>
                  </a:lnTo>
                  <a:cubicBezTo>
                    <a:pt x="577636" y="116361"/>
                    <a:pt x="577487" y="128264"/>
                    <a:pt x="577636" y="140168"/>
                  </a:cubicBezTo>
                  <a:cubicBezTo>
                    <a:pt x="577636" y="145525"/>
                    <a:pt x="576148" y="149394"/>
                    <a:pt x="571536" y="152072"/>
                  </a:cubicBezTo>
                  <a:cubicBezTo>
                    <a:pt x="563054" y="156982"/>
                    <a:pt x="554423" y="161744"/>
                    <a:pt x="544454" y="167398"/>
                  </a:cubicBezTo>
                  <a:moveTo>
                    <a:pt x="489547" y="181832"/>
                  </a:moveTo>
                  <a:lnTo>
                    <a:pt x="489547" y="128413"/>
                  </a:lnTo>
                  <a:cubicBezTo>
                    <a:pt x="499963" y="125884"/>
                    <a:pt x="510677" y="123503"/>
                    <a:pt x="522134" y="120676"/>
                  </a:cubicBezTo>
                  <a:lnTo>
                    <a:pt x="522134" y="157280"/>
                  </a:lnTo>
                  <a:cubicBezTo>
                    <a:pt x="522134" y="168291"/>
                    <a:pt x="516777" y="175185"/>
                    <a:pt x="506064" y="177963"/>
                  </a:cubicBezTo>
                  <a:cubicBezTo>
                    <a:pt x="500856" y="179302"/>
                    <a:pt x="495648" y="180344"/>
                    <a:pt x="489547" y="181832"/>
                  </a:cubicBezTo>
                  <a:moveTo>
                    <a:pt x="110557" y="182129"/>
                  </a:moveTo>
                  <a:cubicBezTo>
                    <a:pt x="100141" y="179600"/>
                    <a:pt x="90321" y="177219"/>
                    <a:pt x="80649" y="174541"/>
                  </a:cubicBezTo>
                  <a:lnTo>
                    <a:pt x="78268" y="171267"/>
                  </a:lnTo>
                  <a:cubicBezTo>
                    <a:pt x="78119" y="154602"/>
                    <a:pt x="78268" y="137936"/>
                    <a:pt x="78268" y="120824"/>
                  </a:cubicBezTo>
                  <a:cubicBezTo>
                    <a:pt x="89428" y="123354"/>
                    <a:pt x="99844" y="125735"/>
                    <a:pt x="110706" y="128116"/>
                  </a:cubicBezTo>
                  <a:lnTo>
                    <a:pt x="110706" y="181981"/>
                  </a:lnTo>
                  <a:moveTo>
                    <a:pt x="434045" y="191206"/>
                  </a:moveTo>
                  <a:lnTo>
                    <a:pt x="434045" y="136746"/>
                  </a:lnTo>
                  <a:cubicBezTo>
                    <a:pt x="444461" y="135258"/>
                    <a:pt x="455175" y="133770"/>
                    <a:pt x="466335" y="132133"/>
                  </a:cubicBezTo>
                  <a:lnTo>
                    <a:pt x="466335" y="186147"/>
                  </a:lnTo>
                  <a:cubicBezTo>
                    <a:pt x="455621" y="187784"/>
                    <a:pt x="445057" y="189421"/>
                    <a:pt x="434045" y="191057"/>
                  </a:cubicBezTo>
                  <a:moveTo>
                    <a:pt x="166506" y="191057"/>
                  </a:moveTo>
                  <a:cubicBezTo>
                    <a:pt x="155643" y="189421"/>
                    <a:pt x="145227" y="187933"/>
                    <a:pt x="134365" y="186296"/>
                  </a:cubicBezTo>
                  <a:lnTo>
                    <a:pt x="134365" y="132133"/>
                  </a:lnTo>
                  <a:cubicBezTo>
                    <a:pt x="145079" y="133621"/>
                    <a:pt x="155643" y="134960"/>
                    <a:pt x="166506" y="136448"/>
                  </a:cubicBezTo>
                  <a:lnTo>
                    <a:pt x="166506" y="190909"/>
                  </a:lnTo>
                  <a:moveTo>
                    <a:pt x="378395" y="196563"/>
                  </a:moveTo>
                  <a:lnTo>
                    <a:pt x="378395" y="141656"/>
                  </a:lnTo>
                  <a:cubicBezTo>
                    <a:pt x="388959" y="140763"/>
                    <a:pt x="399673" y="139871"/>
                    <a:pt x="410833" y="138978"/>
                  </a:cubicBezTo>
                  <a:lnTo>
                    <a:pt x="410833" y="193736"/>
                  </a:lnTo>
                  <a:cubicBezTo>
                    <a:pt x="399971" y="194629"/>
                    <a:pt x="389406" y="195670"/>
                    <a:pt x="378395" y="196563"/>
                  </a:cubicBezTo>
                  <a:moveTo>
                    <a:pt x="221859" y="196563"/>
                  </a:moveTo>
                  <a:cubicBezTo>
                    <a:pt x="211145" y="195670"/>
                    <a:pt x="200729" y="194777"/>
                    <a:pt x="189569" y="193736"/>
                  </a:cubicBezTo>
                  <a:lnTo>
                    <a:pt x="189569" y="138978"/>
                  </a:lnTo>
                  <a:cubicBezTo>
                    <a:pt x="200432" y="139871"/>
                    <a:pt x="210996" y="140763"/>
                    <a:pt x="221859" y="141507"/>
                  </a:cubicBezTo>
                  <a:lnTo>
                    <a:pt x="221859" y="196414"/>
                  </a:lnTo>
                  <a:moveTo>
                    <a:pt x="311882" y="143888"/>
                  </a:moveTo>
                  <a:lnTo>
                    <a:pt x="355331" y="143888"/>
                  </a:lnTo>
                  <a:lnTo>
                    <a:pt x="355331" y="198051"/>
                  </a:lnTo>
                  <a:lnTo>
                    <a:pt x="311882" y="198051"/>
                  </a:lnTo>
                  <a:lnTo>
                    <a:pt x="311882" y="143888"/>
                  </a:lnTo>
                  <a:close/>
                  <a:moveTo>
                    <a:pt x="245518" y="143888"/>
                  </a:moveTo>
                  <a:lnTo>
                    <a:pt x="288818" y="143888"/>
                  </a:lnTo>
                  <a:lnTo>
                    <a:pt x="288818" y="198348"/>
                  </a:lnTo>
                  <a:lnTo>
                    <a:pt x="245518" y="198348"/>
                  </a:lnTo>
                  <a:lnTo>
                    <a:pt x="245518" y="143888"/>
                  </a:lnTo>
                  <a:close/>
                  <a:moveTo>
                    <a:pt x="306227" y="221115"/>
                  </a:moveTo>
                  <a:cubicBezTo>
                    <a:pt x="314560" y="221115"/>
                    <a:pt x="322893" y="221115"/>
                    <a:pt x="331077" y="220966"/>
                  </a:cubicBezTo>
                  <a:cubicBezTo>
                    <a:pt x="399227" y="219776"/>
                    <a:pt x="466930" y="213377"/>
                    <a:pt x="532550" y="193587"/>
                  </a:cubicBezTo>
                  <a:cubicBezTo>
                    <a:pt x="548025" y="188974"/>
                    <a:pt x="562459" y="181237"/>
                    <a:pt x="577339" y="174987"/>
                  </a:cubicBezTo>
                  <a:lnTo>
                    <a:pt x="582696" y="173648"/>
                  </a:lnTo>
                  <a:cubicBezTo>
                    <a:pt x="599212" y="178856"/>
                    <a:pt x="615729" y="183766"/>
                    <a:pt x="631799" y="189867"/>
                  </a:cubicBezTo>
                  <a:cubicBezTo>
                    <a:pt x="636561" y="191653"/>
                    <a:pt x="639983" y="196861"/>
                    <a:pt x="644000" y="200432"/>
                  </a:cubicBezTo>
                  <a:cubicBezTo>
                    <a:pt x="640132" y="204300"/>
                    <a:pt x="636709" y="209062"/>
                    <a:pt x="632096" y="211740"/>
                  </a:cubicBezTo>
                  <a:cubicBezTo>
                    <a:pt x="612455" y="223049"/>
                    <a:pt x="590582" y="228852"/>
                    <a:pt x="568708" y="234060"/>
                  </a:cubicBezTo>
                  <a:cubicBezTo>
                    <a:pt x="530021" y="243137"/>
                    <a:pt x="490887" y="248196"/>
                    <a:pt x="451306" y="251321"/>
                  </a:cubicBezTo>
                  <a:cubicBezTo>
                    <a:pt x="423034" y="253553"/>
                    <a:pt x="394763" y="254743"/>
                    <a:pt x="366640" y="254743"/>
                  </a:cubicBezTo>
                  <a:cubicBezTo>
                    <a:pt x="349974" y="254743"/>
                    <a:pt x="333458" y="254297"/>
                    <a:pt x="316792" y="253553"/>
                  </a:cubicBezTo>
                  <a:cubicBezTo>
                    <a:pt x="257421" y="250726"/>
                    <a:pt x="198497" y="244625"/>
                    <a:pt x="141210" y="227513"/>
                  </a:cubicBezTo>
                  <a:cubicBezTo>
                    <a:pt x="126776" y="223198"/>
                    <a:pt x="113087" y="216502"/>
                    <a:pt x="99397" y="210401"/>
                  </a:cubicBezTo>
                  <a:cubicBezTo>
                    <a:pt x="95528" y="208764"/>
                    <a:pt x="92850" y="204896"/>
                    <a:pt x="89577" y="201920"/>
                  </a:cubicBezTo>
                  <a:lnTo>
                    <a:pt x="90618" y="200134"/>
                  </a:lnTo>
                  <a:cubicBezTo>
                    <a:pt x="99993" y="202068"/>
                    <a:pt x="109367" y="204449"/>
                    <a:pt x="118890" y="205788"/>
                  </a:cubicBezTo>
                  <a:cubicBezTo>
                    <a:pt x="152816" y="210252"/>
                    <a:pt x="186593" y="215758"/>
                    <a:pt x="220668" y="218139"/>
                  </a:cubicBezTo>
                  <a:cubicBezTo>
                    <a:pt x="249089" y="220073"/>
                    <a:pt x="277658" y="221115"/>
                    <a:pt x="306227" y="221115"/>
                  </a:cubicBezTo>
                  <a:moveTo>
                    <a:pt x="611562" y="300573"/>
                  </a:moveTo>
                  <a:lnTo>
                    <a:pt x="611562" y="283759"/>
                  </a:lnTo>
                  <a:cubicBezTo>
                    <a:pt x="611562" y="272897"/>
                    <a:pt x="611414" y="262183"/>
                    <a:pt x="611711" y="251321"/>
                  </a:cubicBezTo>
                  <a:cubicBezTo>
                    <a:pt x="611711" y="249238"/>
                    <a:pt x="613199" y="246262"/>
                    <a:pt x="614836" y="245369"/>
                  </a:cubicBezTo>
                  <a:cubicBezTo>
                    <a:pt x="624359" y="240756"/>
                    <a:pt x="634031" y="236739"/>
                    <a:pt x="644596" y="232275"/>
                  </a:cubicBezTo>
                  <a:cubicBezTo>
                    <a:pt x="644596" y="247006"/>
                    <a:pt x="644893" y="261439"/>
                    <a:pt x="644298" y="275873"/>
                  </a:cubicBezTo>
                  <a:cubicBezTo>
                    <a:pt x="644298" y="278997"/>
                    <a:pt x="641471" y="283015"/>
                    <a:pt x="638792" y="284801"/>
                  </a:cubicBezTo>
                  <a:cubicBezTo>
                    <a:pt x="630609" y="290157"/>
                    <a:pt x="621829" y="294621"/>
                    <a:pt x="611414" y="300424"/>
                  </a:cubicBezTo>
                  <a:moveTo>
                    <a:pt x="122461" y="298639"/>
                  </a:moveTo>
                  <a:cubicBezTo>
                    <a:pt x="110706" y="293877"/>
                    <a:pt x="99993" y="289711"/>
                    <a:pt x="91660" y="280932"/>
                  </a:cubicBezTo>
                  <a:lnTo>
                    <a:pt x="89428" y="276468"/>
                  </a:lnTo>
                  <a:cubicBezTo>
                    <a:pt x="89279" y="261737"/>
                    <a:pt x="89428" y="247155"/>
                    <a:pt x="89428" y="232275"/>
                  </a:cubicBezTo>
                  <a:cubicBezTo>
                    <a:pt x="100141" y="236887"/>
                    <a:pt x="110260" y="241203"/>
                    <a:pt x="120229" y="245666"/>
                  </a:cubicBezTo>
                  <a:lnTo>
                    <a:pt x="122461" y="248940"/>
                  </a:lnTo>
                  <a:cubicBezTo>
                    <a:pt x="122461" y="265159"/>
                    <a:pt x="122461" y="281378"/>
                    <a:pt x="122461" y="298639"/>
                  </a:cubicBezTo>
                  <a:moveTo>
                    <a:pt x="177666" y="314560"/>
                  </a:moveTo>
                  <a:cubicBezTo>
                    <a:pt x="166208" y="311733"/>
                    <a:pt x="155792" y="309055"/>
                    <a:pt x="144781" y="306376"/>
                  </a:cubicBezTo>
                  <a:lnTo>
                    <a:pt x="144781" y="253255"/>
                  </a:lnTo>
                  <a:cubicBezTo>
                    <a:pt x="155197" y="255636"/>
                    <a:pt x="164869" y="257719"/>
                    <a:pt x="174541" y="260100"/>
                  </a:cubicBezTo>
                  <a:lnTo>
                    <a:pt x="177517" y="263969"/>
                  </a:lnTo>
                  <a:cubicBezTo>
                    <a:pt x="177666" y="280337"/>
                    <a:pt x="177666" y="296853"/>
                    <a:pt x="177666" y="314560"/>
                  </a:cubicBezTo>
                  <a:moveTo>
                    <a:pt x="556060" y="314560"/>
                  </a:moveTo>
                  <a:cubicBezTo>
                    <a:pt x="556060" y="297002"/>
                    <a:pt x="556060" y="280188"/>
                    <a:pt x="556060" y="263374"/>
                  </a:cubicBezTo>
                  <a:lnTo>
                    <a:pt x="558888" y="260100"/>
                  </a:lnTo>
                  <a:cubicBezTo>
                    <a:pt x="568559" y="257719"/>
                    <a:pt x="578231" y="255636"/>
                    <a:pt x="588201" y="253404"/>
                  </a:cubicBezTo>
                  <a:lnTo>
                    <a:pt x="588201" y="306674"/>
                  </a:lnTo>
                  <a:cubicBezTo>
                    <a:pt x="577339" y="309352"/>
                    <a:pt x="566923" y="311882"/>
                    <a:pt x="555763" y="314560"/>
                  </a:cubicBezTo>
                  <a:moveTo>
                    <a:pt x="500261" y="323935"/>
                  </a:moveTo>
                  <a:lnTo>
                    <a:pt x="500261" y="269474"/>
                  </a:lnTo>
                  <a:cubicBezTo>
                    <a:pt x="510825" y="267986"/>
                    <a:pt x="521390" y="266498"/>
                    <a:pt x="532997" y="264861"/>
                  </a:cubicBezTo>
                  <a:cubicBezTo>
                    <a:pt x="532997" y="282420"/>
                    <a:pt x="532997" y="298788"/>
                    <a:pt x="532848" y="315156"/>
                  </a:cubicBezTo>
                  <a:lnTo>
                    <a:pt x="529425" y="319471"/>
                  </a:lnTo>
                  <a:cubicBezTo>
                    <a:pt x="519902" y="321256"/>
                    <a:pt x="510230" y="322447"/>
                    <a:pt x="500410" y="323935"/>
                  </a:cubicBezTo>
                  <a:moveTo>
                    <a:pt x="232870" y="323935"/>
                  </a:moveTo>
                  <a:cubicBezTo>
                    <a:pt x="223049" y="322447"/>
                    <a:pt x="213675" y="321107"/>
                    <a:pt x="204300" y="319471"/>
                  </a:cubicBezTo>
                  <a:lnTo>
                    <a:pt x="200580" y="316048"/>
                  </a:lnTo>
                  <a:cubicBezTo>
                    <a:pt x="200283" y="299234"/>
                    <a:pt x="200580" y="282420"/>
                    <a:pt x="200580" y="264861"/>
                  </a:cubicBezTo>
                  <a:cubicBezTo>
                    <a:pt x="211740" y="266350"/>
                    <a:pt x="222156" y="267838"/>
                    <a:pt x="233019" y="269326"/>
                  </a:cubicBezTo>
                  <a:lnTo>
                    <a:pt x="233019" y="323935"/>
                  </a:lnTo>
                  <a:moveTo>
                    <a:pt x="288669" y="329440"/>
                  </a:moveTo>
                  <a:cubicBezTo>
                    <a:pt x="277807" y="328547"/>
                    <a:pt x="267242" y="327655"/>
                    <a:pt x="256231" y="326762"/>
                  </a:cubicBezTo>
                  <a:lnTo>
                    <a:pt x="256231" y="271855"/>
                  </a:lnTo>
                  <a:cubicBezTo>
                    <a:pt x="267242" y="272897"/>
                    <a:pt x="277807" y="273790"/>
                    <a:pt x="288669" y="274682"/>
                  </a:cubicBezTo>
                  <a:lnTo>
                    <a:pt x="288669" y="329440"/>
                  </a:lnTo>
                  <a:moveTo>
                    <a:pt x="445205" y="329440"/>
                  </a:moveTo>
                  <a:lnTo>
                    <a:pt x="445205" y="274533"/>
                  </a:lnTo>
                  <a:cubicBezTo>
                    <a:pt x="455770" y="273641"/>
                    <a:pt x="466335" y="272748"/>
                    <a:pt x="477644" y="271855"/>
                  </a:cubicBezTo>
                  <a:lnTo>
                    <a:pt x="477644" y="326464"/>
                  </a:lnTo>
                  <a:cubicBezTo>
                    <a:pt x="467079" y="327506"/>
                    <a:pt x="456365" y="328399"/>
                    <a:pt x="445205" y="329440"/>
                  </a:cubicBezTo>
                  <a:moveTo>
                    <a:pt x="311584" y="276468"/>
                  </a:moveTo>
                  <a:lnTo>
                    <a:pt x="355331" y="276468"/>
                  </a:lnTo>
                  <a:lnTo>
                    <a:pt x="355331" y="330928"/>
                  </a:lnTo>
                  <a:lnTo>
                    <a:pt x="311584" y="330928"/>
                  </a:lnTo>
                  <a:lnTo>
                    <a:pt x="311584" y="276468"/>
                  </a:lnTo>
                  <a:close/>
                  <a:moveTo>
                    <a:pt x="378395" y="276765"/>
                  </a:moveTo>
                  <a:lnTo>
                    <a:pt x="421695" y="276765"/>
                  </a:lnTo>
                  <a:lnTo>
                    <a:pt x="421695" y="330779"/>
                  </a:lnTo>
                  <a:lnTo>
                    <a:pt x="378395" y="330779"/>
                  </a:lnTo>
                  <a:lnTo>
                    <a:pt x="378395" y="276765"/>
                  </a:lnTo>
                  <a:close/>
                  <a:moveTo>
                    <a:pt x="298341" y="376609"/>
                  </a:moveTo>
                  <a:cubicBezTo>
                    <a:pt x="275872" y="376609"/>
                    <a:pt x="253404" y="375865"/>
                    <a:pt x="231084" y="374526"/>
                  </a:cubicBezTo>
                  <a:cubicBezTo>
                    <a:pt x="173946" y="370806"/>
                    <a:pt x="117253" y="364110"/>
                    <a:pt x="62644" y="345808"/>
                  </a:cubicBezTo>
                  <a:cubicBezTo>
                    <a:pt x="51484" y="342088"/>
                    <a:pt x="40622" y="336731"/>
                    <a:pt x="30355" y="330928"/>
                  </a:cubicBezTo>
                  <a:cubicBezTo>
                    <a:pt x="20385" y="325125"/>
                    <a:pt x="20385" y="319619"/>
                    <a:pt x="30504" y="314709"/>
                  </a:cubicBezTo>
                  <a:cubicBezTo>
                    <a:pt x="44491" y="308162"/>
                    <a:pt x="59371" y="303400"/>
                    <a:pt x="73953" y="298044"/>
                  </a:cubicBezTo>
                  <a:lnTo>
                    <a:pt x="77970" y="299234"/>
                  </a:lnTo>
                  <a:cubicBezTo>
                    <a:pt x="97909" y="316197"/>
                    <a:pt x="122164" y="323488"/>
                    <a:pt x="146567" y="330184"/>
                  </a:cubicBezTo>
                  <a:cubicBezTo>
                    <a:pt x="180939" y="339410"/>
                    <a:pt x="215907" y="344915"/>
                    <a:pt x="251321" y="348635"/>
                  </a:cubicBezTo>
                  <a:cubicBezTo>
                    <a:pt x="289116" y="352653"/>
                    <a:pt x="326911" y="354885"/>
                    <a:pt x="364854" y="354885"/>
                  </a:cubicBezTo>
                  <a:cubicBezTo>
                    <a:pt x="372443" y="354885"/>
                    <a:pt x="380180" y="354885"/>
                    <a:pt x="387769" y="354587"/>
                  </a:cubicBezTo>
                  <a:cubicBezTo>
                    <a:pt x="442824" y="353248"/>
                    <a:pt x="497731" y="349230"/>
                    <a:pt x="551894" y="338368"/>
                  </a:cubicBezTo>
                  <a:lnTo>
                    <a:pt x="555019" y="338368"/>
                  </a:lnTo>
                  <a:cubicBezTo>
                    <a:pt x="555019" y="338368"/>
                    <a:pt x="555465" y="340749"/>
                    <a:pt x="555465" y="340749"/>
                  </a:cubicBezTo>
                  <a:cubicBezTo>
                    <a:pt x="535377" y="346403"/>
                    <a:pt x="515438" y="352802"/>
                    <a:pt x="495053" y="357563"/>
                  </a:cubicBezTo>
                  <a:cubicBezTo>
                    <a:pt x="451455" y="367681"/>
                    <a:pt x="407113" y="372294"/>
                    <a:pt x="362473" y="374824"/>
                  </a:cubicBezTo>
                  <a:cubicBezTo>
                    <a:pt x="341195" y="376014"/>
                    <a:pt x="319768" y="376609"/>
                    <a:pt x="298490" y="376609"/>
                  </a:cubicBezTo>
                  <a:moveTo>
                    <a:pt x="55502" y="420654"/>
                  </a:moveTo>
                  <a:cubicBezTo>
                    <a:pt x="43598" y="416487"/>
                    <a:pt x="32587" y="412321"/>
                    <a:pt x="24552" y="403244"/>
                  </a:cubicBezTo>
                  <a:cubicBezTo>
                    <a:pt x="23213" y="401756"/>
                    <a:pt x="22617" y="399375"/>
                    <a:pt x="22469" y="397292"/>
                  </a:cubicBezTo>
                  <a:cubicBezTo>
                    <a:pt x="22320" y="383008"/>
                    <a:pt x="22469" y="368723"/>
                    <a:pt x="22469" y="354141"/>
                  </a:cubicBezTo>
                  <a:cubicBezTo>
                    <a:pt x="33033" y="358754"/>
                    <a:pt x="43003" y="362920"/>
                    <a:pt x="52675" y="367235"/>
                  </a:cubicBezTo>
                  <a:lnTo>
                    <a:pt x="55353" y="370955"/>
                  </a:lnTo>
                  <a:cubicBezTo>
                    <a:pt x="55502" y="387174"/>
                    <a:pt x="55353" y="403393"/>
                    <a:pt x="55353" y="420654"/>
                  </a:cubicBezTo>
                  <a:moveTo>
                    <a:pt x="544454" y="420803"/>
                  </a:moveTo>
                  <a:cubicBezTo>
                    <a:pt x="544454" y="403393"/>
                    <a:pt x="544454" y="387025"/>
                    <a:pt x="544603" y="370657"/>
                  </a:cubicBezTo>
                  <a:lnTo>
                    <a:pt x="548174" y="366937"/>
                  </a:lnTo>
                  <a:cubicBezTo>
                    <a:pt x="557548" y="362622"/>
                    <a:pt x="567071" y="358605"/>
                    <a:pt x="577487" y="354141"/>
                  </a:cubicBezTo>
                  <a:cubicBezTo>
                    <a:pt x="577487" y="369169"/>
                    <a:pt x="577487" y="383752"/>
                    <a:pt x="577487" y="398483"/>
                  </a:cubicBezTo>
                  <a:lnTo>
                    <a:pt x="575404" y="403095"/>
                  </a:lnTo>
                  <a:cubicBezTo>
                    <a:pt x="566923" y="411279"/>
                    <a:pt x="556358" y="416190"/>
                    <a:pt x="544454" y="420803"/>
                  </a:cubicBezTo>
                  <a:moveTo>
                    <a:pt x="489547" y="436575"/>
                  </a:moveTo>
                  <a:lnTo>
                    <a:pt x="489547" y="382859"/>
                  </a:lnTo>
                  <a:cubicBezTo>
                    <a:pt x="500261" y="380329"/>
                    <a:pt x="510677" y="377949"/>
                    <a:pt x="521837" y="375419"/>
                  </a:cubicBezTo>
                  <a:lnTo>
                    <a:pt x="521837" y="428689"/>
                  </a:lnTo>
                  <a:cubicBezTo>
                    <a:pt x="511123" y="431367"/>
                    <a:pt x="500558" y="433897"/>
                    <a:pt x="489547" y="436575"/>
                  </a:cubicBezTo>
                  <a:moveTo>
                    <a:pt x="110557" y="436575"/>
                  </a:moveTo>
                  <a:cubicBezTo>
                    <a:pt x="99546" y="433897"/>
                    <a:pt x="88981" y="431367"/>
                    <a:pt x="78417" y="428689"/>
                  </a:cubicBezTo>
                  <a:lnTo>
                    <a:pt x="78417" y="375419"/>
                  </a:lnTo>
                  <a:cubicBezTo>
                    <a:pt x="89279" y="377949"/>
                    <a:pt x="99844" y="380329"/>
                    <a:pt x="110557" y="382710"/>
                  </a:cubicBezTo>
                  <a:lnTo>
                    <a:pt x="110557" y="436575"/>
                  </a:lnTo>
                  <a:moveTo>
                    <a:pt x="166357" y="445950"/>
                  </a:moveTo>
                  <a:cubicBezTo>
                    <a:pt x="156685" y="444461"/>
                    <a:pt x="147311" y="443271"/>
                    <a:pt x="138085" y="441486"/>
                  </a:cubicBezTo>
                  <a:lnTo>
                    <a:pt x="133919" y="437170"/>
                  </a:lnTo>
                  <a:cubicBezTo>
                    <a:pt x="133621" y="420803"/>
                    <a:pt x="133770" y="404435"/>
                    <a:pt x="133770" y="386728"/>
                  </a:cubicBezTo>
                  <a:cubicBezTo>
                    <a:pt x="145227" y="388364"/>
                    <a:pt x="155643" y="389704"/>
                    <a:pt x="166357" y="391340"/>
                  </a:cubicBezTo>
                  <a:lnTo>
                    <a:pt x="166357" y="445801"/>
                  </a:lnTo>
                  <a:moveTo>
                    <a:pt x="433897" y="445801"/>
                  </a:moveTo>
                  <a:lnTo>
                    <a:pt x="433897" y="391192"/>
                  </a:lnTo>
                  <a:cubicBezTo>
                    <a:pt x="444461" y="389704"/>
                    <a:pt x="455026" y="388216"/>
                    <a:pt x="466037" y="386728"/>
                  </a:cubicBezTo>
                  <a:lnTo>
                    <a:pt x="466037" y="440741"/>
                  </a:lnTo>
                  <a:cubicBezTo>
                    <a:pt x="455472" y="442378"/>
                    <a:pt x="444908" y="444015"/>
                    <a:pt x="433897" y="445801"/>
                  </a:cubicBezTo>
                  <a:moveTo>
                    <a:pt x="221710" y="451157"/>
                  </a:moveTo>
                  <a:cubicBezTo>
                    <a:pt x="210847" y="450265"/>
                    <a:pt x="200283" y="449372"/>
                    <a:pt x="189420" y="448330"/>
                  </a:cubicBezTo>
                  <a:lnTo>
                    <a:pt x="189420" y="393572"/>
                  </a:lnTo>
                  <a:cubicBezTo>
                    <a:pt x="200283" y="394465"/>
                    <a:pt x="210847" y="395358"/>
                    <a:pt x="221710" y="396400"/>
                  </a:cubicBezTo>
                  <a:lnTo>
                    <a:pt x="221710" y="451157"/>
                  </a:lnTo>
                  <a:moveTo>
                    <a:pt x="378097" y="451157"/>
                  </a:moveTo>
                  <a:lnTo>
                    <a:pt x="378097" y="396251"/>
                  </a:lnTo>
                  <a:cubicBezTo>
                    <a:pt x="388959" y="395358"/>
                    <a:pt x="399375" y="394465"/>
                    <a:pt x="410535" y="393423"/>
                  </a:cubicBezTo>
                  <a:lnTo>
                    <a:pt x="410535" y="448181"/>
                  </a:lnTo>
                  <a:cubicBezTo>
                    <a:pt x="399524" y="449223"/>
                    <a:pt x="389108" y="450116"/>
                    <a:pt x="378097" y="451009"/>
                  </a:cubicBezTo>
                  <a:moveTo>
                    <a:pt x="244922" y="398036"/>
                  </a:moveTo>
                  <a:lnTo>
                    <a:pt x="288223" y="398036"/>
                  </a:lnTo>
                  <a:lnTo>
                    <a:pt x="288223" y="452497"/>
                  </a:lnTo>
                  <a:lnTo>
                    <a:pt x="244922" y="452497"/>
                  </a:lnTo>
                  <a:lnTo>
                    <a:pt x="244922" y="398036"/>
                  </a:lnTo>
                  <a:close/>
                  <a:moveTo>
                    <a:pt x="311584" y="398334"/>
                  </a:moveTo>
                  <a:lnTo>
                    <a:pt x="355033" y="398334"/>
                  </a:lnTo>
                  <a:lnTo>
                    <a:pt x="355033" y="452497"/>
                  </a:lnTo>
                  <a:lnTo>
                    <a:pt x="311584" y="452497"/>
                  </a:lnTo>
                  <a:lnTo>
                    <a:pt x="311584" y="398334"/>
                  </a:lnTo>
                  <a:close/>
                  <a:moveTo>
                    <a:pt x="311584" y="475858"/>
                  </a:moveTo>
                  <a:lnTo>
                    <a:pt x="315899" y="475858"/>
                  </a:lnTo>
                  <a:cubicBezTo>
                    <a:pt x="378990" y="475560"/>
                    <a:pt x="441783" y="469906"/>
                    <a:pt x="503535" y="455770"/>
                  </a:cubicBezTo>
                  <a:cubicBezTo>
                    <a:pt x="530021" y="449669"/>
                    <a:pt x="555911" y="442378"/>
                    <a:pt x="579422" y="428094"/>
                  </a:cubicBezTo>
                  <a:lnTo>
                    <a:pt x="584630" y="427350"/>
                  </a:lnTo>
                  <a:cubicBezTo>
                    <a:pt x="591921" y="430623"/>
                    <a:pt x="599212" y="434046"/>
                    <a:pt x="605908" y="438212"/>
                  </a:cubicBezTo>
                  <a:cubicBezTo>
                    <a:pt x="612009" y="442081"/>
                    <a:pt x="612306" y="445801"/>
                    <a:pt x="606354" y="449669"/>
                  </a:cubicBezTo>
                  <a:cubicBezTo>
                    <a:pt x="597277" y="455473"/>
                    <a:pt x="587755" y="460829"/>
                    <a:pt x="577785" y="464698"/>
                  </a:cubicBezTo>
                  <a:cubicBezTo>
                    <a:pt x="550852" y="475263"/>
                    <a:pt x="522581" y="480917"/>
                    <a:pt x="494309" y="485679"/>
                  </a:cubicBezTo>
                  <a:cubicBezTo>
                    <a:pt x="442081" y="494458"/>
                    <a:pt x="389555" y="498029"/>
                    <a:pt x="336880" y="498029"/>
                  </a:cubicBezTo>
                  <a:cubicBezTo>
                    <a:pt x="322000" y="498029"/>
                    <a:pt x="306972" y="497731"/>
                    <a:pt x="291943" y="497285"/>
                  </a:cubicBezTo>
                  <a:cubicBezTo>
                    <a:pt x="228703" y="495053"/>
                    <a:pt x="165761" y="488655"/>
                    <a:pt x="104754" y="470204"/>
                  </a:cubicBezTo>
                  <a:cubicBezTo>
                    <a:pt x="91660" y="466186"/>
                    <a:pt x="79012" y="460085"/>
                    <a:pt x="66513" y="454431"/>
                  </a:cubicBezTo>
                  <a:cubicBezTo>
                    <a:pt x="62793" y="452794"/>
                    <a:pt x="59966" y="449372"/>
                    <a:pt x="56692" y="446842"/>
                  </a:cubicBezTo>
                  <a:lnTo>
                    <a:pt x="57585" y="445652"/>
                  </a:lnTo>
                  <a:cubicBezTo>
                    <a:pt x="70233" y="449074"/>
                    <a:pt x="82881" y="452794"/>
                    <a:pt x="95677" y="455770"/>
                  </a:cubicBezTo>
                  <a:cubicBezTo>
                    <a:pt x="130347" y="463805"/>
                    <a:pt x="165315" y="469460"/>
                    <a:pt x="200878" y="471543"/>
                  </a:cubicBezTo>
                  <a:cubicBezTo>
                    <a:pt x="237780" y="473626"/>
                    <a:pt x="274682" y="476007"/>
                    <a:pt x="311584" y="476007"/>
                  </a:cubicBezTo>
                  <a:moveTo>
                    <a:pt x="88684" y="542520"/>
                  </a:moveTo>
                  <a:cubicBezTo>
                    <a:pt x="77673" y="538353"/>
                    <a:pt x="67703" y="534485"/>
                    <a:pt x="59668" y="526896"/>
                  </a:cubicBezTo>
                  <a:cubicBezTo>
                    <a:pt x="57883" y="525110"/>
                    <a:pt x="56246" y="522134"/>
                    <a:pt x="56097" y="519754"/>
                  </a:cubicBezTo>
                  <a:cubicBezTo>
                    <a:pt x="55799" y="505171"/>
                    <a:pt x="55948" y="490738"/>
                    <a:pt x="55948" y="476007"/>
                  </a:cubicBezTo>
                  <a:cubicBezTo>
                    <a:pt x="66364" y="480471"/>
                    <a:pt x="76185" y="484488"/>
                    <a:pt x="85708" y="488803"/>
                  </a:cubicBezTo>
                  <a:lnTo>
                    <a:pt x="88535" y="492375"/>
                  </a:lnTo>
                  <a:cubicBezTo>
                    <a:pt x="88684" y="508742"/>
                    <a:pt x="88535" y="525110"/>
                    <a:pt x="88535" y="542520"/>
                  </a:cubicBezTo>
                  <a:moveTo>
                    <a:pt x="577934" y="544008"/>
                  </a:moveTo>
                  <a:cubicBezTo>
                    <a:pt x="577934" y="525408"/>
                    <a:pt x="577934" y="509189"/>
                    <a:pt x="577934" y="492970"/>
                  </a:cubicBezTo>
                  <a:lnTo>
                    <a:pt x="580463" y="489250"/>
                  </a:lnTo>
                  <a:cubicBezTo>
                    <a:pt x="590284" y="484786"/>
                    <a:pt x="600105" y="480620"/>
                    <a:pt x="610521" y="476156"/>
                  </a:cubicBezTo>
                  <a:cubicBezTo>
                    <a:pt x="610521" y="491333"/>
                    <a:pt x="610818" y="506362"/>
                    <a:pt x="610223" y="521390"/>
                  </a:cubicBezTo>
                  <a:cubicBezTo>
                    <a:pt x="610223" y="524069"/>
                    <a:pt x="607247" y="527342"/>
                    <a:pt x="604717" y="528830"/>
                  </a:cubicBezTo>
                  <a:cubicBezTo>
                    <a:pt x="596534" y="533889"/>
                    <a:pt x="588052" y="538353"/>
                    <a:pt x="577785" y="544008"/>
                  </a:cubicBezTo>
                  <a:moveTo>
                    <a:pt x="522283" y="558441"/>
                  </a:moveTo>
                  <a:lnTo>
                    <a:pt x="522283" y="504725"/>
                  </a:lnTo>
                  <a:cubicBezTo>
                    <a:pt x="532997" y="502344"/>
                    <a:pt x="543561" y="499815"/>
                    <a:pt x="555019" y="497285"/>
                  </a:cubicBezTo>
                  <a:cubicBezTo>
                    <a:pt x="555019" y="514546"/>
                    <a:pt x="555019" y="530914"/>
                    <a:pt x="555019" y="547430"/>
                  </a:cubicBezTo>
                  <a:lnTo>
                    <a:pt x="552340" y="551001"/>
                  </a:lnTo>
                  <a:cubicBezTo>
                    <a:pt x="542520" y="553680"/>
                    <a:pt x="532699" y="555912"/>
                    <a:pt x="522432" y="558590"/>
                  </a:cubicBezTo>
                  <a:moveTo>
                    <a:pt x="144186" y="558590"/>
                  </a:moveTo>
                  <a:cubicBezTo>
                    <a:pt x="133472" y="555912"/>
                    <a:pt x="123801" y="553680"/>
                    <a:pt x="114277" y="551001"/>
                  </a:cubicBezTo>
                  <a:lnTo>
                    <a:pt x="111450" y="547430"/>
                  </a:lnTo>
                  <a:cubicBezTo>
                    <a:pt x="111301" y="531062"/>
                    <a:pt x="111450" y="514546"/>
                    <a:pt x="111450" y="497285"/>
                  </a:cubicBezTo>
                  <a:cubicBezTo>
                    <a:pt x="122907" y="499815"/>
                    <a:pt x="133472" y="502195"/>
                    <a:pt x="144334" y="504725"/>
                  </a:cubicBezTo>
                  <a:lnTo>
                    <a:pt x="144334" y="558590"/>
                  </a:lnTo>
                  <a:moveTo>
                    <a:pt x="467674" y="567816"/>
                  </a:moveTo>
                  <a:lnTo>
                    <a:pt x="467674" y="513355"/>
                  </a:lnTo>
                  <a:cubicBezTo>
                    <a:pt x="478090" y="511867"/>
                    <a:pt x="488655" y="510379"/>
                    <a:pt x="499666" y="508742"/>
                  </a:cubicBezTo>
                  <a:lnTo>
                    <a:pt x="499666" y="562905"/>
                  </a:lnTo>
                  <a:cubicBezTo>
                    <a:pt x="489101" y="564542"/>
                    <a:pt x="478685" y="566030"/>
                    <a:pt x="467674" y="567816"/>
                  </a:cubicBezTo>
                  <a:moveTo>
                    <a:pt x="199539" y="567816"/>
                  </a:moveTo>
                  <a:cubicBezTo>
                    <a:pt x="188528" y="566179"/>
                    <a:pt x="177963" y="564542"/>
                    <a:pt x="167101" y="562905"/>
                  </a:cubicBezTo>
                  <a:lnTo>
                    <a:pt x="167101" y="508891"/>
                  </a:lnTo>
                  <a:cubicBezTo>
                    <a:pt x="177814" y="510379"/>
                    <a:pt x="188379" y="511867"/>
                    <a:pt x="199539" y="513355"/>
                  </a:cubicBezTo>
                  <a:lnTo>
                    <a:pt x="199539" y="567816"/>
                  </a:lnTo>
                  <a:moveTo>
                    <a:pt x="412023" y="573470"/>
                  </a:moveTo>
                  <a:lnTo>
                    <a:pt x="412023" y="518563"/>
                  </a:lnTo>
                  <a:cubicBezTo>
                    <a:pt x="422439" y="517670"/>
                    <a:pt x="433004" y="516778"/>
                    <a:pt x="443866" y="515885"/>
                  </a:cubicBezTo>
                  <a:lnTo>
                    <a:pt x="443866" y="570643"/>
                  </a:lnTo>
                  <a:cubicBezTo>
                    <a:pt x="433153" y="571684"/>
                    <a:pt x="422885" y="572577"/>
                    <a:pt x="412023" y="573470"/>
                  </a:cubicBezTo>
                  <a:moveTo>
                    <a:pt x="255041" y="573470"/>
                  </a:moveTo>
                  <a:cubicBezTo>
                    <a:pt x="244327" y="572428"/>
                    <a:pt x="233763" y="571535"/>
                    <a:pt x="223049" y="570494"/>
                  </a:cubicBezTo>
                  <a:lnTo>
                    <a:pt x="223049" y="515885"/>
                  </a:lnTo>
                  <a:cubicBezTo>
                    <a:pt x="233763" y="516778"/>
                    <a:pt x="244179" y="517670"/>
                    <a:pt x="255041" y="518414"/>
                  </a:cubicBezTo>
                  <a:lnTo>
                    <a:pt x="255041" y="573470"/>
                  </a:lnTo>
                  <a:moveTo>
                    <a:pt x="278402" y="520646"/>
                  </a:moveTo>
                  <a:lnTo>
                    <a:pt x="321554" y="520646"/>
                  </a:lnTo>
                  <a:lnTo>
                    <a:pt x="321554" y="575107"/>
                  </a:lnTo>
                  <a:lnTo>
                    <a:pt x="278402" y="575107"/>
                  </a:lnTo>
                  <a:lnTo>
                    <a:pt x="278402" y="520646"/>
                  </a:lnTo>
                  <a:close/>
                  <a:moveTo>
                    <a:pt x="345213" y="520646"/>
                  </a:moveTo>
                  <a:lnTo>
                    <a:pt x="388365" y="520646"/>
                  </a:lnTo>
                  <a:lnTo>
                    <a:pt x="388365" y="574958"/>
                  </a:lnTo>
                  <a:lnTo>
                    <a:pt x="345213" y="574958"/>
                  </a:lnTo>
                  <a:lnTo>
                    <a:pt x="345213" y="520646"/>
                  </a:lnTo>
                  <a:close/>
                </a:path>
              </a:pathLst>
            </a:custGeom>
            <a:solidFill>
              <a:schemeClr val="bg1"/>
            </a:solidFill>
            <a:ln w="148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3581787-06FE-CD13-815D-F142B35D3B9E}"/>
                </a:ext>
              </a:extLst>
            </p:cNvPr>
            <p:cNvSpPr/>
            <p:nvPr/>
          </p:nvSpPr>
          <p:spPr>
            <a:xfrm>
              <a:off x="11263626" y="2425699"/>
              <a:ext cx="728554" cy="591243"/>
            </a:xfrm>
            <a:custGeom>
              <a:avLst/>
              <a:gdLst>
                <a:gd name="connsiteX0" fmla="*/ 0 w 679955"/>
                <a:gd name="connsiteY0" fmla="*/ 171474 h 551803"/>
                <a:gd name="connsiteX1" fmla="*/ 8780 w 679955"/>
                <a:gd name="connsiteY1" fmla="*/ 131150 h 551803"/>
                <a:gd name="connsiteX2" fmla="*/ 299681 w 679955"/>
                <a:gd name="connsiteY2" fmla="*/ 40680 h 551803"/>
                <a:gd name="connsiteX3" fmla="*/ 303252 w 679955"/>
                <a:gd name="connsiteY3" fmla="*/ 43507 h 551803"/>
                <a:gd name="connsiteX4" fmla="*/ 527938 w 679955"/>
                <a:gd name="connsiteY4" fmla="*/ 33984 h 551803"/>
                <a:gd name="connsiteX5" fmla="*/ 599063 w 679955"/>
                <a:gd name="connsiteY5" fmla="*/ 246617 h 551803"/>
                <a:gd name="connsiteX6" fmla="*/ 606057 w 679955"/>
                <a:gd name="connsiteY6" fmla="*/ 246915 h 551803"/>
                <a:gd name="connsiteX7" fmla="*/ 665130 w 679955"/>
                <a:gd name="connsiteY7" fmla="*/ 246915 h 551803"/>
                <a:gd name="connsiteX8" fmla="*/ 679713 w 679955"/>
                <a:gd name="connsiteY8" fmla="*/ 257926 h 551803"/>
                <a:gd name="connsiteX9" fmla="*/ 671826 w 679955"/>
                <a:gd name="connsiteY9" fmla="*/ 272657 h 551803"/>
                <a:gd name="connsiteX10" fmla="*/ 662750 w 679955"/>
                <a:gd name="connsiteY10" fmla="*/ 273847 h 551803"/>
                <a:gd name="connsiteX11" fmla="*/ 593707 w 679955"/>
                <a:gd name="connsiteY11" fmla="*/ 273847 h 551803"/>
                <a:gd name="connsiteX12" fmla="*/ 583887 w 679955"/>
                <a:gd name="connsiteY12" fmla="*/ 279502 h 551803"/>
                <a:gd name="connsiteX13" fmla="*/ 553382 w 679955"/>
                <a:gd name="connsiteY13" fmla="*/ 319826 h 551803"/>
                <a:gd name="connsiteX14" fmla="*/ 339856 w 679955"/>
                <a:gd name="connsiteY14" fmla="*/ 535584 h 551803"/>
                <a:gd name="connsiteX15" fmla="*/ 268433 w 679955"/>
                <a:gd name="connsiteY15" fmla="*/ 535882 h 551803"/>
                <a:gd name="connsiteX16" fmla="*/ 188082 w 679955"/>
                <a:gd name="connsiteY16" fmla="*/ 454787 h 551803"/>
                <a:gd name="connsiteX17" fmla="*/ 184213 w 679955"/>
                <a:gd name="connsiteY17" fmla="*/ 450323 h 551803"/>
                <a:gd name="connsiteX18" fmla="*/ 185998 w 679955"/>
                <a:gd name="connsiteY18" fmla="*/ 433806 h 551803"/>
                <a:gd name="connsiteX19" fmla="*/ 202516 w 679955"/>
                <a:gd name="connsiteY19" fmla="*/ 432020 h 551803"/>
                <a:gd name="connsiteX20" fmla="*/ 208467 w 679955"/>
                <a:gd name="connsiteY20" fmla="*/ 437377 h 551803"/>
                <a:gd name="connsiteX21" fmla="*/ 286437 w 679955"/>
                <a:gd name="connsiteY21" fmla="*/ 516092 h 551803"/>
                <a:gd name="connsiteX22" fmla="*/ 321703 w 679955"/>
                <a:gd name="connsiteY22" fmla="*/ 516240 h 551803"/>
                <a:gd name="connsiteX23" fmla="*/ 533890 w 679955"/>
                <a:gd name="connsiteY23" fmla="*/ 301970 h 551803"/>
                <a:gd name="connsiteX24" fmla="*/ 555912 w 679955"/>
                <a:gd name="connsiteY24" fmla="*/ 276377 h 551803"/>
                <a:gd name="connsiteX25" fmla="*/ 555020 w 679955"/>
                <a:gd name="connsiteY25" fmla="*/ 274591 h 551803"/>
                <a:gd name="connsiteX26" fmla="*/ 548324 w 679955"/>
                <a:gd name="connsiteY26" fmla="*/ 274294 h 551803"/>
                <a:gd name="connsiteX27" fmla="*/ 458003 w 679955"/>
                <a:gd name="connsiteY27" fmla="*/ 274294 h 551803"/>
                <a:gd name="connsiteX28" fmla="*/ 438808 w 679955"/>
                <a:gd name="connsiteY28" fmla="*/ 266110 h 551803"/>
                <a:gd name="connsiteX29" fmla="*/ 425714 w 679955"/>
                <a:gd name="connsiteY29" fmla="*/ 253164 h 551803"/>
                <a:gd name="connsiteX30" fmla="*/ 409494 w 679955"/>
                <a:gd name="connsiteY30" fmla="*/ 268491 h 551803"/>
                <a:gd name="connsiteX31" fmla="*/ 394614 w 679955"/>
                <a:gd name="connsiteY31" fmla="*/ 274294 h 551803"/>
                <a:gd name="connsiteX32" fmla="*/ 373336 w 679955"/>
                <a:gd name="connsiteY32" fmla="*/ 274145 h 551803"/>
                <a:gd name="connsiteX33" fmla="*/ 365896 w 679955"/>
                <a:gd name="connsiteY33" fmla="*/ 279055 h 551803"/>
                <a:gd name="connsiteX34" fmla="*/ 347742 w 679955"/>
                <a:gd name="connsiteY34" fmla="*/ 318487 h 551803"/>
                <a:gd name="connsiteX35" fmla="*/ 333011 w 679955"/>
                <a:gd name="connsiteY35" fmla="*/ 328605 h 551803"/>
                <a:gd name="connsiteX36" fmla="*/ 320810 w 679955"/>
                <a:gd name="connsiteY36" fmla="*/ 314767 h 551803"/>
                <a:gd name="connsiteX37" fmla="*/ 308311 w 679955"/>
                <a:gd name="connsiteY37" fmla="*/ 238136 h 551803"/>
                <a:gd name="connsiteX38" fmla="*/ 306228 w 679955"/>
                <a:gd name="connsiteY38" fmla="*/ 234565 h 551803"/>
                <a:gd name="connsiteX39" fmla="*/ 299086 w 679955"/>
                <a:gd name="connsiteY39" fmla="*/ 277567 h 551803"/>
                <a:gd name="connsiteX40" fmla="*/ 296408 w 679955"/>
                <a:gd name="connsiteY40" fmla="*/ 293340 h 551803"/>
                <a:gd name="connsiteX41" fmla="*/ 273939 w 679955"/>
                <a:gd name="connsiteY41" fmla="*/ 301822 h 551803"/>
                <a:gd name="connsiteX42" fmla="*/ 245370 w 679955"/>
                <a:gd name="connsiteY42" fmla="*/ 277865 h 551803"/>
                <a:gd name="connsiteX43" fmla="*/ 235400 w 679955"/>
                <a:gd name="connsiteY43" fmla="*/ 273996 h 551803"/>
                <a:gd name="connsiteX44" fmla="*/ 234805 w 679955"/>
                <a:gd name="connsiteY44" fmla="*/ 273996 h 551803"/>
                <a:gd name="connsiteX45" fmla="*/ 202664 w 679955"/>
                <a:gd name="connsiteY45" fmla="*/ 262985 h 551803"/>
                <a:gd name="connsiteX46" fmla="*/ 200432 w 679955"/>
                <a:gd name="connsiteY46" fmla="*/ 263134 h 551803"/>
                <a:gd name="connsiteX47" fmla="*/ 154751 w 679955"/>
                <a:gd name="connsiteY47" fmla="*/ 273401 h 551803"/>
                <a:gd name="connsiteX48" fmla="*/ 144038 w 679955"/>
                <a:gd name="connsiteY48" fmla="*/ 260753 h 551803"/>
                <a:gd name="connsiteX49" fmla="*/ 155644 w 679955"/>
                <a:gd name="connsiteY49" fmla="*/ 247361 h 551803"/>
                <a:gd name="connsiteX50" fmla="*/ 170821 w 679955"/>
                <a:gd name="connsiteY50" fmla="*/ 247064 h 551803"/>
                <a:gd name="connsiteX51" fmla="*/ 183320 w 679955"/>
                <a:gd name="connsiteY51" fmla="*/ 242302 h 551803"/>
                <a:gd name="connsiteX52" fmla="*/ 218883 w 679955"/>
                <a:gd name="connsiteY52" fmla="*/ 241856 h 551803"/>
                <a:gd name="connsiteX53" fmla="*/ 229745 w 679955"/>
                <a:gd name="connsiteY53" fmla="*/ 246617 h 551803"/>
                <a:gd name="connsiteX54" fmla="*/ 267690 w 679955"/>
                <a:gd name="connsiteY54" fmla="*/ 261200 h 551803"/>
                <a:gd name="connsiteX55" fmla="*/ 272302 w 679955"/>
                <a:gd name="connsiteY55" fmla="*/ 264920 h 551803"/>
                <a:gd name="connsiteX56" fmla="*/ 274088 w 679955"/>
                <a:gd name="connsiteY56" fmla="*/ 265217 h 551803"/>
                <a:gd name="connsiteX57" fmla="*/ 281825 w 679955"/>
                <a:gd name="connsiteY57" fmla="*/ 219090 h 551803"/>
                <a:gd name="connsiteX58" fmla="*/ 293729 w 679955"/>
                <a:gd name="connsiteY58" fmla="*/ 146476 h 551803"/>
                <a:gd name="connsiteX59" fmla="*/ 307121 w 679955"/>
                <a:gd name="connsiteY59" fmla="*/ 133381 h 551803"/>
                <a:gd name="connsiteX60" fmla="*/ 320513 w 679955"/>
                <a:gd name="connsiteY60" fmla="*/ 146327 h 551803"/>
                <a:gd name="connsiteX61" fmla="*/ 339113 w 679955"/>
                <a:gd name="connsiteY61" fmla="*/ 260009 h 551803"/>
                <a:gd name="connsiteX62" fmla="*/ 340898 w 679955"/>
                <a:gd name="connsiteY62" fmla="*/ 269086 h 551803"/>
                <a:gd name="connsiteX63" fmla="*/ 345809 w 679955"/>
                <a:gd name="connsiteY63" fmla="*/ 258521 h 551803"/>
                <a:gd name="connsiteX64" fmla="*/ 363664 w 679955"/>
                <a:gd name="connsiteY64" fmla="*/ 246766 h 551803"/>
                <a:gd name="connsiteX65" fmla="*/ 379585 w 679955"/>
                <a:gd name="connsiteY65" fmla="*/ 246915 h 551803"/>
                <a:gd name="connsiteX66" fmla="*/ 402798 w 679955"/>
                <a:gd name="connsiteY66" fmla="*/ 237540 h 551803"/>
                <a:gd name="connsiteX67" fmla="*/ 414851 w 679955"/>
                <a:gd name="connsiteY67" fmla="*/ 226083 h 551803"/>
                <a:gd name="connsiteX68" fmla="*/ 439701 w 679955"/>
                <a:gd name="connsiteY68" fmla="*/ 227125 h 551803"/>
                <a:gd name="connsiteX69" fmla="*/ 454878 w 679955"/>
                <a:gd name="connsiteY69" fmla="*/ 243046 h 551803"/>
                <a:gd name="connsiteX70" fmla="*/ 462764 w 679955"/>
                <a:gd name="connsiteY70" fmla="*/ 246617 h 551803"/>
                <a:gd name="connsiteX71" fmla="*/ 564989 w 679955"/>
                <a:gd name="connsiteY71" fmla="*/ 246915 h 551803"/>
                <a:gd name="connsiteX72" fmla="*/ 572131 w 679955"/>
                <a:gd name="connsiteY72" fmla="*/ 241856 h 551803"/>
                <a:gd name="connsiteX73" fmla="*/ 454134 w 679955"/>
                <a:gd name="connsiteY73" fmla="*/ 30710 h 551803"/>
                <a:gd name="connsiteX74" fmla="*/ 316644 w 679955"/>
                <a:gd name="connsiteY74" fmla="*/ 68952 h 551803"/>
                <a:gd name="connsiteX75" fmla="*/ 291646 w 679955"/>
                <a:gd name="connsiteY75" fmla="*/ 68952 h 551803"/>
                <a:gd name="connsiteX76" fmla="*/ 70233 w 679955"/>
                <a:gd name="connsiteY76" fmla="*/ 77433 h 551803"/>
                <a:gd name="connsiteX77" fmla="*/ 69341 w 679955"/>
                <a:gd name="connsiteY77" fmla="*/ 296167 h 551803"/>
                <a:gd name="connsiteX78" fmla="*/ 117402 w 679955"/>
                <a:gd name="connsiteY78" fmla="*/ 345271 h 551803"/>
                <a:gd name="connsiteX79" fmla="*/ 123206 w 679955"/>
                <a:gd name="connsiteY79" fmla="*/ 353901 h 551803"/>
                <a:gd name="connsiteX80" fmla="*/ 117551 w 679955"/>
                <a:gd name="connsiteY80" fmla="*/ 368483 h 551803"/>
                <a:gd name="connsiteX81" fmla="*/ 101035 w 679955"/>
                <a:gd name="connsiteY81" fmla="*/ 366698 h 551803"/>
                <a:gd name="connsiteX82" fmla="*/ 73804 w 679955"/>
                <a:gd name="connsiteY82" fmla="*/ 339170 h 551803"/>
                <a:gd name="connsiteX83" fmla="*/ 34224 w 679955"/>
                <a:gd name="connsiteY83" fmla="*/ 295126 h 551803"/>
                <a:gd name="connsiteX84" fmla="*/ 1191 w 679955"/>
                <a:gd name="connsiteY84" fmla="*/ 208078 h 551803"/>
                <a:gd name="connsiteX85" fmla="*/ 0 w 679955"/>
                <a:gd name="connsiteY85" fmla="*/ 202275 h 551803"/>
                <a:gd name="connsiteX86" fmla="*/ 0 w 679955"/>
                <a:gd name="connsiteY86" fmla="*/ 171474 h 551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679955" h="551803">
                  <a:moveTo>
                    <a:pt x="0" y="171474"/>
                  </a:moveTo>
                  <a:cubicBezTo>
                    <a:pt x="2827" y="157933"/>
                    <a:pt x="4613" y="144095"/>
                    <a:pt x="8780" y="131150"/>
                  </a:cubicBezTo>
                  <a:cubicBezTo>
                    <a:pt x="48212" y="6456"/>
                    <a:pt x="197605" y="-39820"/>
                    <a:pt x="299681" y="40680"/>
                  </a:cubicBezTo>
                  <a:cubicBezTo>
                    <a:pt x="301020" y="41722"/>
                    <a:pt x="302359" y="42763"/>
                    <a:pt x="303252" y="43507"/>
                  </a:cubicBezTo>
                  <a:cubicBezTo>
                    <a:pt x="376461" y="-9168"/>
                    <a:pt x="451604" y="-16012"/>
                    <a:pt x="527938" y="33984"/>
                  </a:cubicBezTo>
                  <a:cubicBezTo>
                    <a:pt x="582845" y="69845"/>
                    <a:pt x="627633" y="149303"/>
                    <a:pt x="599063" y="246617"/>
                  </a:cubicBezTo>
                  <a:cubicBezTo>
                    <a:pt x="601445" y="246617"/>
                    <a:pt x="603825" y="246915"/>
                    <a:pt x="606057" y="246915"/>
                  </a:cubicBezTo>
                  <a:cubicBezTo>
                    <a:pt x="625699" y="246915"/>
                    <a:pt x="645489" y="246915"/>
                    <a:pt x="665130" y="246915"/>
                  </a:cubicBezTo>
                  <a:cubicBezTo>
                    <a:pt x="673017" y="246915"/>
                    <a:pt x="678373" y="251230"/>
                    <a:pt x="679713" y="257926"/>
                  </a:cubicBezTo>
                  <a:cubicBezTo>
                    <a:pt x="680903" y="263878"/>
                    <a:pt x="677630" y="270574"/>
                    <a:pt x="671826" y="272657"/>
                  </a:cubicBezTo>
                  <a:cubicBezTo>
                    <a:pt x="668999" y="273699"/>
                    <a:pt x="665726" y="273847"/>
                    <a:pt x="662750" y="273847"/>
                  </a:cubicBezTo>
                  <a:cubicBezTo>
                    <a:pt x="639686" y="273847"/>
                    <a:pt x="616622" y="273996"/>
                    <a:pt x="593707" y="273847"/>
                  </a:cubicBezTo>
                  <a:cubicBezTo>
                    <a:pt x="588945" y="273847"/>
                    <a:pt x="586565" y="275484"/>
                    <a:pt x="583887" y="279502"/>
                  </a:cubicBezTo>
                  <a:cubicBezTo>
                    <a:pt x="574214" y="293340"/>
                    <a:pt x="564989" y="307773"/>
                    <a:pt x="553382" y="319826"/>
                  </a:cubicBezTo>
                  <a:cubicBezTo>
                    <a:pt x="482555" y="392142"/>
                    <a:pt x="411131" y="463863"/>
                    <a:pt x="339856" y="535584"/>
                  </a:cubicBezTo>
                  <a:cubicBezTo>
                    <a:pt x="318578" y="557160"/>
                    <a:pt x="289711" y="557160"/>
                    <a:pt x="268433" y="535882"/>
                  </a:cubicBezTo>
                  <a:cubicBezTo>
                    <a:pt x="241650" y="508949"/>
                    <a:pt x="214865" y="481868"/>
                    <a:pt x="188082" y="454787"/>
                  </a:cubicBezTo>
                  <a:cubicBezTo>
                    <a:pt x="186743" y="453447"/>
                    <a:pt x="185254" y="451959"/>
                    <a:pt x="184213" y="450323"/>
                  </a:cubicBezTo>
                  <a:cubicBezTo>
                    <a:pt x="180642" y="444966"/>
                    <a:pt x="181535" y="438270"/>
                    <a:pt x="185998" y="433806"/>
                  </a:cubicBezTo>
                  <a:cubicBezTo>
                    <a:pt x="190314" y="429491"/>
                    <a:pt x="197307" y="428598"/>
                    <a:pt x="202516" y="432020"/>
                  </a:cubicBezTo>
                  <a:cubicBezTo>
                    <a:pt x="204747" y="433508"/>
                    <a:pt x="206533" y="435443"/>
                    <a:pt x="208467" y="437377"/>
                  </a:cubicBezTo>
                  <a:cubicBezTo>
                    <a:pt x="234507" y="463566"/>
                    <a:pt x="260398" y="489903"/>
                    <a:pt x="286437" y="516092"/>
                  </a:cubicBezTo>
                  <a:cubicBezTo>
                    <a:pt x="298342" y="528144"/>
                    <a:pt x="309799" y="528144"/>
                    <a:pt x="321703" y="516240"/>
                  </a:cubicBezTo>
                  <a:cubicBezTo>
                    <a:pt x="392531" y="444817"/>
                    <a:pt x="463210" y="373542"/>
                    <a:pt x="533890" y="301970"/>
                  </a:cubicBezTo>
                  <a:cubicBezTo>
                    <a:pt x="541776" y="293935"/>
                    <a:pt x="548620" y="284859"/>
                    <a:pt x="555912" y="276377"/>
                  </a:cubicBezTo>
                  <a:lnTo>
                    <a:pt x="555020" y="274591"/>
                  </a:lnTo>
                  <a:cubicBezTo>
                    <a:pt x="552787" y="274591"/>
                    <a:pt x="550555" y="274294"/>
                    <a:pt x="548324" y="274294"/>
                  </a:cubicBezTo>
                  <a:cubicBezTo>
                    <a:pt x="518266" y="274294"/>
                    <a:pt x="488060" y="274145"/>
                    <a:pt x="458003" y="274294"/>
                  </a:cubicBezTo>
                  <a:cubicBezTo>
                    <a:pt x="450116" y="274294"/>
                    <a:pt x="443867" y="272360"/>
                    <a:pt x="438808" y="266110"/>
                  </a:cubicBezTo>
                  <a:cubicBezTo>
                    <a:pt x="435088" y="261497"/>
                    <a:pt x="430326" y="257777"/>
                    <a:pt x="425714" y="253164"/>
                  </a:cubicBezTo>
                  <a:cubicBezTo>
                    <a:pt x="420356" y="258075"/>
                    <a:pt x="414702" y="263134"/>
                    <a:pt x="409494" y="268491"/>
                  </a:cubicBezTo>
                  <a:cubicBezTo>
                    <a:pt x="405328" y="272657"/>
                    <a:pt x="400418" y="274591"/>
                    <a:pt x="394614" y="274294"/>
                  </a:cubicBezTo>
                  <a:cubicBezTo>
                    <a:pt x="387472" y="273996"/>
                    <a:pt x="380478" y="274443"/>
                    <a:pt x="373336" y="274145"/>
                  </a:cubicBezTo>
                  <a:cubicBezTo>
                    <a:pt x="369318" y="273996"/>
                    <a:pt x="367384" y="275484"/>
                    <a:pt x="365896" y="279055"/>
                  </a:cubicBezTo>
                  <a:cubicBezTo>
                    <a:pt x="359944" y="292299"/>
                    <a:pt x="353844" y="305393"/>
                    <a:pt x="347742" y="318487"/>
                  </a:cubicBezTo>
                  <a:cubicBezTo>
                    <a:pt x="344171" y="326076"/>
                    <a:pt x="339410" y="329349"/>
                    <a:pt x="333011" y="328605"/>
                  </a:cubicBezTo>
                  <a:cubicBezTo>
                    <a:pt x="326316" y="327861"/>
                    <a:pt x="322298" y="323546"/>
                    <a:pt x="320810" y="314767"/>
                  </a:cubicBezTo>
                  <a:cubicBezTo>
                    <a:pt x="316495" y="289323"/>
                    <a:pt x="312477" y="263729"/>
                    <a:pt x="308311" y="238136"/>
                  </a:cubicBezTo>
                  <a:cubicBezTo>
                    <a:pt x="308162" y="236945"/>
                    <a:pt x="307716" y="235755"/>
                    <a:pt x="306228" y="234565"/>
                  </a:cubicBezTo>
                  <a:cubicBezTo>
                    <a:pt x="303847" y="248998"/>
                    <a:pt x="301466" y="263283"/>
                    <a:pt x="299086" y="277567"/>
                  </a:cubicBezTo>
                  <a:cubicBezTo>
                    <a:pt x="298193" y="282775"/>
                    <a:pt x="297449" y="288132"/>
                    <a:pt x="296408" y="293340"/>
                  </a:cubicBezTo>
                  <a:cubicBezTo>
                    <a:pt x="294175" y="305095"/>
                    <a:pt x="283313" y="309410"/>
                    <a:pt x="273939" y="301822"/>
                  </a:cubicBezTo>
                  <a:cubicBezTo>
                    <a:pt x="264267" y="293935"/>
                    <a:pt x="255041" y="285603"/>
                    <a:pt x="245370" y="277865"/>
                  </a:cubicBezTo>
                  <a:cubicBezTo>
                    <a:pt x="242691" y="275782"/>
                    <a:pt x="238674" y="275187"/>
                    <a:pt x="235400" y="273996"/>
                  </a:cubicBezTo>
                  <a:cubicBezTo>
                    <a:pt x="235251" y="273996"/>
                    <a:pt x="234954" y="273996"/>
                    <a:pt x="234805" y="273996"/>
                  </a:cubicBezTo>
                  <a:cubicBezTo>
                    <a:pt x="222305" y="274889"/>
                    <a:pt x="210253" y="274591"/>
                    <a:pt x="202664" y="262985"/>
                  </a:cubicBezTo>
                  <a:cubicBezTo>
                    <a:pt x="201325" y="262985"/>
                    <a:pt x="200730" y="262985"/>
                    <a:pt x="200432" y="263134"/>
                  </a:cubicBezTo>
                  <a:cubicBezTo>
                    <a:pt x="187784" y="278311"/>
                    <a:pt x="170673" y="273847"/>
                    <a:pt x="154751" y="273401"/>
                  </a:cubicBezTo>
                  <a:cubicBezTo>
                    <a:pt x="148651" y="273252"/>
                    <a:pt x="144186" y="267003"/>
                    <a:pt x="144038" y="260753"/>
                  </a:cubicBezTo>
                  <a:cubicBezTo>
                    <a:pt x="144038" y="254206"/>
                    <a:pt x="148651" y="248254"/>
                    <a:pt x="155644" y="247361"/>
                  </a:cubicBezTo>
                  <a:cubicBezTo>
                    <a:pt x="160703" y="246766"/>
                    <a:pt x="165762" y="246766"/>
                    <a:pt x="170821" y="247064"/>
                  </a:cubicBezTo>
                  <a:cubicBezTo>
                    <a:pt x="175880" y="247361"/>
                    <a:pt x="179600" y="245576"/>
                    <a:pt x="183320" y="242302"/>
                  </a:cubicBezTo>
                  <a:cubicBezTo>
                    <a:pt x="200730" y="227125"/>
                    <a:pt x="201027" y="227422"/>
                    <a:pt x="218883" y="241856"/>
                  </a:cubicBezTo>
                  <a:cubicBezTo>
                    <a:pt x="221859" y="244385"/>
                    <a:pt x="226323" y="247064"/>
                    <a:pt x="229745" y="246617"/>
                  </a:cubicBezTo>
                  <a:cubicBezTo>
                    <a:pt x="245221" y="244683"/>
                    <a:pt x="257422" y="249891"/>
                    <a:pt x="267690" y="261200"/>
                  </a:cubicBezTo>
                  <a:cubicBezTo>
                    <a:pt x="269028" y="262688"/>
                    <a:pt x="270665" y="263729"/>
                    <a:pt x="272302" y="264920"/>
                  </a:cubicBezTo>
                  <a:cubicBezTo>
                    <a:pt x="272599" y="265217"/>
                    <a:pt x="273195" y="265068"/>
                    <a:pt x="274088" y="265217"/>
                  </a:cubicBezTo>
                  <a:cubicBezTo>
                    <a:pt x="276617" y="249891"/>
                    <a:pt x="279295" y="234416"/>
                    <a:pt x="281825" y="219090"/>
                  </a:cubicBezTo>
                  <a:cubicBezTo>
                    <a:pt x="285843" y="194835"/>
                    <a:pt x="289711" y="170730"/>
                    <a:pt x="293729" y="146476"/>
                  </a:cubicBezTo>
                  <a:cubicBezTo>
                    <a:pt x="295217" y="137994"/>
                    <a:pt x="299979" y="133381"/>
                    <a:pt x="307121" y="133381"/>
                  </a:cubicBezTo>
                  <a:cubicBezTo>
                    <a:pt x="314263" y="133381"/>
                    <a:pt x="319173" y="137994"/>
                    <a:pt x="320513" y="146327"/>
                  </a:cubicBezTo>
                  <a:cubicBezTo>
                    <a:pt x="326762" y="184122"/>
                    <a:pt x="332862" y="222066"/>
                    <a:pt x="339113" y="260009"/>
                  </a:cubicBezTo>
                  <a:cubicBezTo>
                    <a:pt x="339559" y="262390"/>
                    <a:pt x="340005" y="264771"/>
                    <a:pt x="340898" y="269086"/>
                  </a:cubicBezTo>
                  <a:cubicBezTo>
                    <a:pt x="342982" y="264622"/>
                    <a:pt x="344618" y="261646"/>
                    <a:pt x="345809" y="258521"/>
                  </a:cubicBezTo>
                  <a:cubicBezTo>
                    <a:pt x="348933" y="250040"/>
                    <a:pt x="354736" y="246320"/>
                    <a:pt x="363664" y="246766"/>
                  </a:cubicBezTo>
                  <a:cubicBezTo>
                    <a:pt x="369021" y="247064"/>
                    <a:pt x="374378" y="246171"/>
                    <a:pt x="379585" y="246915"/>
                  </a:cubicBezTo>
                  <a:cubicBezTo>
                    <a:pt x="389258" y="248254"/>
                    <a:pt x="396549" y="244832"/>
                    <a:pt x="402798" y="237540"/>
                  </a:cubicBezTo>
                  <a:cubicBezTo>
                    <a:pt x="406369" y="233374"/>
                    <a:pt x="410834" y="229803"/>
                    <a:pt x="414851" y="226083"/>
                  </a:cubicBezTo>
                  <a:cubicBezTo>
                    <a:pt x="424523" y="217155"/>
                    <a:pt x="430475" y="217453"/>
                    <a:pt x="439701" y="227125"/>
                  </a:cubicBezTo>
                  <a:cubicBezTo>
                    <a:pt x="444759" y="232481"/>
                    <a:pt x="449521" y="237987"/>
                    <a:pt x="454878" y="243046"/>
                  </a:cubicBezTo>
                  <a:cubicBezTo>
                    <a:pt x="456961" y="244980"/>
                    <a:pt x="460086" y="246617"/>
                    <a:pt x="462764" y="246617"/>
                  </a:cubicBezTo>
                  <a:cubicBezTo>
                    <a:pt x="496839" y="246915"/>
                    <a:pt x="530914" y="246617"/>
                    <a:pt x="564989" y="246915"/>
                  </a:cubicBezTo>
                  <a:cubicBezTo>
                    <a:pt x="568858" y="246915"/>
                    <a:pt x="570792" y="245724"/>
                    <a:pt x="572131" y="241856"/>
                  </a:cubicBezTo>
                  <a:cubicBezTo>
                    <a:pt x="605314" y="147369"/>
                    <a:pt x="547580" y="49013"/>
                    <a:pt x="454134" y="30710"/>
                  </a:cubicBezTo>
                  <a:cubicBezTo>
                    <a:pt x="402501" y="20592"/>
                    <a:pt x="356373" y="33686"/>
                    <a:pt x="316644" y="68952"/>
                  </a:cubicBezTo>
                  <a:cubicBezTo>
                    <a:pt x="306675" y="77880"/>
                    <a:pt x="301615" y="78028"/>
                    <a:pt x="291646" y="68952"/>
                  </a:cubicBezTo>
                  <a:cubicBezTo>
                    <a:pt x="226621" y="10474"/>
                    <a:pt x="130348" y="14045"/>
                    <a:pt x="70233" y="77433"/>
                  </a:cubicBezTo>
                  <a:cubicBezTo>
                    <a:pt x="12648" y="137994"/>
                    <a:pt x="12202" y="234565"/>
                    <a:pt x="69341" y="296167"/>
                  </a:cubicBezTo>
                  <a:cubicBezTo>
                    <a:pt x="84964" y="312982"/>
                    <a:pt x="101481" y="328754"/>
                    <a:pt x="117402" y="345271"/>
                  </a:cubicBezTo>
                  <a:cubicBezTo>
                    <a:pt x="119784" y="347800"/>
                    <a:pt x="122313" y="350776"/>
                    <a:pt x="123206" y="353901"/>
                  </a:cubicBezTo>
                  <a:cubicBezTo>
                    <a:pt x="124842" y="359704"/>
                    <a:pt x="122908" y="364912"/>
                    <a:pt x="117551" y="368483"/>
                  </a:cubicBezTo>
                  <a:cubicBezTo>
                    <a:pt x="112344" y="371906"/>
                    <a:pt x="105945" y="371459"/>
                    <a:pt x="101035" y="366698"/>
                  </a:cubicBezTo>
                  <a:cubicBezTo>
                    <a:pt x="91809" y="357770"/>
                    <a:pt x="82584" y="348693"/>
                    <a:pt x="73804" y="339170"/>
                  </a:cubicBezTo>
                  <a:cubicBezTo>
                    <a:pt x="60264" y="324737"/>
                    <a:pt x="46128" y="310749"/>
                    <a:pt x="34224" y="295126"/>
                  </a:cubicBezTo>
                  <a:cubicBezTo>
                    <a:pt x="14880" y="269681"/>
                    <a:pt x="4613" y="240070"/>
                    <a:pt x="1191" y="208078"/>
                  </a:cubicBezTo>
                  <a:cubicBezTo>
                    <a:pt x="1042" y="206144"/>
                    <a:pt x="447" y="204210"/>
                    <a:pt x="0" y="202275"/>
                  </a:cubicBezTo>
                  <a:lnTo>
                    <a:pt x="0" y="171474"/>
                  </a:lnTo>
                  <a:close/>
                </a:path>
              </a:pathLst>
            </a:custGeom>
            <a:solidFill>
              <a:schemeClr val="accent1"/>
            </a:solidFill>
            <a:ln w="148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923C25E-DC45-C89D-3ECE-EE050F98700A}"/>
                </a:ext>
              </a:extLst>
            </p:cNvPr>
            <p:cNvGrpSpPr/>
            <p:nvPr/>
          </p:nvGrpSpPr>
          <p:grpSpPr>
            <a:xfrm>
              <a:off x="4762492" y="3459209"/>
              <a:ext cx="2186720" cy="1844876"/>
              <a:chOff x="5661292" y="933597"/>
              <a:chExt cx="2186720" cy="1844876"/>
            </a:xfrm>
          </p:grpSpPr>
          <p:sp>
            <p:nvSpPr>
              <p:cNvPr id="28" name="CaixaDeTexto 20">
                <a:extLst>
                  <a:ext uri="{FF2B5EF4-FFF2-40B4-BE49-F238E27FC236}">
                    <a16:creationId xmlns:a16="http://schemas.microsoft.com/office/drawing/2014/main" id="{BB546356-BE36-3E94-3AB1-CFA25075D0CA}"/>
                  </a:ext>
                </a:extLst>
              </p:cNvPr>
              <p:cNvSpPr txBox="1"/>
              <p:nvPr/>
            </p:nvSpPr>
            <p:spPr>
              <a:xfrm>
                <a:off x="5661293" y="933597"/>
                <a:ext cx="2186719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srgbClr val="B53E8A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148</a:t>
                </a: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B53E8A"/>
                  </a:solidFill>
                  <a:effectLst/>
                  <a:uLnTx/>
                  <a:uFillTx/>
                  <a:latin typeface="PT Sans" panose="020B0503020203020204" pitchFamily="34" charset="0"/>
                  <a:ea typeface="Helvetica Neue Medium"/>
                  <a:cs typeface="Arial" panose="020B0604020202020204" pitchFamily="34" charset="0"/>
                  <a:sym typeface="Helvetica Neue Medium"/>
                </a:endParaRPr>
              </a:p>
            </p:txBody>
          </p:sp>
          <p:sp>
            <p:nvSpPr>
              <p:cNvPr id="29" name="CaixaDeTexto 20">
                <a:extLst>
                  <a:ext uri="{FF2B5EF4-FFF2-40B4-BE49-F238E27FC236}">
                    <a16:creationId xmlns:a16="http://schemas.microsoft.com/office/drawing/2014/main" id="{C5B2372E-D6E6-0319-038E-68567AAC7413}"/>
                  </a:ext>
                </a:extLst>
              </p:cNvPr>
              <p:cNvSpPr txBox="1"/>
              <p:nvPr/>
            </p:nvSpPr>
            <p:spPr>
              <a:xfrm>
                <a:off x="5661292" y="1702119"/>
                <a:ext cx="1668433" cy="107635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countries have benefited from access to MPP’s products</a:t>
                </a:r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28B08CF-69B5-1364-C01D-96ABF6A40B8A}"/>
                </a:ext>
              </a:extLst>
            </p:cNvPr>
            <p:cNvSpPr/>
            <p:nvPr/>
          </p:nvSpPr>
          <p:spPr>
            <a:xfrm>
              <a:off x="5981700" y="5488642"/>
              <a:ext cx="690772" cy="664226"/>
            </a:xfrm>
            <a:custGeom>
              <a:avLst/>
              <a:gdLst>
                <a:gd name="connsiteX0" fmla="*/ 332089 w 622693"/>
                <a:gd name="connsiteY0" fmla="*/ 149 h 598765"/>
                <a:gd name="connsiteX1" fmla="*/ 290723 w 622693"/>
                <a:gd name="connsiteY1" fmla="*/ 149 h 598765"/>
                <a:gd name="connsiteX2" fmla="*/ 257244 w 622693"/>
                <a:gd name="connsiteY2" fmla="*/ 4910 h 598765"/>
                <a:gd name="connsiteX3" fmla="*/ 55026 w 622693"/>
                <a:gd name="connsiteY3" fmla="*/ 130645 h 598765"/>
                <a:gd name="connsiteX4" fmla="*/ 28243 w 622693"/>
                <a:gd name="connsiteY4" fmla="*/ 175582 h 598765"/>
                <a:gd name="connsiteX5" fmla="*/ 23183 w 622693"/>
                <a:gd name="connsiteY5" fmla="*/ 182427 h 598765"/>
                <a:gd name="connsiteX6" fmla="*/ 22142 w 622693"/>
                <a:gd name="connsiteY6" fmla="*/ 183766 h 598765"/>
                <a:gd name="connsiteX7" fmla="*/ 9792 w 622693"/>
                <a:gd name="connsiteY7" fmla="*/ 226620 h 598765"/>
                <a:gd name="connsiteX8" fmla="*/ 46247 w 622693"/>
                <a:gd name="connsiteY8" fmla="*/ 456068 h 598765"/>
                <a:gd name="connsiteX9" fmla="*/ 236561 w 622693"/>
                <a:gd name="connsiteY9" fmla="*/ 589986 h 598765"/>
                <a:gd name="connsiteX10" fmla="*/ 286111 w 622693"/>
                <a:gd name="connsiteY10" fmla="*/ 597724 h 598765"/>
                <a:gd name="connsiteX11" fmla="*/ 290723 w 622693"/>
                <a:gd name="connsiteY11" fmla="*/ 598766 h 598765"/>
                <a:gd name="connsiteX12" fmla="*/ 332089 w 622693"/>
                <a:gd name="connsiteY12" fmla="*/ 598766 h 598765"/>
                <a:gd name="connsiteX13" fmla="*/ 358427 w 622693"/>
                <a:gd name="connsiteY13" fmla="*/ 595343 h 598765"/>
                <a:gd name="connsiteX14" fmla="*/ 522105 w 622693"/>
                <a:gd name="connsiteY14" fmla="*/ 519753 h 598765"/>
                <a:gd name="connsiteX15" fmla="*/ 617336 w 622693"/>
                <a:gd name="connsiteY15" fmla="*/ 355480 h 598765"/>
                <a:gd name="connsiteX16" fmla="*/ 621503 w 622693"/>
                <a:gd name="connsiteY16" fmla="*/ 324827 h 598765"/>
                <a:gd name="connsiteX17" fmla="*/ 622693 w 622693"/>
                <a:gd name="connsiteY17" fmla="*/ 320363 h 598765"/>
                <a:gd name="connsiteX18" fmla="*/ 622693 w 622693"/>
                <a:gd name="connsiteY18" fmla="*/ 279444 h 598765"/>
                <a:gd name="connsiteX19" fmla="*/ 617931 w 622693"/>
                <a:gd name="connsiteY19" fmla="*/ 247303 h 598765"/>
                <a:gd name="connsiteX20" fmla="*/ 540110 w 622693"/>
                <a:gd name="connsiteY20" fmla="*/ 96421 h 598765"/>
                <a:gd name="connsiteX21" fmla="*/ 361998 w 622693"/>
                <a:gd name="connsiteY21" fmla="*/ 3869 h 598765"/>
                <a:gd name="connsiteX22" fmla="*/ 332089 w 622693"/>
                <a:gd name="connsiteY22" fmla="*/ 0 h 598765"/>
                <a:gd name="connsiteX23" fmla="*/ 127045 w 622693"/>
                <a:gd name="connsiteY23" fmla="*/ 254148 h 598765"/>
                <a:gd name="connsiteX24" fmla="*/ 125110 w 622693"/>
                <a:gd name="connsiteY24" fmla="*/ 253255 h 598765"/>
                <a:gd name="connsiteX25" fmla="*/ 124962 w 622693"/>
                <a:gd name="connsiteY25" fmla="*/ 242542 h 598765"/>
                <a:gd name="connsiteX26" fmla="*/ 119605 w 622693"/>
                <a:gd name="connsiteY26" fmla="*/ 230191 h 598765"/>
                <a:gd name="connsiteX27" fmla="*/ 112314 w 622693"/>
                <a:gd name="connsiteY27" fmla="*/ 223198 h 598765"/>
                <a:gd name="connsiteX28" fmla="*/ 104576 w 622693"/>
                <a:gd name="connsiteY28" fmla="*/ 202217 h 598765"/>
                <a:gd name="connsiteX29" fmla="*/ 108594 w 622693"/>
                <a:gd name="connsiteY29" fmla="*/ 197902 h 598765"/>
                <a:gd name="connsiteX30" fmla="*/ 161417 w 622693"/>
                <a:gd name="connsiteY30" fmla="*/ 190462 h 598765"/>
                <a:gd name="connsiteX31" fmla="*/ 176148 w 622693"/>
                <a:gd name="connsiteY31" fmla="*/ 185701 h 598765"/>
                <a:gd name="connsiteX32" fmla="*/ 220937 w 622693"/>
                <a:gd name="connsiteY32" fmla="*/ 159959 h 598765"/>
                <a:gd name="connsiteX33" fmla="*/ 228972 w 622693"/>
                <a:gd name="connsiteY33" fmla="*/ 152221 h 598765"/>
                <a:gd name="connsiteX34" fmla="*/ 254119 w 622693"/>
                <a:gd name="connsiteY34" fmla="*/ 112343 h 598765"/>
                <a:gd name="connsiteX35" fmla="*/ 261261 w 622693"/>
                <a:gd name="connsiteY35" fmla="*/ 106837 h 598765"/>
                <a:gd name="connsiteX36" fmla="*/ 280754 w 622693"/>
                <a:gd name="connsiteY36" fmla="*/ 100588 h 598765"/>
                <a:gd name="connsiteX37" fmla="*/ 291467 w 622693"/>
                <a:gd name="connsiteY37" fmla="*/ 90470 h 598765"/>
                <a:gd name="connsiteX38" fmla="*/ 300098 w 622693"/>
                <a:gd name="connsiteY38" fmla="*/ 65620 h 598765"/>
                <a:gd name="connsiteX39" fmla="*/ 289682 w 622693"/>
                <a:gd name="connsiteY39" fmla="*/ 49401 h 598765"/>
                <a:gd name="connsiteX40" fmla="*/ 236561 w 622693"/>
                <a:gd name="connsiteY40" fmla="*/ 40771 h 598765"/>
                <a:gd name="connsiteX41" fmla="*/ 223020 w 622693"/>
                <a:gd name="connsiteY41" fmla="*/ 34819 h 598765"/>
                <a:gd name="connsiteX42" fmla="*/ 305752 w 622693"/>
                <a:gd name="connsiteY42" fmla="*/ 20832 h 598765"/>
                <a:gd name="connsiteX43" fmla="*/ 420327 w 622693"/>
                <a:gd name="connsiteY43" fmla="*/ 41366 h 598765"/>
                <a:gd name="connsiteX44" fmla="*/ 396222 w 622693"/>
                <a:gd name="connsiteY44" fmla="*/ 50145 h 598765"/>
                <a:gd name="connsiteX45" fmla="*/ 394882 w 622693"/>
                <a:gd name="connsiteY45" fmla="*/ 50145 h 598765"/>
                <a:gd name="connsiteX46" fmla="*/ 384466 w 622693"/>
                <a:gd name="connsiteY46" fmla="*/ 49847 h 598765"/>
                <a:gd name="connsiteX47" fmla="*/ 376729 w 622693"/>
                <a:gd name="connsiteY47" fmla="*/ 49847 h 598765"/>
                <a:gd name="connsiteX48" fmla="*/ 369140 w 622693"/>
                <a:gd name="connsiteY48" fmla="*/ 49847 h 598765"/>
                <a:gd name="connsiteX49" fmla="*/ 365867 w 622693"/>
                <a:gd name="connsiteY49" fmla="*/ 49847 h 598765"/>
                <a:gd name="connsiteX50" fmla="*/ 365569 w 622693"/>
                <a:gd name="connsiteY50" fmla="*/ 49847 h 598765"/>
                <a:gd name="connsiteX51" fmla="*/ 353070 w 622693"/>
                <a:gd name="connsiteY51" fmla="*/ 57734 h 598765"/>
                <a:gd name="connsiteX52" fmla="*/ 334768 w 622693"/>
                <a:gd name="connsiteY52" fmla="*/ 93297 h 598765"/>
                <a:gd name="connsiteX53" fmla="*/ 342357 w 622693"/>
                <a:gd name="connsiteY53" fmla="*/ 110409 h 598765"/>
                <a:gd name="connsiteX54" fmla="*/ 375092 w 622693"/>
                <a:gd name="connsiteY54" fmla="*/ 118593 h 598765"/>
                <a:gd name="connsiteX55" fmla="*/ 405298 w 622693"/>
                <a:gd name="connsiteY55" fmla="*/ 112789 h 598765"/>
                <a:gd name="connsiteX56" fmla="*/ 413482 w 622693"/>
                <a:gd name="connsiteY56" fmla="*/ 111748 h 598765"/>
                <a:gd name="connsiteX57" fmla="*/ 424642 w 622693"/>
                <a:gd name="connsiteY57" fmla="*/ 113384 h 598765"/>
                <a:gd name="connsiteX58" fmla="*/ 495768 w 622693"/>
                <a:gd name="connsiteY58" fmla="*/ 129603 h 598765"/>
                <a:gd name="connsiteX59" fmla="*/ 497405 w 622693"/>
                <a:gd name="connsiteY59" fmla="*/ 129752 h 598765"/>
                <a:gd name="connsiteX60" fmla="*/ 506481 w 622693"/>
                <a:gd name="connsiteY60" fmla="*/ 126925 h 598765"/>
                <a:gd name="connsiteX61" fmla="*/ 528355 w 622693"/>
                <a:gd name="connsiteY61" fmla="*/ 113087 h 598765"/>
                <a:gd name="connsiteX62" fmla="*/ 559602 w 622693"/>
                <a:gd name="connsiteY62" fmla="*/ 152965 h 598765"/>
                <a:gd name="connsiteX63" fmla="*/ 509904 w 622693"/>
                <a:gd name="connsiteY63" fmla="*/ 168440 h 598765"/>
                <a:gd name="connsiteX64" fmla="*/ 506035 w 622693"/>
                <a:gd name="connsiteY64" fmla="*/ 168886 h 598765"/>
                <a:gd name="connsiteX65" fmla="*/ 493387 w 622693"/>
                <a:gd name="connsiteY65" fmla="*/ 167101 h 598765"/>
                <a:gd name="connsiteX66" fmla="*/ 458717 w 622693"/>
                <a:gd name="connsiteY66" fmla="*/ 161298 h 598765"/>
                <a:gd name="connsiteX67" fmla="*/ 450236 w 622693"/>
                <a:gd name="connsiteY67" fmla="*/ 156090 h 598765"/>
                <a:gd name="connsiteX68" fmla="*/ 435951 w 622693"/>
                <a:gd name="connsiteY68" fmla="*/ 135853 h 598765"/>
                <a:gd name="connsiteX69" fmla="*/ 424493 w 622693"/>
                <a:gd name="connsiteY69" fmla="*/ 129901 h 598765"/>
                <a:gd name="connsiteX70" fmla="*/ 424345 w 622693"/>
                <a:gd name="connsiteY70" fmla="*/ 129901 h 598765"/>
                <a:gd name="connsiteX71" fmla="*/ 410357 w 622693"/>
                <a:gd name="connsiteY71" fmla="*/ 129901 h 598765"/>
                <a:gd name="connsiteX72" fmla="*/ 401578 w 622693"/>
                <a:gd name="connsiteY72" fmla="*/ 129901 h 598765"/>
                <a:gd name="connsiteX73" fmla="*/ 391907 w 622693"/>
                <a:gd name="connsiteY73" fmla="*/ 129901 h 598765"/>
                <a:gd name="connsiteX74" fmla="*/ 366611 w 622693"/>
                <a:gd name="connsiteY74" fmla="*/ 130199 h 598765"/>
                <a:gd name="connsiteX75" fmla="*/ 354856 w 622693"/>
                <a:gd name="connsiteY75" fmla="*/ 134663 h 598765"/>
                <a:gd name="connsiteX76" fmla="*/ 327179 w 622693"/>
                <a:gd name="connsiteY76" fmla="*/ 160851 h 598765"/>
                <a:gd name="connsiteX77" fmla="*/ 322864 w 622693"/>
                <a:gd name="connsiteY77" fmla="*/ 172904 h 598765"/>
                <a:gd name="connsiteX78" fmla="*/ 333131 w 622693"/>
                <a:gd name="connsiteY78" fmla="*/ 240459 h 598765"/>
                <a:gd name="connsiteX79" fmla="*/ 340125 w 622693"/>
                <a:gd name="connsiteY79" fmla="*/ 248940 h 598765"/>
                <a:gd name="connsiteX80" fmla="*/ 410804 w 622693"/>
                <a:gd name="connsiteY80" fmla="*/ 278253 h 598765"/>
                <a:gd name="connsiteX81" fmla="*/ 416310 w 622693"/>
                <a:gd name="connsiteY81" fmla="*/ 279146 h 598765"/>
                <a:gd name="connsiteX82" fmla="*/ 420178 w 622693"/>
                <a:gd name="connsiteY82" fmla="*/ 278700 h 598765"/>
                <a:gd name="connsiteX83" fmla="*/ 449492 w 622693"/>
                <a:gd name="connsiteY83" fmla="*/ 271706 h 598765"/>
                <a:gd name="connsiteX84" fmla="*/ 452765 w 622693"/>
                <a:gd name="connsiteY84" fmla="*/ 271260 h 598765"/>
                <a:gd name="connsiteX85" fmla="*/ 460205 w 622693"/>
                <a:gd name="connsiteY85" fmla="*/ 273194 h 598765"/>
                <a:gd name="connsiteX86" fmla="*/ 477912 w 622693"/>
                <a:gd name="connsiteY86" fmla="*/ 304888 h 598765"/>
                <a:gd name="connsiteX87" fmla="*/ 485501 w 622693"/>
                <a:gd name="connsiteY87" fmla="*/ 336582 h 598765"/>
                <a:gd name="connsiteX88" fmla="*/ 516749 w 622693"/>
                <a:gd name="connsiteY88" fmla="*/ 396548 h 598765"/>
                <a:gd name="connsiteX89" fmla="*/ 519278 w 622693"/>
                <a:gd name="connsiteY89" fmla="*/ 406518 h 598765"/>
                <a:gd name="connsiteX90" fmla="*/ 519278 w 622693"/>
                <a:gd name="connsiteY90" fmla="*/ 434641 h 598765"/>
                <a:gd name="connsiteX91" fmla="*/ 525528 w 622693"/>
                <a:gd name="connsiteY91" fmla="*/ 449223 h 598765"/>
                <a:gd name="connsiteX92" fmla="*/ 544276 w 622693"/>
                <a:gd name="connsiteY92" fmla="*/ 466484 h 598765"/>
                <a:gd name="connsiteX93" fmla="*/ 311853 w 622693"/>
                <a:gd name="connsiteY93" fmla="*/ 578529 h 598765"/>
                <a:gd name="connsiteX94" fmla="*/ 187160 w 622693"/>
                <a:gd name="connsiteY94" fmla="*/ 551150 h 598765"/>
                <a:gd name="connsiteX95" fmla="*/ 34790 w 622693"/>
                <a:gd name="connsiteY95" fmla="*/ 218883 h 598765"/>
                <a:gd name="connsiteX96" fmla="*/ 41337 w 622693"/>
                <a:gd name="connsiteY96" fmla="*/ 237631 h 598765"/>
                <a:gd name="connsiteX97" fmla="*/ 51604 w 622693"/>
                <a:gd name="connsiteY97" fmla="*/ 250726 h 598765"/>
                <a:gd name="connsiteX98" fmla="*/ 93565 w 622693"/>
                <a:gd name="connsiteY98" fmla="*/ 277509 h 598765"/>
                <a:gd name="connsiteX99" fmla="*/ 98476 w 622693"/>
                <a:gd name="connsiteY99" fmla="*/ 280783 h 598765"/>
                <a:gd name="connsiteX100" fmla="*/ 98029 w 622693"/>
                <a:gd name="connsiteY100" fmla="*/ 281527 h 598765"/>
                <a:gd name="connsiteX101" fmla="*/ 83893 w 622693"/>
                <a:gd name="connsiteY101" fmla="*/ 310543 h 598765"/>
                <a:gd name="connsiteX102" fmla="*/ 89845 w 622693"/>
                <a:gd name="connsiteY102" fmla="*/ 342683 h 598765"/>
                <a:gd name="connsiteX103" fmla="*/ 104576 w 622693"/>
                <a:gd name="connsiteY103" fmla="*/ 370806 h 598765"/>
                <a:gd name="connsiteX104" fmla="*/ 117075 w 622693"/>
                <a:gd name="connsiteY104" fmla="*/ 379734 h 598765"/>
                <a:gd name="connsiteX105" fmla="*/ 156953 w 622693"/>
                <a:gd name="connsiteY105" fmla="*/ 387174 h 598765"/>
                <a:gd name="connsiteX106" fmla="*/ 156953 w 622693"/>
                <a:gd name="connsiteY106" fmla="*/ 393572 h 598765"/>
                <a:gd name="connsiteX107" fmla="*/ 156953 w 622693"/>
                <a:gd name="connsiteY107" fmla="*/ 474816 h 598765"/>
                <a:gd name="connsiteX108" fmla="*/ 159185 w 622693"/>
                <a:gd name="connsiteY108" fmla="*/ 486125 h 598765"/>
                <a:gd name="connsiteX109" fmla="*/ 176744 w 622693"/>
                <a:gd name="connsiteY109" fmla="*/ 528979 h 598765"/>
                <a:gd name="connsiteX110" fmla="*/ 188052 w 622693"/>
                <a:gd name="connsiteY110" fmla="*/ 539395 h 598765"/>
                <a:gd name="connsiteX111" fmla="*/ 213943 w 622693"/>
                <a:gd name="connsiteY111" fmla="*/ 547579 h 598765"/>
                <a:gd name="connsiteX112" fmla="*/ 219300 w 622693"/>
                <a:gd name="connsiteY112" fmla="*/ 548472 h 598765"/>
                <a:gd name="connsiteX113" fmla="*/ 229716 w 622693"/>
                <a:gd name="connsiteY113" fmla="*/ 536568 h 598765"/>
                <a:gd name="connsiteX114" fmla="*/ 229865 w 622693"/>
                <a:gd name="connsiteY114" fmla="*/ 498029 h 598765"/>
                <a:gd name="connsiteX115" fmla="*/ 233287 w 622693"/>
                <a:gd name="connsiteY115" fmla="*/ 491482 h 598765"/>
                <a:gd name="connsiteX116" fmla="*/ 264237 w 622693"/>
                <a:gd name="connsiteY116" fmla="*/ 469013 h 598765"/>
                <a:gd name="connsiteX117" fmla="*/ 270933 w 622693"/>
                <a:gd name="connsiteY117" fmla="*/ 455621 h 598765"/>
                <a:gd name="connsiteX118" fmla="*/ 287599 w 622693"/>
                <a:gd name="connsiteY118" fmla="*/ 417083 h 598765"/>
                <a:gd name="connsiteX119" fmla="*/ 301883 w 622693"/>
                <a:gd name="connsiteY119" fmla="*/ 403691 h 598765"/>
                <a:gd name="connsiteX120" fmla="*/ 314382 w 622693"/>
                <a:gd name="connsiteY120" fmla="*/ 381817 h 598765"/>
                <a:gd name="connsiteX121" fmla="*/ 321971 w 622693"/>
                <a:gd name="connsiteY121" fmla="*/ 343427 h 598765"/>
                <a:gd name="connsiteX122" fmla="*/ 309323 w 622693"/>
                <a:gd name="connsiteY122" fmla="*/ 328994 h 598765"/>
                <a:gd name="connsiteX123" fmla="*/ 294741 w 622693"/>
                <a:gd name="connsiteY123" fmla="*/ 328994 h 598765"/>
                <a:gd name="connsiteX124" fmla="*/ 281349 w 622693"/>
                <a:gd name="connsiteY124" fmla="*/ 329142 h 598765"/>
                <a:gd name="connsiteX125" fmla="*/ 281051 w 622693"/>
                <a:gd name="connsiteY125" fmla="*/ 329142 h 598765"/>
                <a:gd name="connsiteX126" fmla="*/ 274207 w 622693"/>
                <a:gd name="connsiteY126" fmla="*/ 325125 h 598765"/>
                <a:gd name="connsiteX127" fmla="*/ 251887 w 622693"/>
                <a:gd name="connsiteY127" fmla="*/ 288967 h 598765"/>
                <a:gd name="connsiteX128" fmla="*/ 234924 w 622693"/>
                <a:gd name="connsiteY128" fmla="*/ 279295 h 598765"/>
                <a:gd name="connsiteX129" fmla="*/ 233734 w 622693"/>
                <a:gd name="connsiteY129" fmla="*/ 279295 h 598765"/>
                <a:gd name="connsiteX130" fmla="*/ 212455 w 622693"/>
                <a:gd name="connsiteY130" fmla="*/ 279593 h 598765"/>
                <a:gd name="connsiteX131" fmla="*/ 201147 w 622693"/>
                <a:gd name="connsiteY131" fmla="*/ 279593 h 598765"/>
                <a:gd name="connsiteX132" fmla="*/ 189540 w 622693"/>
                <a:gd name="connsiteY132" fmla="*/ 279593 h 598765"/>
                <a:gd name="connsiteX133" fmla="*/ 179124 w 622693"/>
                <a:gd name="connsiteY133" fmla="*/ 279593 h 598765"/>
                <a:gd name="connsiteX134" fmla="*/ 178827 w 622693"/>
                <a:gd name="connsiteY134" fmla="*/ 279593 h 598765"/>
                <a:gd name="connsiteX135" fmla="*/ 171238 w 622693"/>
                <a:gd name="connsiteY135" fmla="*/ 274980 h 598765"/>
                <a:gd name="connsiteX136" fmla="*/ 156953 w 622693"/>
                <a:gd name="connsiteY136" fmla="*/ 247303 h 598765"/>
                <a:gd name="connsiteX137" fmla="*/ 146686 w 622693"/>
                <a:gd name="connsiteY137" fmla="*/ 239566 h 598765"/>
                <a:gd name="connsiteX138" fmla="*/ 137014 w 622693"/>
                <a:gd name="connsiteY138" fmla="*/ 244179 h 598765"/>
                <a:gd name="connsiteX139" fmla="*/ 127789 w 622693"/>
                <a:gd name="connsiteY139" fmla="*/ 254148 h 598765"/>
                <a:gd name="connsiteX140" fmla="*/ 104130 w 622693"/>
                <a:gd name="connsiteY140" fmla="*/ 260100 h 598765"/>
                <a:gd name="connsiteX141" fmla="*/ 63210 w 622693"/>
                <a:gd name="connsiteY141" fmla="*/ 233614 h 598765"/>
                <a:gd name="connsiteX142" fmla="*/ 60681 w 622693"/>
                <a:gd name="connsiteY142" fmla="*/ 229150 h 598765"/>
                <a:gd name="connsiteX143" fmla="*/ 47735 w 622693"/>
                <a:gd name="connsiteY143" fmla="*/ 191504 h 598765"/>
                <a:gd name="connsiteX144" fmla="*/ 48330 w 622693"/>
                <a:gd name="connsiteY144" fmla="*/ 183915 h 598765"/>
                <a:gd name="connsiteX145" fmla="*/ 194302 w 622693"/>
                <a:gd name="connsiteY145" fmla="*/ 44342 h 598765"/>
                <a:gd name="connsiteX146" fmla="*/ 198319 w 622693"/>
                <a:gd name="connsiteY146" fmla="*/ 43598 h 598765"/>
                <a:gd name="connsiteX147" fmla="*/ 201891 w 622693"/>
                <a:gd name="connsiteY147" fmla="*/ 44491 h 598765"/>
                <a:gd name="connsiteX148" fmla="*/ 260517 w 622693"/>
                <a:gd name="connsiteY148" fmla="*/ 65174 h 598765"/>
                <a:gd name="connsiteX149" fmla="*/ 277629 w 622693"/>
                <a:gd name="connsiteY149" fmla="*/ 67852 h 598765"/>
                <a:gd name="connsiteX150" fmla="*/ 273612 w 622693"/>
                <a:gd name="connsiteY150" fmla="*/ 79310 h 598765"/>
                <a:gd name="connsiteX151" fmla="*/ 270487 w 622693"/>
                <a:gd name="connsiteY151" fmla="*/ 82434 h 598765"/>
                <a:gd name="connsiteX152" fmla="*/ 268255 w 622693"/>
                <a:gd name="connsiteY152" fmla="*/ 83030 h 598765"/>
                <a:gd name="connsiteX153" fmla="*/ 229418 w 622693"/>
                <a:gd name="connsiteY153" fmla="*/ 113236 h 598765"/>
                <a:gd name="connsiteX154" fmla="*/ 181952 w 622693"/>
                <a:gd name="connsiteY154" fmla="*/ 159959 h 598765"/>
                <a:gd name="connsiteX155" fmla="*/ 132699 w 622693"/>
                <a:gd name="connsiteY155" fmla="*/ 174094 h 598765"/>
                <a:gd name="connsiteX156" fmla="*/ 95500 w 622693"/>
                <a:gd name="connsiteY156" fmla="*/ 179005 h 598765"/>
                <a:gd name="connsiteX157" fmla="*/ 84042 w 622693"/>
                <a:gd name="connsiteY157" fmla="*/ 191504 h 598765"/>
                <a:gd name="connsiteX158" fmla="*/ 84191 w 622693"/>
                <a:gd name="connsiteY158" fmla="*/ 216651 h 598765"/>
                <a:gd name="connsiteX159" fmla="*/ 88952 w 622693"/>
                <a:gd name="connsiteY159" fmla="*/ 228108 h 598765"/>
                <a:gd name="connsiteX160" fmla="*/ 94904 w 622693"/>
                <a:gd name="connsiteY160" fmla="*/ 233911 h 598765"/>
                <a:gd name="connsiteX161" fmla="*/ 104279 w 622693"/>
                <a:gd name="connsiteY161" fmla="*/ 259951 h 598765"/>
                <a:gd name="connsiteX162" fmla="*/ 391014 w 622693"/>
                <a:gd name="connsiteY162" fmla="*/ 69935 h 598765"/>
                <a:gd name="connsiteX163" fmla="*/ 401578 w 622693"/>
                <a:gd name="connsiteY163" fmla="*/ 69787 h 598765"/>
                <a:gd name="connsiteX164" fmla="*/ 413780 w 622693"/>
                <a:gd name="connsiteY164" fmla="*/ 66959 h 598765"/>
                <a:gd name="connsiteX165" fmla="*/ 442052 w 622693"/>
                <a:gd name="connsiteY165" fmla="*/ 53567 h 598765"/>
                <a:gd name="connsiteX166" fmla="*/ 446516 w 622693"/>
                <a:gd name="connsiteY166" fmla="*/ 52526 h 598765"/>
                <a:gd name="connsiteX167" fmla="*/ 448748 w 622693"/>
                <a:gd name="connsiteY167" fmla="*/ 52972 h 598765"/>
                <a:gd name="connsiteX168" fmla="*/ 513029 w 622693"/>
                <a:gd name="connsiteY168" fmla="*/ 97910 h 598765"/>
                <a:gd name="connsiteX169" fmla="*/ 512136 w 622693"/>
                <a:gd name="connsiteY169" fmla="*/ 98951 h 598765"/>
                <a:gd name="connsiteX170" fmla="*/ 493536 w 622693"/>
                <a:gd name="connsiteY170" fmla="*/ 107581 h 598765"/>
                <a:gd name="connsiteX171" fmla="*/ 476126 w 622693"/>
                <a:gd name="connsiteY171" fmla="*/ 104754 h 598765"/>
                <a:gd name="connsiteX172" fmla="*/ 424642 w 622693"/>
                <a:gd name="connsiteY172" fmla="*/ 91809 h 598765"/>
                <a:gd name="connsiteX173" fmla="*/ 414821 w 622693"/>
                <a:gd name="connsiteY173" fmla="*/ 90767 h 598765"/>
                <a:gd name="connsiteX174" fmla="*/ 408721 w 622693"/>
                <a:gd name="connsiteY174" fmla="*/ 91214 h 598765"/>
                <a:gd name="connsiteX175" fmla="*/ 388038 w 622693"/>
                <a:gd name="connsiteY175" fmla="*/ 95826 h 598765"/>
                <a:gd name="connsiteX176" fmla="*/ 374943 w 622693"/>
                <a:gd name="connsiteY176" fmla="*/ 98207 h 598765"/>
                <a:gd name="connsiteX177" fmla="*/ 358427 w 622693"/>
                <a:gd name="connsiteY177" fmla="*/ 93446 h 598765"/>
                <a:gd name="connsiteX178" fmla="*/ 370033 w 622693"/>
                <a:gd name="connsiteY178" fmla="*/ 71423 h 598765"/>
                <a:gd name="connsiteX179" fmla="*/ 374795 w 622693"/>
                <a:gd name="connsiteY179" fmla="*/ 70084 h 598765"/>
                <a:gd name="connsiteX180" fmla="*/ 379556 w 622693"/>
                <a:gd name="connsiteY180" fmla="*/ 70084 h 598765"/>
                <a:gd name="connsiteX181" fmla="*/ 385210 w 622693"/>
                <a:gd name="connsiteY181" fmla="*/ 70084 h 598765"/>
                <a:gd name="connsiteX182" fmla="*/ 390865 w 622693"/>
                <a:gd name="connsiteY182" fmla="*/ 70084 h 598765"/>
                <a:gd name="connsiteX183" fmla="*/ 417797 w 622693"/>
                <a:gd name="connsiteY183" fmla="*/ 257868 h 598765"/>
                <a:gd name="connsiteX184" fmla="*/ 412887 w 622693"/>
                <a:gd name="connsiteY184" fmla="*/ 256975 h 598765"/>
                <a:gd name="connsiteX185" fmla="*/ 357236 w 622693"/>
                <a:gd name="connsiteY185" fmla="*/ 233911 h 598765"/>
                <a:gd name="connsiteX186" fmla="*/ 352475 w 622693"/>
                <a:gd name="connsiteY186" fmla="*/ 228852 h 598765"/>
                <a:gd name="connsiteX187" fmla="*/ 344886 w 622693"/>
                <a:gd name="connsiteY187" fmla="*/ 176922 h 598765"/>
                <a:gd name="connsiteX188" fmla="*/ 347416 w 622693"/>
                <a:gd name="connsiteY188" fmla="*/ 169928 h 598765"/>
                <a:gd name="connsiteX189" fmla="*/ 368843 w 622693"/>
                <a:gd name="connsiteY189" fmla="*/ 150435 h 598765"/>
                <a:gd name="connsiteX190" fmla="*/ 380151 w 622693"/>
                <a:gd name="connsiteY190" fmla="*/ 148650 h 598765"/>
                <a:gd name="connsiteX191" fmla="*/ 397710 w 622693"/>
                <a:gd name="connsiteY191" fmla="*/ 149543 h 598765"/>
                <a:gd name="connsiteX192" fmla="*/ 398007 w 622693"/>
                <a:gd name="connsiteY192" fmla="*/ 149543 h 598765"/>
                <a:gd name="connsiteX193" fmla="*/ 404406 w 622693"/>
                <a:gd name="connsiteY193" fmla="*/ 149245 h 598765"/>
                <a:gd name="connsiteX194" fmla="*/ 410953 w 622693"/>
                <a:gd name="connsiteY194" fmla="*/ 148947 h 598765"/>
                <a:gd name="connsiteX195" fmla="*/ 420327 w 622693"/>
                <a:gd name="connsiteY195" fmla="*/ 150733 h 598765"/>
                <a:gd name="connsiteX196" fmla="*/ 433124 w 622693"/>
                <a:gd name="connsiteY196" fmla="*/ 167994 h 598765"/>
                <a:gd name="connsiteX197" fmla="*/ 454848 w 622693"/>
                <a:gd name="connsiteY197" fmla="*/ 181237 h 598765"/>
                <a:gd name="connsiteX198" fmla="*/ 502166 w 622693"/>
                <a:gd name="connsiteY198" fmla="*/ 188528 h 598765"/>
                <a:gd name="connsiteX199" fmla="*/ 507523 w 622693"/>
                <a:gd name="connsiteY199" fmla="*/ 188825 h 598765"/>
                <a:gd name="connsiteX200" fmla="*/ 517046 w 622693"/>
                <a:gd name="connsiteY200" fmla="*/ 187486 h 598765"/>
                <a:gd name="connsiteX201" fmla="*/ 569423 w 622693"/>
                <a:gd name="connsiteY201" fmla="*/ 170821 h 598765"/>
                <a:gd name="connsiteX202" fmla="*/ 555436 w 622693"/>
                <a:gd name="connsiteY202" fmla="*/ 449967 h 598765"/>
                <a:gd name="connsiteX203" fmla="*/ 542193 w 622693"/>
                <a:gd name="connsiteY203" fmla="*/ 436129 h 598765"/>
                <a:gd name="connsiteX204" fmla="*/ 540705 w 622693"/>
                <a:gd name="connsiteY204" fmla="*/ 432557 h 598765"/>
                <a:gd name="connsiteX205" fmla="*/ 540705 w 622693"/>
                <a:gd name="connsiteY205" fmla="*/ 428986 h 598765"/>
                <a:gd name="connsiteX206" fmla="*/ 525676 w 622693"/>
                <a:gd name="connsiteY206" fmla="*/ 367384 h 598765"/>
                <a:gd name="connsiteX207" fmla="*/ 502166 w 622693"/>
                <a:gd name="connsiteY207" fmla="*/ 322595 h 598765"/>
                <a:gd name="connsiteX208" fmla="*/ 499190 w 622693"/>
                <a:gd name="connsiteY208" fmla="*/ 310394 h 598765"/>
                <a:gd name="connsiteX209" fmla="*/ 499190 w 622693"/>
                <a:gd name="connsiteY209" fmla="*/ 281825 h 598765"/>
                <a:gd name="connsiteX210" fmla="*/ 492494 w 622693"/>
                <a:gd name="connsiteY210" fmla="*/ 269623 h 598765"/>
                <a:gd name="connsiteX211" fmla="*/ 465115 w 622693"/>
                <a:gd name="connsiteY211" fmla="*/ 252362 h 598765"/>
                <a:gd name="connsiteX212" fmla="*/ 455592 w 622693"/>
                <a:gd name="connsiteY212" fmla="*/ 249982 h 598765"/>
                <a:gd name="connsiteX213" fmla="*/ 452765 w 622693"/>
                <a:gd name="connsiteY213" fmla="*/ 250279 h 598765"/>
                <a:gd name="connsiteX214" fmla="*/ 420922 w 622693"/>
                <a:gd name="connsiteY214" fmla="*/ 257422 h 598765"/>
                <a:gd name="connsiteX215" fmla="*/ 417797 w 622693"/>
                <a:gd name="connsiteY215" fmla="*/ 257719 h 598765"/>
                <a:gd name="connsiteX216" fmla="*/ 208438 w 622693"/>
                <a:gd name="connsiteY216" fmla="*/ 523920 h 598765"/>
                <a:gd name="connsiteX217" fmla="*/ 192368 w 622693"/>
                <a:gd name="connsiteY217" fmla="*/ 512909 h 598765"/>
                <a:gd name="connsiteX218" fmla="*/ 177339 w 622693"/>
                <a:gd name="connsiteY218" fmla="*/ 437319 h 598765"/>
                <a:gd name="connsiteX219" fmla="*/ 177636 w 622693"/>
                <a:gd name="connsiteY219" fmla="*/ 381222 h 598765"/>
                <a:gd name="connsiteX220" fmla="*/ 166625 w 622693"/>
                <a:gd name="connsiteY220" fmla="*/ 368425 h 598765"/>
                <a:gd name="connsiteX221" fmla="*/ 127938 w 622693"/>
                <a:gd name="connsiteY221" fmla="*/ 361134 h 598765"/>
                <a:gd name="connsiteX222" fmla="*/ 119903 w 622693"/>
                <a:gd name="connsiteY222" fmla="*/ 355182 h 598765"/>
                <a:gd name="connsiteX223" fmla="*/ 113355 w 622693"/>
                <a:gd name="connsiteY223" fmla="*/ 342683 h 598765"/>
                <a:gd name="connsiteX224" fmla="*/ 105320 w 622693"/>
                <a:gd name="connsiteY224" fmla="*/ 307120 h 598765"/>
                <a:gd name="connsiteX225" fmla="*/ 106957 w 622693"/>
                <a:gd name="connsiteY225" fmla="*/ 301764 h 598765"/>
                <a:gd name="connsiteX226" fmla="*/ 143562 w 622693"/>
                <a:gd name="connsiteY226" fmla="*/ 266201 h 598765"/>
                <a:gd name="connsiteX227" fmla="*/ 155912 w 622693"/>
                <a:gd name="connsiteY227" fmla="*/ 290306 h 598765"/>
                <a:gd name="connsiteX228" fmla="*/ 170345 w 622693"/>
                <a:gd name="connsiteY228" fmla="*/ 299383 h 598765"/>
                <a:gd name="connsiteX229" fmla="*/ 170940 w 622693"/>
                <a:gd name="connsiteY229" fmla="*/ 299383 h 598765"/>
                <a:gd name="connsiteX230" fmla="*/ 193855 w 622693"/>
                <a:gd name="connsiteY230" fmla="*/ 299234 h 598765"/>
                <a:gd name="connsiteX231" fmla="*/ 205015 w 622693"/>
                <a:gd name="connsiteY231" fmla="*/ 299234 h 598765"/>
                <a:gd name="connsiteX232" fmla="*/ 216324 w 622693"/>
                <a:gd name="connsiteY232" fmla="*/ 299234 h 598765"/>
                <a:gd name="connsiteX233" fmla="*/ 228674 w 622693"/>
                <a:gd name="connsiteY233" fmla="*/ 299234 h 598765"/>
                <a:gd name="connsiteX234" fmla="*/ 228823 w 622693"/>
                <a:gd name="connsiteY234" fmla="*/ 299234 h 598765"/>
                <a:gd name="connsiteX235" fmla="*/ 236263 w 622693"/>
                <a:gd name="connsiteY235" fmla="*/ 303400 h 598765"/>
                <a:gd name="connsiteX236" fmla="*/ 260071 w 622693"/>
                <a:gd name="connsiteY236" fmla="*/ 342088 h 598765"/>
                <a:gd name="connsiteX237" fmla="*/ 273165 w 622693"/>
                <a:gd name="connsiteY237" fmla="*/ 349677 h 598765"/>
                <a:gd name="connsiteX238" fmla="*/ 273909 w 622693"/>
                <a:gd name="connsiteY238" fmla="*/ 349677 h 598765"/>
                <a:gd name="connsiteX239" fmla="*/ 283581 w 622693"/>
                <a:gd name="connsiteY239" fmla="*/ 349677 h 598765"/>
                <a:gd name="connsiteX240" fmla="*/ 299056 w 622693"/>
                <a:gd name="connsiteY240" fmla="*/ 349677 h 598765"/>
                <a:gd name="connsiteX241" fmla="*/ 294741 w 622693"/>
                <a:gd name="connsiteY241" fmla="*/ 372145 h 598765"/>
                <a:gd name="connsiteX242" fmla="*/ 282391 w 622693"/>
                <a:gd name="connsiteY242" fmla="*/ 393870 h 598765"/>
                <a:gd name="connsiteX243" fmla="*/ 255012 w 622693"/>
                <a:gd name="connsiteY243" fmla="*/ 420356 h 598765"/>
                <a:gd name="connsiteX244" fmla="*/ 249953 w 622693"/>
                <a:gd name="connsiteY244" fmla="*/ 431516 h 598765"/>
                <a:gd name="connsiteX245" fmla="*/ 249953 w 622693"/>
                <a:gd name="connsiteY245" fmla="*/ 432706 h 598765"/>
                <a:gd name="connsiteX246" fmla="*/ 231948 w 622693"/>
                <a:gd name="connsiteY246" fmla="*/ 467079 h 598765"/>
                <a:gd name="connsiteX247" fmla="*/ 215729 w 622693"/>
                <a:gd name="connsiteY247" fmla="*/ 478387 h 598765"/>
                <a:gd name="connsiteX248" fmla="*/ 208140 w 622693"/>
                <a:gd name="connsiteY248" fmla="*/ 493267 h 598765"/>
                <a:gd name="connsiteX249" fmla="*/ 208140 w 622693"/>
                <a:gd name="connsiteY249" fmla="*/ 524218 h 59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622693" h="598765">
                  <a:moveTo>
                    <a:pt x="332089" y="149"/>
                  </a:moveTo>
                  <a:lnTo>
                    <a:pt x="290723" y="149"/>
                  </a:lnTo>
                  <a:cubicBezTo>
                    <a:pt x="279564" y="1786"/>
                    <a:pt x="268255" y="2976"/>
                    <a:pt x="257244" y="4910"/>
                  </a:cubicBezTo>
                  <a:cubicBezTo>
                    <a:pt x="171982" y="20237"/>
                    <a:pt x="104427" y="62049"/>
                    <a:pt x="55026" y="130645"/>
                  </a:cubicBezTo>
                  <a:cubicBezTo>
                    <a:pt x="44908" y="144781"/>
                    <a:pt x="37171" y="160554"/>
                    <a:pt x="28243" y="175582"/>
                  </a:cubicBezTo>
                  <a:cubicBezTo>
                    <a:pt x="26755" y="177963"/>
                    <a:pt x="24820" y="180195"/>
                    <a:pt x="23183" y="182427"/>
                  </a:cubicBezTo>
                  <a:lnTo>
                    <a:pt x="22142" y="183766"/>
                  </a:lnTo>
                  <a:cubicBezTo>
                    <a:pt x="17976" y="198051"/>
                    <a:pt x="13512" y="212187"/>
                    <a:pt x="9792" y="226620"/>
                  </a:cubicBezTo>
                  <a:cubicBezTo>
                    <a:pt x="-10891" y="307864"/>
                    <a:pt x="1161" y="384793"/>
                    <a:pt x="46247" y="456068"/>
                  </a:cubicBezTo>
                  <a:cubicBezTo>
                    <a:pt x="90292" y="525706"/>
                    <a:pt x="154721" y="569750"/>
                    <a:pt x="236561" y="589986"/>
                  </a:cubicBezTo>
                  <a:cubicBezTo>
                    <a:pt x="252631" y="594004"/>
                    <a:pt x="269594" y="595195"/>
                    <a:pt x="286111" y="597724"/>
                  </a:cubicBezTo>
                  <a:cubicBezTo>
                    <a:pt x="287599" y="598022"/>
                    <a:pt x="289235" y="598468"/>
                    <a:pt x="290723" y="598766"/>
                  </a:cubicBezTo>
                  <a:lnTo>
                    <a:pt x="332089" y="598766"/>
                  </a:lnTo>
                  <a:cubicBezTo>
                    <a:pt x="340868" y="597575"/>
                    <a:pt x="349648" y="596534"/>
                    <a:pt x="358427" y="595343"/>
                  </a:cubicBezTo>
                  <a:cubicBezTo>
                    <a:pt x="420922" y="586118"/>
                    <a:pt x="475680" y="560971"/>
                    <a:pt x="522105" y="519753"/>
                  </a:cubicBezTo>
                  <a:cubicBezTo>
                    <a:pt x="572548" y="475114"/>
                    <a:pt x="604093" y="420207"/>
                    <a:pt x="617336" y="355480"/>
                  </a:cubicBezTo>
                  <a:cubicBezTo>
                    <a:pt x="619420" y="345361"/>
                    <a:pt x="620164" y="335095"/>
                    <a:pt x="621503" y="324827"/>
                  </a:cubicBezTo>
                  <a:cubicBezTo>
                    <a:pt x="621651" y="323339"/>
                    <a:pt x="622247" y="321852"/>
                    <a:pt x="622693" y="320363"/>
                  </a:cubicBezTo>
                  <a:lnTo>
                    <a:pt x="622693" y="279444"/>
                  </a:lnTo>
                  <a:cubicBezTo>
                    <a:pt x="621056" y="268730"/>
                    <a:pt x="619866" y="257868"/>
                    <a:pt x="617931" y="247303"/>
                  </a:cubicBezTo>
                  <a:cubicBezTo>
                    <a:pt x="607516" y="189570"/>
                    <a:pt x="581476" y="139276"/>
                    <a:pt x="540110" y="96421"/>
                  </a:cubicBezTo>
                  <a:cubicBezTo>
                    <a:pt x="491750" y="46127"/>
                    <a:pt x="432082" y="15624"/>
                    <a:pt x="361998" y="3869"/>
                  </a:cubicBezTo>
                  <a:cubicBezTo>
                    <a:pt x="352028" y="2232"/>
                    <a:pt x="342059" y="1339"/>
                    <a:pt x="332089" y="0"/>
                  </a:cubicBezTo>
                  <a:moveTo>
                    <a:pt x="127045" y="254148"/>
                  </a:moveTo>
                  <a:lnTo>
                    <a:pt x="125110" y="253255"/>
                  </a:lnTo>
                  <a:cubicBezTo>
                    <a:pt x="125110" y="249684"/>
                    <a:pt x="125855" y="245964"/>
                    <a:pt x="124962" y="242542"/>
                  </a:cubicBezTo>
                  <a:cubicBezTo>
                    <a:pt x="123920" y="238227"/>
                    <a:pt x="121986" y="233911"/>
                    <a:pt x="119605" y="230191"/>
                  </a:cubicBezTo>
                  <a:cubicBezTo>
                    <a:pt x="117968" y="227364"/>
                    <a:pt x="115141" y="224983"/>
                    <a:pt x="112314" y="223198"/>
                  </a:cubicBezTo>
                  <a:cubicBezTo>
                    <a:pt x="104130" y="217990"/>
                    <a:pt x="103386" y="210401"/>
                    <a:pt x="104576" y="202217"/>
                  </a:cubicBezTo>
                  <a:cubicBezTo>
                    <a:pt x="104725" y="200580"/>
                    <a:pt x="106957" y="198051"/>
                    <a:pt x="108594" y="197902"/>
                  </a:cubicBezTo>
                  <a:cubicBezTo>
                    <a:pt x="126152" y="195224"/>
                    <a:pt x="143859" y="193141"/>
                    <a:pt x="161417" y="190462"/>
                  </a:cubicBezTo>
                  <a:cubicBezTo>
                    <a:pt x="166476" y="189718"/>
                    <a:pt x="171685" y="188081"/>
                    <a:pt x="176148" y="185701"/>
                  </a:cubicBezTo>
                  <a:cubicBezTo>
                    <a:pt x="191326" y="177368"/>
                    <a:pt x="206206" y="168738"/>
                    <a:pt x="220937" y="159959"/>
                  </a:cubicBezTo>
                  <a:cubicBezTo>
                    <a:pt x="224062" y="158024"/>
                    <a:pt x="226889" y="155197"/>
                    <a:pt x="228972" y="152221"/>
                  </a:cubicBezTo>
                  <a:cubicBezTo>
                    <a:pt x="237602" y="138978"/>
                    <a:pt x="245637" y="125586"/>
                    <a:pt x="254119" y="112343"/>
                  </a:cubicBezTo>
                  <a:cubicBezTo>
                    <a:pt x="255607" y="109962"/>
                    <a:pt x="258434" y="107879"/>
                    <a:pt x="261261" y="106837"/>
                  </a:cubicBezTo>
                  <a:cubicBezTo>
                    <a:pt x="267660" y="104308"/>
                    <a:pt x="274207" y="102522"/>
                    <a:pt x="280754" y="100588"/>
                  </a:cubicBezTo>
                  <a:cubicBezTo>
                    <a:pt x="286259" y="98951"/>
                    <a:pt x="289682" y="95975"/>
                    <a:pt x="291467" y="90470"/>
                  </a:cubicBezTo>
                  <a:cubicBezTo>
                    <a:pt x="294146" y="82137"/>
                    <a:pt x="297270" y="73953"/>
                    <a:pt x="300098" y="65620"/>
                  </a:cubicBezTo>
                  <a:cubicBezTo>
                    <a:pt x="303222" y="56246"/>
                    <a:pt x="299800" y="51038"/>
                    <a:pt x="289682" y="49401"/>
                  </a:cubicBezTo>
                  <a:cubicBezTo>
                    <a:pt x="271975" y="46574"/>
                    <a:pt x="254119" y="44044"/>
                    <a:pt x="236561" y="40771"/>
                  </a:cubicBezTo>
                  <a:cubicBezTo>
                    <a:pt x="232097" y="40027"/>
                    <a:pt x="228079" y="37051"/>
                    <a:pt x="223020" y="34819"/>
                  </a:cubicBezTo>
                  <a:cubicBezTo>
                    <a:pt x="241025" y="25296"/>
                    <a:pt x="272272" y="20832"/>
                    <a:pt x="305752" y="20832"/>
                  </a:cubicBezTo>
                  <a:cubicBezTo>
                    <a:pt x="347565" y="20832"/>
                    <a:pt x="392948" y="27974"/>
                    <a:pt x="420327" y="41366"/>
                  </a:cubicBezTo>
                  <a:cubicBezTo>
                    <a:pt x="411994" y="44788"/>
                    <a:pt x="405447" y="50145"/>
                    <a:pt x="396222" y="50145"/>
                  </a:cubicBezTo>
                  <a:cubicBezTo>
                    <a:pt x="395775" y="50145"/>
                    <a:pt x="395329" y="50145"/>
                    <a:pt x="394882" y="50145"/>
                  </a:cubicBezTo>
                  <a:cubicBezTo>
                    <a:pt x="391460" y="49996"/>
                    <a:pt x="387889" y="49847"/>
                    <a:pt x="384466" y="49847"/>
                  </a:cubicBezTo>
                  <a:cubicBezTo>
                    <a:pt x="381937" y="49847"/>
                    <a:pt x="379259" y="49847"/>
                    <a:pt x="376729" y="49847"/>
                  </a:cubicBezTo>
                  <a:cubicBezTo>
                    <a:pt x="374199" y="49847"/>
                    <a:pt x="371670" y="49847"/>
                    <a:pt x="369140" y="49847"/>
                  </a:cubicBezTo>
                  <a:cubicBezTo>
                    <a:pt x="368099" y="49847"/>
                    <a:pt x="366908" y="49847"/>
                    <a:pt x="365867" y="49847"/>
                  </a:cubicBezTo>
                  <a:lnTo>
                    <a:pt x="365569" y="49847"/>
                  </a:lnTo>
                  <a:cubicBezTo>
                    <a:pt x="359617" y="49847"/>
                    <a:pt x="355600" y="52377"/>
                    <a:pt x="353070" y="57734"/>
                  </a:cubicBezTo>
                  <a:cubicBezTo>
                    <a:pt x="347118" y="69638"/>
                    <a:pt x="340720" y="81393"/>
                    <a:pt x="334768" y="93297"/>
                  </a:cubicBezTo>
                  <a:cubicBezTo>
                    <a:pt x="330304" y="101927"/>
                    <a:pt x="332685" y="107135"/>
                    <a:pt x="342357" y="110409"/>
                  </a:cubicBezTo>
                  <a:cubicBezTo>
                    <a:pt x="358873" y="116063"/>
                    <a:pt x="366611" y="118593"/>
                    <a:pt x="375092" y="118593"/>
                  </a:cubicBezTo>
                  <a:cubicBezTo>
                    <a:pt x="382532" y="118593"/>
                    <a:pt x="390418" y="116658"/>
                    <a:pt x="405298" y="112789"/>
                  </a:cubicBezTo>
                  <a:cubicBezTo>
                    <a:pt x="408126" y="112045"/>
                    <a:pt x="410804" y="111748"/>
                    <a:pt x="413482" y="111748"/>
                  </a:cubicBezTo>
                  <a:cubicBezTo>
                    <a:pt x="417202" y="111748"/>
                    <a:pt x="420773" y="112343"/>
                    <a:pt x="424642" y="113384"/>
                  </a:cubicBezTo>
                  <a:cubicBezTo>
                    <a:pt x="448152" y="119337"/>
                    <a:pt x="471960" y="124544"/>
                    <a:pt x="495768" y="129603"/>
                  </a:cubicBezTo>
                  <a:cubicBezTo>
                    <a:pt x="496214" y="129603"/>
                    <a:pt x="496809" y="129752"/>
                    <a:pt x="497405" y="129752"/>
                  </a:cubicBezTo>
                  <a:cubicBezTo>
                    <a:pt x="500381" y="129752"/>
                    <a:pt x="503803" y="128264"/>
                    <a:pt x="506481" y="126925"/>
                  </a:cubicBezTo>
                  <a:cubicBezTo>
                    <a:pt x="513624" y="122908"/>
                    <a:pt x="520320" y="118295"/>
                    <a:pt x="528355" y="113087"/>
                  </a:cubicBezTo>
                  <a:cubicBezTo>
                    <a:pt x="538622" y="126181"/>
                    <a:pt x="548740" y="139127"/>
                    <a:pt x="559602" y="152965"/>
                  </a:cubicBezTo>
                  <a:cubicBezTo>
                    <a:pt x="542193" y="158470"/>
                    <a:pt x="526272" y="164125"/>
                    <a:pt x="509904" y="168440"/>
                  </a:cubicBezTo>
                  <a:cubicBezTo>
                    <a:pt x="508713" y="168738"/>
                    <a:pt x="507374" y="168886"/>
                    <a:pt x="506035" y="168886"/>
                  </a:cubicBezTo>
                  <a:cubicBezTo>
                    <a:pt x="502017" y="168886"/>
                    <a:pt x="497553" y="167696"/>
                    <a:pt x="493387" y="167101"/>
                  </a:cubicBezTo>
                  <a:cubicBezTo>
                    <a:pt x="481781" y="165464"/>
                    <a:pt x="470175" y="163678"/>
                    <a:pt x="458717" y="161298"/>
                  </a:cubicBezTo>
                  <a:cubicBezTo>
                    <a:pt x="455592" y="160703"/>
                    <a:pt x="452170" y="158470"/>
                    <a:pt x="450236" y="156090"/>
                  </a:cubicBezTo>
                  <a:cubicBezTo>
                    <a:pt x="445028" y="149543"/>
                    <a:pt x="440564" y="142698"/>
                    <a:pt x="435951" y="135853"/>
                  </a:cubicBezTo>
                  <a:cubicBezTo>
                    <a:pt x="433273" y="131836"/>
                    <a:pt x="429553" y="129901"/>
                    <a:pt x="424493" y="129901"/>
                  </a:cubicBezTo>
                  <a:lnTo>
                    <a:pt x="424345" y="129901"/>
                  </a:lnTo>
                  <a:cubicBezTo>
                    <a:pt x="419732" y="129901"/>
                    <a:pt x="414970" y="129901"/>
                    <a:pt x="410357" y="129901"/>
                  </a:cubicBezTo>
                  <a:cubicBezTo>
                    <a:pt x="407382" y="129901"/>
                    <a:pt x="404406" y="129901"/>
                    <a:pt x="401578" y="129901"/>
                  </a:cubicBezTo>
                  <a:cubicBezTo>
                    <a:pt x="398305" y="129901"/>
                    <a:pt x="395180" y="129901"/>
                    <a:pt x="391907" y="129901"/>
                  </a:cubicBezTo>
                  <a:cubicBezTo>
                    <a:pt x="383425" y="129901"/>
                    <a:pt x="375092" y="129901"/>
                    <a:pt x="366611" y="130199"/>
                  </a:cubicBezTo>
                  <a:cubicBezTo>
                    <a:pt x="362593" y="130199"/>
                    <a:pt x="357832" y="132133"/>
                    <a:pt x="354856" y="134663"/>
                  </a:cubicBezTo>
                  <a:cubicBezTo>
                    <a:pt x="345333" y="142995"/>
                    <a:pt x="336405" y="152221"/>
                    <a:pt x="327179" y="160851"/>
                  </a:cubicBezTo>
                  <a:cubicBezTo>
                    <a:pt x="323608" y="164274"/>
                    <a:pt x="322120" y="168142"/>
                    <a:pt x="322864" y="172904"/>
                  </a:cubicBezTo>
                  <a:cubicBezTo>
                    <a:pt x="326286" y="195373"/>
                    <a:pt x="329262" y="217990"/>
                    <a:pt x="333131" y="240459"/>
                  </a:cubicBezTo>
                  <a:cubicBezTo>
                    <a:pt x="333726" y="243583"/>
                    <a:pt x="337000" y="247601"/>
                    <a:pt x="340125" y="248940"/>
                  </a:cubicBezTo>
                  <a:cubicBezTo>
                    <a:pt x="363486" y="259058"/>
                    <a:pt x="387145" y="268730"/>
                    <a:pt x="410804" y="278253"/>
                  </a:cubicBezTo>
                  <a:cubicBezTo>
                    <a:pt x="412441" y="278849"/>
                    <a:pt x="414375" y="279146"/>
                    <a:pt x="416310" y="279146"/>
                  </a:cubicBezTo>
                  <a:cubicBezTo>
                    <a:pt x="417649" y="279146"/>
                    <a:pt x="418988" y="278997"/>
                    <a:pt x="420178" y="278700"/>
                  </a:cubicBezTo>
                  <a:cubicBezTo>
                    <a:pt x="429999" y="276617"/>
                    <a:pt x="439820" y="274236"/>
                    <a:pt x="449492" y="271706"/>
                  </a:cubicBezTo>
                  <a:cubicBezTo>
                    <a:pt x="450682" y="271409"/>
                    <a:pt x="451723" y="271260"/>
                    <a:pt x="452765" y="271260"/>
                  </a:cubicBezTo>
                  <a:cubicBezTo>
                    <a:pt x="455295" y="271260"/>
                    <a:pt x="457527" y="272153"/>
                    <a:pt x="460205" y="273194"/>
                  </a:cubicBezTo>
                  <a:cubicBezTo>
                    <a:pt x="474936" y="279444"/>
                    <a:pt x="480590" y="289562"/>
                    <a:pt x="477912" y="304888"/>
                  </a:cubicBezTo>
                  <a:cubicBezTo>
                    <a:pt x="475978" y="316197"/>
                    <a:pt x="479846" y="326464"/>
                    <a:pt x="485501" y="336582"/>
                  </a:cubicBezTo>
                  <a:cubicBezTo>
                    <a:pt x="496363" y="356373"/>
                    <a:pt x="506481" y="376461"/>
                    <a:pt x="516749" y="396548"/>
                  </a:cubicBezTo>
                  <a:cubicBezTo>
                    <a:pt x="518236" y="399524"/>
                    <a:pt x="519129" y="403095"/>
                    <a:pt x="519278" y="406518"/>
                  </a:cubicBezTo>
                  <a:cubicBezTo>
                    <a:pt x="519576" y="415892"/>
                    <a:pt x="519576" y="425267"/>
                    <a:pt x="519278" y="434641"/>
                  </a:cubicBezTo>
                  <a:cubicBezTo>
                    <a:pt x="519278" y="440444"/>
                    <a:pt x="520766" y="445205"/>
                    <a:pt x="525528" y="449223"/>
                  </a:cubicBezTo>
                  <a:cubicBezTo>
                    <a:pt x="531926" y="454729"/>
                    <a:pt x="538027" y="460829"/>
                    <a:pt x="544276" y="466484"/>
                  </a:cubicBezTo>
                  <a:cubicBezTo>
                    <a:pt x="488923" y="538353"/>
                    <a:pt x="401578" y="578529"/>
                    <a:pt x="311853" y="578529"/>
                  </a:cubicBezTo>
                  <a:cubicBezTo>
                    <a:pt x="269892" y="578529"/>
                    <a:pt x="227186" y="569750"/>
                    <a:pt x="187160" y="551150"/>
                  </a:cubicBezTo>
                  <a:cubicBezTo>
                    <a:pt x="56068" y="490440"/>
                    <a:pt x="-5832" y="348933"/>
                    <a:pt x="34790" y="218883"/>
                  </a:cubicBezTo>
                  <a:cubicBezTo>
                    <a:pt x="37171" y="225727"/>
                    <a:pt x="39551" y="231679"/>
                    <a:pt x="41337" y="237631"/>
                  </a:cubicBezTo>
                  <a:cubicBezTo>
                    <a:pt x="42974" y="243435"/>
                    <a:pt x="46247" y="247452"/>
                    <a:pt x="51604" y="250726"/>
                  </a:cubicBezTo>
                  <a:cubicBezTo>
                    <a:pt x="65740" y="259356"/>
                    <a:pt x="79578" y="268582"/>
                    <a:pt x="93565" y="277509"/>
                  </a:cubicBezTo>
                  <a:cubicBezTo>
                    <a:pt x="95202" y="278551"/>
                    <a:pt x="96839" y="279741"/>
                    <a:pt x="98476" y="280783"/>
                  </a:cubicBezTo>
                  <a:lnTo>
                    <a:pt x="98029" y="281527"/>
                  </a:lnTo>
                  <a:cubicBezTo>
                    <a:pt x="88952" y="289116"/>
                    <a:pt x="82108" y="297449"/>
                    <a:pt x="83893" y="310543"/>
                  </a:cubicBezTo>
                  <a:cubicBezTo>
                    <a:pt x="85232" y="321405"/>
                    <a:pt x="83149" y="332565"/>
                    <a:pt x="89845" y="342683"/>
                  </a:cubicBezTo>
                  <a:cubicBezTo>
                    <a:pt x="95648" y="351611"/>
                    <a:pt x="99964" y="361283"/>
                    <a:pt x="104576" y="370806"/>
                  </a:cubicBezTo>
                  <a:cubicBezTo>
                    <a:pt x="107106" y="376014"/>
                    <a:pt x="111272" y="378692"/>
                    <a:pt x="117075" y="379734"/>
                  </a:cubicBezTo>
                  <a:cubicBezTo>
                    <a:pt x="130170" y="382115"/>
                    <a:pt x="143264" y="384644"/>
                    <a:pt x="156953" y="387174"/>
                  </a:cubicBezTo>
                  <a:lnTo>
                    <a:pt x="156953" y="393572"/>
                  </a:lnTo>
                  <a:cubicBezTo>
                    <a:pt x="156953" y="420654"/>
                    <a:pt x="156953" y="447735"/>
                    <a:pt x="156953" y="474816"/>
                  </a:cubicBezTo>
                  <a:cubicBezTo>
                    <a:pt x="156953" y="478536"/>
                    <a:pt x="157846" y="482554"/>
                    <a:pt x="159185" y="486125"/>
                  </a:cubicBezTo>
                  <a:cubicBezTo>
                    <a:pt x="164840" y="500410"/>
                    <a:pt x="170940" y="514694"/>
                    <a:pt x="176744" y="528979"/>
                  </a:cubicBezTo>
                  <a:cubicBezTo>
                    <a:pt x="178827" y="534336"/>
                    <a:pt x="182249" y="537610"/>
                    <a:pt x="188052" y="539395"/>
                  </a:cubicBezTo>
                  <a:cubicBezTo>
                    <a:pt x="196683" y="541925"/>
                    <a:pt x="205313" y="545049"/>
                    <a:pt x="213943" y="547579"/>
                  </a:cubicBezTo>
                  <a:cubicBezTo>
                    <a:pt x="215878" y="548174"/>
                    <a:pt x="217663" y="548472"/>
                    <a:pt x="219300" y="548472"/>
                  </a:cubicBezTo>
                  <a:cubicBezTo>
                    <a:pt x="225698" y="548472"/>
                    <a:pt x="229567" y="544156"/>
                    <a:pt x="229716" y="536568"/>
                  </a:cubicBezTo>
                  <a:cubicBezTo>
                    <a:pt x="229716" y="523771"/>
                    <a:pt x="229716" y="510826"/>
                    <a:pt x="229865" y="498029"/>
                  </a:cubicBezTo>
                  <a:cubicBezTo>
                    <a:pt x="229865" y="495797"/>
                    <a:pt x="231353" y="492821"/>
                    <a:pt x="233287" y="491482"/>
                  </a:cubicBezTo>
                  <a:cubicBezTo>
                    <a:pt x="243405" y="483744"/>
                    <a:pt x="253821" y="476304"/>
                    <a:pt x="264237" y="469013"/>
                  </a:cubicBezTo>
                  <a:cubicBezTo>
                    <a:pt x="268999" y="465591"/>
                    <a:pt x="271975" y="461424"/>
                    <a:pt x="270933" y="455621"/>
                  </a:cubicBezTo>
                  <a:cubicBezTo>
                    <a:pt x="268106" y="439254"/>
                    <a:pt x="273760" y="426754"/>
                    <a:pt x="287599" y="417083"/>
                  </a:cubicBezTo>
                  <a:cubicBezTo>
                    <a:pt x="292955" y="413363"/>
                    <a:pt x="296824" y="407857"/>
                    <a:pt x="301883" y="403691"/>
                  </a:cubicBezTo>
                  <a:cubicBezTo>
                    <a:pt x="309026" y="397888"/>
                    <a:pt x="312894" y="390894"/>
                    <a:pt x="314382" y="381817"/>
                  </a:cubicBezTo>
                  <a:cubicBezTo>
                    <a:pt x="316466" y="369021"/>
                    <a:pt x="319590" y="356224"/>
                    <a:pt x="321971" y="343427"/>
                  </a:cubicBezTo>
                  <a:cubicBezTo>
                    <a:pt x="323757" y="333755"/>
                    <a:pt x="319590" y="329142"/>
                    <a:pt x="309323" y="328994"/>
                  </a:cubicBezTo>
                  <a:cubicBezTo>
                    <a:pt x="304562" y="328994"/>
                    <a:pt x="299651" y="328994"/>
                    <a:pt x="294741" y="328994"/>
                  </a:cubicBezTo>
                  <a:cubicBezTo>
                    <a:pt x="290277" y="328994"/>
                    <a:pt x="285813" y="328994"/>
                    <a:pt x="281349" y="329142"/>
                  </a:cubicBezTo>
                  <a:lnTo>
                    <a:pt x="281051" y="329142"/>
                  </a:lnTo>
                  <a:cubicBezTo>
                    <a:pt x="277778" y="329142"/>
                    <a:pt x="275844" y="327952"/>
                    <a:pt x="274207" y="325125"/>
                  </a:cubicBezTo>
                  <a:cubicBezTo>
                    <a:pt x="266916" y="313072"/>
                    <a:pt x="258881" y="301317"/>
                    <a:pt x="251887" y="288967"/>
                  </a:cubicBezTo>
                  <a:cubicBezTo>
                    <a:pt x="247869" y="281973"/>
                    <a:pt x="242959" y="279295"/>
                    <a:pt x="234924" y="279295"/>
                  </a:cubicBezTo>
                  <a:cubicBezTo>
                    <a:pt x="234478" y="279295"/>
                    <a:pt x="234180" y="279295"/>
                    <a:pt x="233734" y="279295"/>
                  </a:cubicBezTo>
                  <a:cubicBezTo>
                    <a:pt x="226591" y="279444"/>
                    <a:pt x="219598" y="279593"/>
                    <a:pt x="212455" y="279593"/>
                  </a:cubicBezTo>
                  <a:cubicBezTo>
                    <a:pt x="208735" y="279593"/>
                    <a:pt x="204867" y="279593"/>
                    <a:pt x="201147" y="279593"/>
                  </a:cubicBezTo>
                  <a:cubicBezTo>
                    <a:pt x="197278" y="279593"/>
                    <a:pt x="193409" y="279593"/>
                    <a:pt x="189540" y="279593"/>
                  </a:cubicBezTo>
                  <a:cubicBezTo>
                    <a:pt x="186118" y="279593"/>
                    <a:pt x="182547" y="279593"/>
                    <a:pt x="179124" y="279593"/>
                  </a:cubicBezTo>
                  <a:cubicBezTo>
                    <a:pt x="179124" y="279593"/>
                    <a:pt x="178976" y="279593"/>
                    <a:pt x="178827" y="279593"/>
                  </a:cubicBezTo>
                  <a:cubicBezTo>
                    <a:pt x="174958" y="279593"/>
                    <a:pt x="172875" y="278551"/>
                    <a:pt x="171238" y="274980"/>
                  </a:cubicBezTo>
                  <a:cubicBezTo>
                    <a:pt x="166774" y="265605"/>
                    <a:pt x="161864" y="256529"/>
                    <a:pt x="156953" y="247303"/>
                  </a:cubicBezTo>
                  <a:cubicBezTo>
                    <a:pt x="154275" y="242095"/>
                    <a:pt x="150704" y="239566"/>
                    <a:pt x="146686" y="239566"/>
                  </a:cubicBezTo>
                  <a:cubicBezTo>
                    <a:pt x="143562" y="239566"/>
                    <a:pt x="140437" y="241054"/>
                    <a:pt x="137014" y="244179"/>
                  </a:cubicBezTo>
                  <a:cubicBezTo>
                    <a:pt x="133741" y="247303"/>
                    <a:pt x="130914" y="250726"/>
                    <a:pt x="127789" y="254148"/>
                  </a:cubicBezTo>
                  <a:moveTo>
                    <a:pt x="104130" y="260100"/>
                  </a:moveTo>
                  <a:cubicBezTo>
                    <a:pt x="89994" y="251023"/>
                    <a:pt x="76453" y="242393"/>
                    <a:pt x="63210" y="233614"/>
                  </a:cubicBezTo>
                  <a:cubicBezTo>
                    <a:pt x="61871" y="232721"/>
                    <a:pt x="61127" y="230787"/>
                    <a:pt x="60681" y="229150"/>
                  </a:cubicBezTo>
                  <a:cubicBezTo>
                    <a:pt x="56217" y="216651"/>
                    <a:pt x="51753" y="204152"/>
                    <a:pt x="47735" y="191504"/>
                  </a:cubicBezTo>
                  <a:cubicBezTo>
                    <a:pt x="46991" y="189272"/>
                    <a:pt x="47289" y="186147"/>
                    <a:pt x="48330" y="183915"/>
                  </a:cubicBezTo>
                  <a:cubicBezTo>
                    <a:pt x="79132" y="120080"/>
                    <a:pt x="127789" y="73507"/>
                    <a:pt x="194302" y="44342"/>
                  </a:cubicBezTo>
                  <a:cubicBezTo>
                    <a:pt x="195343" y="43896"/>
                    <a:pt x="196831" y="43598"/>
                    <a:pt x="198319" y="43598"/>
                  </a:cubicBezTo>
                  <a:cubicBezTo>
                    <a:pt x="199807" y="43598"/>
                    <a:pt x="201147" y="43896"/>
                    <a:pt x="201891" y="44491"/>
                  </a:cubicBezTo>
                  <a:cubicBezTo>
                    <a:pt x="218705" y="58924"/>
                    <a:pt x="239388" y="62644"/>
                    <a:pt x="260517" y="65174"/>
                  </a:cubicBezTo>
                  <a:cubicBezTo>
                    <a:pt x="266023" y="65918"/>
                    <a:pt x="271528" y="66959"/>
                    <a:pt x="277629" y="67852"/>
                  </a:cubicBezTo>
                  <a:cubicBezTo>
                    <a:pt x="276141" y="72018"/>
                    <a:pt x="275100" y="75738"/>
                    <a:pt x="273612" y="79310"/>
                  </a:cubicBezTo>
                  <a:lnTo>
                    <a:pt x="270487" y="82434"/>
                  </a:lnTo>
                  <a:lnTo>
                    <a:pt x="268255" y="83030"/>
                  </a:lnTo>
                  <a:cubicBezTo>
                    <a:pt x="249506" y="86154"/>
                    <a:pt x="236858" y="96273"/>
                    <a:pt x="229418" y="113236"/>
                  </a:cubicBezTo>
                  <a:cubicBezTo>
                    <a:pt x="219895" y="134663"/>
                    <a:pt x="202932" y="148352"/>
                    <a:pt x="181952" y="159959"/>
                  </a:cubicBezTo>
                  <a:cubicBezTo>
                    <a:pt x="166179" y="168738"/>
                    <a:pt x="149811" y="171714"/>
                    <a:pt x="132699" y="174094"/>
                  </a:cubicBezTo>
                  <a:cubicBezTo>
                    <a:pt x="120349" y="175731"/>
                    <a:pt x="107850" y="177368"/>
                    <a:pt x="95500" y="179005"/>
                  </a:cubicBezTo>
                  <a:cubicBezTo>
                    <a:pt x="87464" y="180195"/>
                    <a:pt x="84191" y="183915"/>
                    <a:pt x="84042" y="191504"/>
                  </a:cubicBezTo>
                  <a:cubicBezTo>
                    <a:pt x="84042" y="199836"/>
                    <a:pt x="83447" y="208318"/>
                    <a:pt x="84191" y="216651"/>
                  </a:cubicBezTo>
                  <a:cubicBezTo>
                    <a:pt x="84489" y="220519"/>
                    <a:pt x="86869" y="224537"/>
                    <a:pt x="88952" y="228108"/>
                  </a:cubicBezTo>
                  <a:cubicBezTo>
                    <a:pt x="90292" y="230340"/>
                    <a:pt x="92821" y="231977"/>
                    <a:pt x="94904" y="233911"/>
                  </a:cubicBezTo>
                  <a:cubicBezTo>
                    <a:pt x="102047" y="240756"/>
                    <a:pt x="105172" y="249431"/>
                    <a:pt x="104279" y="259951"/>
                  </a:cubicBezTo>
                  <a:moveTo>
                    <a:pt x="391014" y="69935"/>
                  </a:moveTo>
                  <a:cubicBezTo>
                    <a:pt x="394585" y="69935"/>
                    <a:pt x="398007" y="69935"/>
                    <a:pt x="401578" y="69787"/>
                  </a:cubicBezTo>
                  <a:cubicBezTo>
                    <a:pt x="405745" y="69638"/>
                    <a:pt x="410060" y="68596"/>
                    <a:pt x="413780" y="66959"/>
                  </a:cubicBezTo>
                  <a:cubicBezTo>
                    <a:pt x="423303" y="62793"/>
                    <a:pt x="432529" y="57883"/>
                    <a:pt x="442052" y="53567"/>
                  </a:cubicBezTo>
                  <a:cubicBezTo>
                    <a:pt x="443242" y="52972"/>
                    <a:pt x="445028" y="52526"/>
                    <a:pt x="446516" y="52526"/>
                  </a:cubicBezTo>
                  <a:cubicBezTo>
                    <a:pt x="447408" y="52526"/>
                    <a:pt x="448152" y="52526"/>
                    <a:pt x="448748" y="52972"/>
                  </a:cubicBezTo>
                  <a:cubicBezTo>
                    <a:pt x="472258" y="64876"/>
                    <a:pt x="493685" y="79756"/>
                    <a:pt x="513029" y="97910"/>
                  </a:cubicBezTo>
                  <a:lnTo>
                    <a:pt x="512136" y="98951"/>
                  </a:lnTo>
                  <a:cubicBezTo>
                    <a:pt x="503208" y="105052"/>
                    <a:pt x="499786" y="107581"/>
                    <a:pt x="493536" y="107581"/>
                  </a:cubicBezTo>
                  <a:cubicBezTo>
                    <a:pt x="489518" y="107581"/>
                    <a:pt x="484459" y="106540"/>
                    <a:pt x="476126" y="104754"/>
                  </a:cubicBezTo>
                  <a:cubicBezTo>
                    <a:pt x="458866" y="101034"/>
                    <a:pt x="441903" y="95826"/>
                    <a:pt x="424642" y="91809"/>
                  </a:cubicBezTo>
                  <a:cubicBezTo>
                    <a:pt x="421517" y="91065"/>
                    <a:pt x="418244" y="90767"/>
                    <a:pt x="414821" y="90767"/>
                  </a:cubicBezTo>
                  <a:cubicBezTo>
                    <a:pt x="412738" y="90767"/>
                    <a:pt x="410655" y="90767"/>
                    <a:pt x="408721" y="91214"/>
                  </a:cubicBezTo>
                  <a:cubicBezTo>
                    <a:pt x="401727" y="92106"/>
                    <a:pt x="395031" y="94190"/>
                    <a:pt x="388038" y="95826"/>
                  </a:cubicBezTo>
                  <a:cubicBezTo>
                    <a:pt x="381788" y="97314"/>
                    <a:pt x="378217" y="98207"/>
                    <a:pt x="374943" y="98207"/>
                  </a:cubicBezTo>
                  <a:cubicBezTo>
                    <a:pt x="370628" y="98207"/>
                    <a:pt x="366908" y="96719"/>
                    <a:pt x="358427" y="93446"/>
                  </a:cubicBezTo>
                  <a:cubicBezTo>
                    <a:pt x="362296" y="86006"/>
                    <a:pt x="366016" y="78566"/>
                    <a:pt x="370033" y="71423"/>
                  </a:cubicBezTo>
                  <a:cubicBezTo>
                    <a:pt x="370628" y="70382"/>
                    <a:pt x="373158" y="70084"/>
                    <a:pt x="374795" y="70084"/>
                  </a:cubicBezTo>
                  <a:cubicBezTo>
                    <a:pt x="376431" y="70084"/>
                    <a:pt x="377919" y="70084"/>
                    <a:pt x="379556" y="70084"/>
                  </a:cubicBezTo>
                  <a:cubicBezTo>
                    <a:pt x="381491" y="70084"/>
                    <a:pt x="383276" y="70084"/>
                    <a:pt x="385210" y="70084"/>
                  </a:cubicBezTo>
                  <a:cubicBezTo>
                    <a:pt x="387145" y="70084"/>
                    <a:pt x="389079" y="70084"/>
                    <a:pt x="390865" y="70084"/>
                  </a:cubicBezTo>
                  <a:moveTo>
                    <a:pt x="417797" y="257868"/>
                  </a:moveTo>
                  <a:cubicBezTo>
                    <a:pt x="416012" y="257868"/>
                    <a:pt x="414375" y="257570"/>
                    <a:pt x="412887" y="256975"/>
                  </a:cubicBezTo>
                  <a:cubicBezTo>
                    <a:pt x="394287" y="249535"/>
                    <a:pt x="375687" y="241798"/>
                    <a:pt x="357236" y="233911"/>
                  </a:cubicBezTo>
                  <a:cubicBezTo>
                    <a:pt x="355153" y="233019"/>
                    <a:pt x="352772" y="230787"/>
                    <a:pt x="352475" y="228852"/>
                  </a:cubicBezTo>
                  <a:cubicBezTo>
                    <a:pt x="349648" y="211592"/>
                    <a:pt x="347118" y="194331"/>
                    <a:pt x="344886" y="176922"/>
                  </a:cubicBezTo>
                  <a:cubicBezTo>
                    <a:pt x="344588" y="174690"/>
                    <a:pt x="345779" y="171714"/>
                    <a:pt x="347416" y="169928"/>
                  </a:cubicBezTo>
                  <a:cubicBezTo>
                    <a:pt x="354260" y="162934"/>
                    <a:pt x="360361" y="154006"/>
                    <a:pt x="368843" y="150435"/>
                  </a:cubicBezTo>
                  <a:cubicBezTo>
                    <a:pt x="372265" y="149096"/>
                    <a:pt x="376134" y="148650"/>
                    <a:pt x="380151" y="148650"/>
                  </a:cubicBezTo>
                  <a:cubicBezTo>
                    <a:pt x="385806" y="148650"/>
                    <a:pt x="391907" y="149543"/>
                    <a:pt x="397710" y="149543"/>
                  </a:cubicBezTo>
                  <a:lnTo>
                    <a:pt x="398007" y="149543"/>
                  </a:lnTo>
                  <a:cubicBezTo>
                    <a:pt x="400090" y="149543"/>
                    <a:pt x="402322" y="149394"/>
                    <a:pt x="404406" y="149245"/>
                  </a:cubicBezTo>
                  <a:cubicBezTo>
                    <a:pt x="406637" y="149245"/>
                    <a:pt x="408721" y="148947"/>
                    <a:pt x="410953" y="148947"/>
                  </a:cubicBezTo>
                  <a:cubicBezTo>
                    <a:pt x="414375" y="148947"/>
                    <a:pt x="417649" y="149394"/>
                    <a:pt x="420327" y="150733"/>
                  </a:cubicBezTo>
                  <a:cubicBezTo>
                    <a:pt x="426130" y="153709"/>
                    <a:pt x="429701" y="161595"/>
                    <a:pt x="433124" y="167994"/>
                  </a:cubicBezTo>
                  <a:cubicBezTo>
                    <a:pt x="437885" y="176624"/>
                    <a:pt x="445176" y="180046"/>
                    <a:pt x="454848" y="181237"/>
                  </a:cubicBezTo>
                  <a:cubicBezTo>
                    <a:pt x="470621" y="183171"/>
                    <a:pt x="486245" y="186296"/>
                    <a:pt x="502166" y="188528"/>
                  </a:cubicBezTo>
                  <a:cubicBezTo>
                    <a:pt x="503952" y="188825"/>
                    <a:pt x="505737" y="188825"/>
                    <a:pt x="507523" y="188825"/>
                  </a:cubicBezTo>
                  <a:cubicBezTo>
                    <a:pt x="510796" y="188825"/>
                    <a:pt x="514070" y="188379"/>
                    <a:pt x="517046" y="187486"/>
                  </a:cubicBezTo>
                  <a:cubicBezTo>
                    <a:pt x="534604" y="182278"/>
                    <a:pt x="551865" y="176475"/>
                    <a:pt x="569423" y="170821"/>
                  </a:cubicBezTo>
                  <a:cubicBezTo>
                    <a:pt x="620015" y="262183"/>
                    <a:pt x="609301" y="374080"/>
                    <a:pt x="555436" y="449967"/>
                  </a:cubicBezTo>
                  <a:cubicBezTo>
                    <a:pt x="550972" y="445205"/>
                    <a:pt x="546508" y="440741"/>
                    <a:pt x="542193" y="436129"/>
                  </a:cubicBezTo>
                  <a:lnTo>
                    <a:pt x="540705" y="432557"/>
                  </a:lnTo>
                  <a:lnTo>
                    <a:pt x="540705" y="428986"/>
                  </a:lnTo>
                  <a:cubicBezTo>
                    <a:pt x="543383" y="406667"/>
                    <a:pt x="537580" y="386579"/>
                    <a:pt x="525676" y="367384"/>
                  </a:cubicBezTo>
                  <a:cubicBezTo>
                    <a:pt x="516749" y="353099"/>
                    <a:pt x="509755" y="337624"/>
                    <a:pt x="502166" y="322595"/>
                  </a:cubicBezTo>
                  <a:cubicBezTo>
                    <a:pt x="500381" y="318875"/>
                    <a:pt x="499488" y="314560"/>
                    <a:pt x="499190" y="310394"/>
                  </a:cubicBezTo>
                  <a:cubicBezTo>
                    <a:pt x="498744" y="300871"/>
                    <a:pt x="499042" y="291348"/>
                    <a:pt x="499190" y="281825"/>
                  </a:cubicBezTo>
                  <a:cubicBezTo>
                    <a:pt x="499190" y="276468"/>
                    <a:pt x="497256" y="272599"/>
                    <a:pt x="492494" y="269623"/>
                  </a:cubicBezTo>
                  <a:cubicBezTo>
                    <a:pt x="483269" y="263969"/>
                    <a:pt x="474490" y="257570"/>
                    <a:pt x="465115" y="252362"/>
                  </a:cubicBezTo>
                  <a:cubicBezTo>
                    <a:pt x="462437" y="250874"/>
                    <a:pt x="458866" y="249982"/>
                    <a:pt x="455592" y="249982"/>
                  </a:cubicBezTo>
                  <a:cubicBezTo>
                    <a:pt x="454551" y="249982"/>
                    <a:pt x="453658" y="249982"/>
                    <a:pt x="452765" y="250279"/>
                  </a:cubicBezTo>
                  <a:cubicBezTo>
                    <a:pt x="442052" y="252065"/>
                    <a:pt x="431636" y="255190"/>
                    <a:pt x="420922" y="257422"/>
                  </a:cubicBezTo>
                  <a:cubicBezTo>
                    <a:pt x="419881" y="257570"/>
                    <a:pt x="418839" y="257719"/>
                    <a:pt x="417797" y="257719"/>
                  </a:cubicBezTo>
                  <a:moveTo>
                    <a:pt x="208438" y="523920"/>
                  </a:moveTo>
                  <a:cubicBezTo>
                    <a:pt x="200254" y="522730"/>
                    <a:pt x="195790" y="520051"/>
                    <a:pt x="192368" y="512909"/>
                  </a:cubicBezTo>
                  <a:cubicBezTo>
                    <a:pt x="180464" y="488803"/>
                    <a:pt x="175404" y="463954"/>
                    <a:pt x="177339" y="437319"/>
                  </a:cubicBezTo>
                  <a:cubicBezTo>
                    <a:pt x="178678" y="418719"/>
                    <a:pt x="177636" y="399971"/>
                    <a:pt x="177636" y="381222"/>
                  </a:cubicBezTo>
                  <a:cubicBezTo>
                    <a:pt x="177636" y="373038"/>
                    <a:pt x="174958" y="370062"/>
                    <a:pt x="166625" y="368425"/>
                  </a:cubicBezTo>
                  <a:cubicBezTo>
                    <a:pt x="153829" y="365896"/>
                    <a:pt x="140883" y="363515"/>
                    <a:pt x="127938" y="361134"/>
                  </a:cubicBezTo>
                  <a:cubicBezTo>
                    <a:pt x="124069" y="360390"/>
                    <a:pt x="121391" y="358902"/>
                    <a:pt x="119903" y="355182"/>
                  </a:cubicBezTo>
                  <a:cubicBezTo>
                    <a:pt x="118117" y="350867"/>
                    <a:pt x="116034" y="346552"/>
                    <a:pt x="113355" y="342683"/>
                  </a:cubicBezTo>
                  <a:cubicBezTo>
                    <a:pt x="105915" y="331821"/>
                    <a:pt x="103832" y="319768"/>
                    <a:pt x="105320" y="307120"/>
                  </a:cubicBezTo>
                  <a:cubicBezTo>
                    <a:pt x="105469" y="305335"/>
                    <a:pt x="105767" y="302954"/>
                    <a:pt x="106957" y="301764"/>
                  </a:cubicBezTo>
                  <a:cubicBezTo>
                    <a:pt x="118712" y="290009"/>
                    <a:pt x="130765" y="278551"/>
                    <a:pt x="143562" y="266201"/>
                  </a:cubicBezTo>
                  <a:cubicBezTo>
                    <a:pt x="148025" y="274831"/>
                    <a:pt x="152192" y="282420"/>
                    <a:pt x="155912" y="290306"/>
                  </a:cubicBezTo>
                  <a:cubicBezTo>
                    <a:pt x="158888" y="296556"/>
                    <a:pt x="163203" y="299383"/>
                    <a:pt x="170345" y="299383"/>
                  </a:cubicBezTo>
                  <a:cubicBezTo>
                    <a:pt x="170494" y="299383"/>
                    <a:pt x="170792" y="299383"/>
                    <a:pt x="170940" y="299383"/>
                  </a:cubicBezTo>
                  <a:cubicBezTo>
                    <a:pt x="178529" y="299234"/>
                    <a:pt x="186267" y="299234"/>
                    <a:pt x="193855" y="299234"/>
                  </a:cubicBezTo>
                  <a:cubicBezTo>
                    <a:pt x="197575" y="299234"/>
                    <a:pt x="201295" y="299234"/>
                    <a:pt x="205015" y="299234"/>
                  </a:cubicBezTo>
                  <a:cubicBezTo>
                    <a:pt x="208735" y="299234"/>
                    <a:pt x="212604" y="299234"/>
                    <a:pt x="216324" y="299234"/>
                  </a:cubicBezTo>
                  <a:cubicBezTo>
                    <a:pt x="220490" y="299234"/>
                    <a:pt x="224508" y="299234"/>
                    <a:pt x="228674" y="299234"/>
                  </a:cubicBezTo>
                  <a:lnTo>
                    <a:pt x="228823" y="299234"/>
                  </a:lnTo>
                  <a:cubicBezTo>
                    <a:pt x="232394" y="299234"/>
                    <a:pt x="234478" y="300424"/>
                    <a:pt x="236263" y="303400"/>
                  </a:cubicBezTo>
                  <a:cubicBezTo>
                    <a:pt x="244149" y="316346"/>
                    <a:pt x="252333" y="329142"/>
                    <a:pt x="260071" y="342088"/>
                  </a:cubicBezTo>
                  <a:cubicBezTo>
                    <a:pt x="263196" y="347147"/>
                    <a:pt x="267213" y="349677"/>
                    <a:pt x="273165" y="349677"/>
                  </a:cubicBezTo>
                  <a:lnTo>
                    <a:pt x="273909" y="349677"/>
                  </a:lnTo>
                  <a:cubicBezTo>
                    <a:pt x="277183" y="349677"/>
                    <a:pt x="280307" y="349677"/>
                    <a:pt x="283581" y="349677"/>
                  </a:cubicBezTo>
                  <a:cubicBezTo>
                    <a:pt x="288491" y="349677"/>
                    <a:pt x="293699" y="349677"/>
                    <a:pt x="299056" y="349677"/>
                  </a:cubicBezTo>
                  <a:cubicBezTo>
                    <a:pt x="297568" y="357563"/>
                    <a:pt x="295634" y="364705"/>
                    <a:pt x="294741" y="372145"/>
                  </a:cubicBezTo>
                  <a:cubicBezTo>
                    <a:pt x="293699" y="381222"/>
                    <a:pt x="289235" y="387769"/>
                    <a:pt x="282391" y="393870"/>
                  </a:cubicBezTo>
                  <a:cubicBezTo>
                    <a:pt x="272868" y="402203"/>
                    <a:pt x="263642" y="411131"/>
                    <a:pt x="255012" y="420356"/>
                  </a:cubicBezTo>
                  <a:cubicBezTo>
                    <a:pt x="252333" y="423183"/>
                    <a:pt x="251589" y="427796"/>
                    <a:pt x="249953" y="431516"/>
                  </a:cubicBezTo>
                  <a:lnTo>
                    <a:pt x="249953" y="432706"/>
                  </a:lnTo>
                  <a:cubicBezTo>
                    <a:pt x="253375" y="448777"/>
                    <a:pt x="246679" y="459639"/>
                    <a:pt x="231948" y="467079"/>
                  </a:cubicBezTo>
                  <a:cubicBezTo>
                    <a:pt x="226145" y="470055"/>
                    <a:pt x="221234" y="474816"/>
                    <a:pt x="215729" y="478387"/>
                  </a:cubicBezTo>
                  <a:cubicBezTo>
                    <a:pt x="210223" y="481959"/>
                    <a:pt x="207843" y="486720"/>
                    <a:pt x="208140" y="493267"/>
                  </a:cubicBezTo>
                  <a:cubicBezTo>
                    <a:pt x="208438" y="503386"/>
                    <a:pt x="208140" y="513504"/>
                    <a:pt x="208140" y="524218"/>
                  </a:cubicBezTo>
                </a:path>
              </a:pathLst>
            </a:custGeom>
            <a:solidFill>
              <a:schemeClr val="accent5"/>
            </a:solidFill>
            <a:ln w="148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5262FE0-2036-C501-5C63-AF26A1279648}"/>
                </a:ext>
              </a:extLst>
            </p:cNvPr>
            <p:cNvSpPr/>
            <p:nvPr/>
          </p:nvSpPr>
          <p:spPr>
            <a:xfrm>
              <a:off x="10047261" y="3657758"/>
              <a:ext cx="1216365" cy="292127"/>
            </a:xfrm>
            <a:custGeom>
              <a:avLst/>
              <a:gdLst>
                <a:gd name="connsiteX0" fmla="*/ 104456 w 869876"/>
                <a:gd name="connsiteY0" fmla="*/ 0 h 208913"/>
                <a:gd name="connsiteX1" fmla="*/ 0 w 869876"/>
                <a:gd name="connsiteY1" fmla="*/ 104457 h 208913"/>
                <a:gd name="connsiteX2" fmla="*/ 104456 w 869876"/>
                <a:gd name="connsiteY2" fmla="*/ 208913 h 208913"/>
                <a:gd name="connsiteX3" fmla="*/ 765420 w 869876"/>
                <a:gd name="connsiteY3" fmla="*/ 208913 h 208913"/>
                <a:gd name="connsiteX4" fmla="*/ 869876 w 869876"/>
                <a:gd name="connsiteY4" fmla="*/ 104457 h 208913"/>
                <a:gd name="connsiteX5" fmla="*/ 765420 w 869876"/>
                <a:gd name="connsiteY5" fmla="*/ 0 h 208913"/>
                <a:gd name="connsiteX6" fmla="*/ 104456 w 869876"/>
                <a:gd name="connsiteY6" fmla="*/ 0 h 20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69876" h="208913">
                  <a:moveTo>
                    <a:pt x="104456" y="0"/>
                  </a:moveTo>
                  <a:cubicBezTo>
                    <a:pt x="46723" y="0"/>
                    <a:pt x="0" y="46723"/>
                    <a:pt x="0" y="104457"/>
                  </a:cubicBezTo>
                  <a:cubicBezTo>
                    <a:pt x="0" y="162191"/>
                    <a:pt x="46723" y="208913"/>
                    <a:pt x="104456" y="208913"/>
                  </a:cubicBezTo>
                  <a:lnTo>
                    <a:pt x="765420" y="208913"/>
                  </a:lnTo>
                  <a:cubicBezTo>
                    <a:pt x="823154" y="208913"/>
                    <a:pt x="869876" y="162191"/>
                    <a:pt x="869876" y="104457"/>
                  </a:cubicBezTo>
                  <a:cubicBezTo>
                    <a:pt x="869876" y="46723"/>
                    <a:pt x="823154" y="0"/>
                    <a:pt x="765420" y="0"/>
                  </a:cubicBezTo>
                  <a:lnTo>
                    <a:pt x="104456" y="0"/>
                  </a:lnTo>
                  <a:close/>
                </a:path>
              </a:pathLst>
            </a:custGeom>
            <a:gradFill>
              <a:gsLst>
                <a:gs pos="38000">
                  <a:srgbClr val="283583"/>
                </a:gs>
                <a:gs pos="100000">
                  <a:srgbClr val="27AAE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BB52480-3983-D0ED-B65E-AC8CBB261658}"/>
                </a:ext>
              </a:extLst>
            </p:cNvPr>
            <p:cNvSpPr txBox="1"/>
            <p:nvPr/>
          </p:nvSpPr>
          <p:spPr>
            <a:xfrm>
              <a:off x="10142998" y="3641326"/>
              <a:ext cx="9877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/>
                  <a:solidFill>
                    <a:prstClr val="white"/>
                  </a:solidFill>
                  <a:effectLst/>
                  <a:uLnTx/>
                  <a:uFillTx/>
                  <a:latin typeface="PT Sans"/>
                  <a:ea typeface="PT Sans"/>
                  <a:cs typeface="+mn-cs"/>
                  <a:sym typeface="PT Sans"/>
                  <a:rtl val="0"/>
                </a:rPr>
                <a:t> By 2030</a:t>
              </a: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59C71F9-FECB-6318-CDF9-ECDB7AA2D733}"/>
                </a:ext>
              </a:extLst>
            </p:cNvPr>
            <p:cNvSpPr/>
            <p:nvPr/>
          </p:nvSpPr>
          <p:spPr>
            <a:xfrm>
              <a:off x="11239501" y="5508436"/>
              <a:ext cx="709660" cy="615968"/>
            </a:xfrm>
            <a:custGeom>
              <a:avLst/>
              <a:gdLst>
                <a:gd name="connsiteX0" fmla="*/ 70087 w 867350"/>
                <a:gd name="connsiteY0" fmla="*/ 405991 h 752840"/>
                <a:gd name="connsiteX1" fmla="*/ 52231 w 867350"/>
                <a:gd name="connsiteY1" fmla="*/ 379654 h 752840"/>
                <a:gd name="connsiteX2" fmla="*/ 37351 w 867350"/>
                <a:gd name="connsiteY2" fmla="*/ 385755 h 752840"/>
                <a:gd name="connsiteX3" fmla="*/ 41667 w 867350"/>
                <a:gd name="connsiteY3" fmla="*/ 396468 h 752840"/>
                <a:gd name="connsiteX4" fmla="*/ 69938 w 867350"/>
                <a:gd name="connsiteY4" fmla="*/ 405991 h 752840"/>
                <a:gd name="connsiteX5" fmla="*/ 716171 w 867350"/>
                <a:gd name="connsiteY5" fmla="*/ 242015 h 752840"/>
                <a:gd name="connsiteX6" fmla="*/ 713195 w 867350"/>
                <a:gd name="connsiteY6" fmla="*/ 215231 h 752840"/>
                <a:gd name="connsiteX7" fmla="*/ 696976 w 867350"/>
                <a:gd name="connsiteY7" fmla="*/ 205113 h 752840"/>
                <a:gd name="connsiteX8" fmla="*/ 591626 w 867350"/>
                <a:gd name="connsiteY8" fmla="*/ 238742 h 752840"/>
                <a:gd name="connsiteX9" fmla="*/ 583145 w 867350"/>
                <a:gd name="connsiteY9" fmla="*/ 248860 h 752840"/>
                <a:gd name="connsiteX10" fmla="*/ 580020 w 867350"/>
                <a:gd name="connsiteY10" fmla="*/ 288292 h 752840"/>
                <a:gd name="connsiteX11" fmla="*/ 636712 w 867350"/>
                <a:gd name="connsiteY11" fmla="*/ 345728 h 752840"/>
                <a:gd name="connsiteX12" fmla="*/ 702184 w 867350"/>
                <a:gd name="connsiteY12" fmla="*/ 314034 h 752840"/>
                <a:gd name="connsiteX13" fmla="*/ 716171 w 867350"/>
                <a:gd name="connsiteY13" fmla="*/ 241866 h 752840"/>
                <a:gd name="connsiteX14" fmla="*/ 867350 w 867350"/>
                <a:gd name="connsiteY14" fmla="*/ 501074 h 752840"/>
                <a:gd name="connsiteX15" fmla="*/ 821669 w 867350"/>
                <a:gd name="connsiteY15" fmla="*/ 536636 h 752840"/>
                <a:gd name="connsiteX16" fmla="*/ 779857 w 867350"/>
                <a:gd name="connsiteY16" fmla="*/ 548540 h 752840"/>
                <a:gd name="connsiteX17" fmla="*/ 768400 w 867350"/>
                <a:gd name="connsiteY17" fmla="*/ 556427 h 752840"/>
                <a:gd name="connsiteX18" fmla="*/ 663199 w 867350"/>
                <a:gd name="connsiteY18" fmla="*/ 643474 h 752840"/>
                <a:gd name="connsiteX19" fmla="*/ 654866 w 867350"/>
                <a:gd name="connsiteY19" fmla="*/ 653592 h 752840"/>
                <a:gd name="connsiteX20" fmla="*/ 638796 w 867350"/>
                <a:gd name="connsiteY20" fmla="*/ 728587 h 752840"/>
                <a:gd name="connsiteX21" fmla="*/ 605613 w 867350"/>
                <a:gd name="connsiteY21" fmla="*/ 752841 h 752840"/>
                <a:gd name="connsiteX22" fmla="*/ 551451 w 867350"/>
                <a:gd name="connsiteY22" fmla="*/ 752841 h 752840"/>
                <a:gd name="connsiteX23" fmla="*/ 517971 w 867350"/>
                <a:gd name="connsiteY23" fmla="*/ 728884 h 752840"/>
                <a:gd name="connsiteX24" fmla="*/ 509490 w 867350"/>
                <a:gd name="connsiteY24" fmla="*/ 690048 h 752840"/>
                <a:gd name="connsiteX25" fmla="*/ 375868 w 867350"/>
                <a:gd name="connsiteY25" fmla="*/ 690048 h 752840"/>
                <a:gd name="connsiteX26" fmla="*/ 367833 w 867350"/>
                <a:gd name="connsiteY26" fmla="*/ 726950 h 752840"/>
                <a:gd name="connsiteX27" fmla="*/ 333461 w 867350"/>
                <a:gd name="connsiteY27" fmla="*/ 752692 h 752840"/>
                <a:gd name="connsiteX28" fmla="*/ 280935 w 867350"/>
                <a:gd name="connsiteY28" fmla="*/ 752692 h 752840"/>
                <a:gd name="connsiteX29" fmla="*/ 245818 w 867350"/>
                <a:gd name="connsiteY29" fmla="*/ 726652 h 752840"/>
                <a:gd name="connsiteX30" fmla="*/ 231088 w 867350"/>
                <a:gd name="connsiteY30" fmla="*/ 658205 h 752840"/>
                <a:gd name="connsiteX31" fmla="*/ 222903 w 867350"/>
                <a:gd name="connsiteY31" fmla="*/ 647938 h 752840"/>
                <a:gd name="connsiteX32" fmla="*/ 101335 w 867350"/>
                <a:gd name="connsiteY32" fmla="*/ 500330 h 752840"/>
                <a:gd name="connsiteX33" fmla="*/ 94342 w 867350"/>
                <a:gd name="connsiteY33" fmla="*/ 431733 h 752840"/>
                <a:gd name="connsiteX34" fmla="*/ 86157 w 867350"/>
                <a:gd name="connsiteY34" fmla="*/ 434561 h 752840"/>
                <a:gd name="connsiteX35" fmla="*/ 30060 w 867350"/>
                <a:gd name="connsiteY35" fmla="*/ 472951 h 752840"/>
                <a:gd name="connsiteX36" fmla="*/ 14139 w 867350"/>
                <a:gd name="connsiteY36" fmla="*/ 474290 h 752840"/>
                <a:gd name="connsiteX37" fmla="*/ 3 w 867350"/>
                <a:gd name="connsiteY37" fmla="*/ 463130 h 752840"/>
                <a:gd name="connsiteX38" fmla="*/ 13395 w 867350"/>
                <a:gd name="connsiteY38" fmla="*/ 451226 h 752840"/>
                <a:gd name="connsiteX39" fmla="*/ 62201 w 867350"/>
                <a:gd name="connsiteY39" fmla="*/ 426377 h 752840"/>
                <a:gd name="connsiteX40" fmla="*/ 54463 w 867350"/>
                <a:gd name="connsiteY40" fmla="*/ 424293 h 752840"/>
                <a:gd name="connsiteX41" fmla="*/ 31549 w 867350"/>
                <a:gd name="connsiteY41" fmla="*/ 416705 h 752840"/>
                <a:gd name="connsiteX42" fmla="*/ 16222 w 867350"/>
                <a:gd name="connsiteY42" fmla="*/ 372660 h 752840"/>
                <a:gd name="connsiteX43" fmla="*/ 70087 w 867350"/>
                <a:gd name="connsiteY43" fmla="*/ 362840 h 752840"/>
                <a:gd name="connsiteX44" fmla="*/ 94639 w 867350"/>
                <a:gd name="connsiteY44" fmla="*/ 402271 h 752840"/>
                <a:gd name="connsiteX45" fmla="*/ 97466 w 867350"/>
                <a:gd name="connsiteY45" fmla="*/ 408074 h 752840"/>
                <a:gd name="connsiteX46" fmla="*/ 99698 w 867350"/>
                <a:gd name="connsiteY46" fmla="*/ 401676 h 752840"/>
                <a:gd name="connsiteX47" fmla="*/ 217398 w 867350"/>
                <a:gd name="connsiteY47" fmla="*/ 250943 h 752840"/>
                <a:gd name="connsiteX48" fmla="*/ 237337 w 867350"/>
                <a:gd name="connsiteY48" fmla="*/ 253324 h 752840"/>
                <a:gd name="connsiteX49" fmla="*/ 230343 w 867350"/>
                <a:gd name="connsiteY49" fmla="*/ 269989 h 752840"/>
                <a:gd name="connsiteX50" fmla="*/ 126184 w 867350"/>
                <a:gd name="connsiteY50" fmla="*/ 397807 h 752840"/>
                <a:gd name="connsiteX51" fmla="*/ 130946 w 867350"/>
                <a:gd name="connsiteY51" fmla="*/ 514912 h 752840"/>
                <a:gd name="connsiteX52" fmla="*/ 235254 w 867350"/>
                <a:gd name="connsiteY52" fmla="*/ 627999 h 752840"/>
                <a:gd name="connsiteX53" fmla="*/ 255937 w 867350"/>
                <a:gd name="connsiteY53" fmla="*/ 654039 h 752840"/>
                <a:gd name="connsiteX54" fmla="*/ 270370 w 867350"/>
                <a:gd name="connsiteY54" fmla="*/ 721742 h 752840"/>
                <a:gd name="connsiteX55" fmla="*/ 281381 w 867350"/>
                <a:gd name="connsiteY55" fmla="*/ 730075 h 752840"/>
                <a:gd name="connsiteX56" fmla="*/ 332121 w 867350"/>
                <a:gd name="connsiteY56" fmla="*/ 730075 h 752840"/>
                <a:gd name="connsiteX57" fmla="*/ 342687 w 867350"/>
                <a:gd name="connsiteY57" fmla="*/ 722188 h 752840"/>
                <a:gd name="connsiteX58" fmla="*/ 350275 w 867350"/>
                <a:gd name="connsiteY58" fmla="*/ 686179 h 752840"/>
                <a:gd name="connsiteX59" fmla="*/ 377356 w 867350"/>
                <a:gd name="connsiteY59" fmla="*/ 667133 h 752840"/>
                <a:gd name="connsiteX60" fmla="*/ 509043 w 867350"/>
                <a:gd name="connsiteY60" fmla="*/ 664455 h 752840"/>
                <a:gd name="connsiteX61" fmla="*/ 533000 w 867350"/>
                <a:gd name="connsiteY61" fmla="*/ 680822 h 752840"/>
                <a:gd name="connsiteX62" fmla="*/ 541630 w 867350"/>
                <a:gd name="connsiteY62" fmla="*/ 722040 h 752840"/>
                <a:gd name="connsiteX63" fmla="*/ 552939 w 867350"/>
                <a:gd name="connsiteY63" fmla="*/ 730223 h 752840"/>
                <a:gd name="connsiteX64" fmla="*/ 602935 w 867350"/>
                <a:gd name="connsiteY64" fmla="*/ 730223 h 752840"/>
                <a:gd name="connsiteX65" fmla="*/ 614541 w 867350"/>
                <a:gd name="connsiteY65" fmla="*/ 721296 h 752840"/>
                <a:gd name="connsiteX66" fmla="*/ 630909 w 867350"/>
                <a:gd name="connsiteY66" fmla="*/ 643325 h 752840"/>
                <a:gd name="connsiteX67" fmla="*/ 645194 w 867350"/>
                <a:gd name="connsiteY67" fmla="*/ 626064 h 752840"/>
                <a:gd name="connsiteX68" fmla="*/ 747716 w 867350"/>
                <a:gd name="connsiteY68" fmla="*/ 542291 h 752840"/>
                <a:gd name="connsiteX69" fmla="*/ 772417 w 867350"/>
                <a:gd name="connsiteY69" fmla="*/ 526369 h 752840"/>
                <a:gd name="connsiteX70" fmla="*/ 822413 w 867350"/>
                <a:gd name="connsiteY70" fmla="*/ 512382 h 752840"/>
                <a:gd name="connsiteX71" fmla="*/ 841757 w 867350"/>
                <a:gd name="connsiteY71" fmla="*/ 488574 h 752840"/>
                <a:gd name="connsiteX72" fmla="*/ 841757 w 867350"/>
                <a:gd name="connsiteY72" fmla="*/ 442149 h 752840"/>
                <a:gd name="connsiteX73" fmla="*/ 824496 w 867350"/>
                <a:gd name="connsiteY73" fmla="*/ 420871 h 752840"/>
                <a:gd name="connsiteX74" fmla="*/ 793993 w 867350"/>
                <a:gd name="connsiteY74" fmla="*/ 412241 h 752840"/>
                <a:gd name="connsiteX75" fmla="*/ 763935 w 867350"/>
                <a:gd name="connsiteY75" fmla="*/ 386201 h 752840"/>
                <a:gd name="connsiteX76" fmla="*/ 730753 w 867350"/>
                <a:gd name="connsiteY76" fmla="*/ 330997 h 752840"/>
                <a:gd name="connsiteX77" fmla="*/ 724801 w 867350"/>
                <a:gd name="connsiteY77" fmla="*/ 324747 h 752840"/>
                <a:gd name="connsiteX78" fmla="*/ 721081 w 867350"/>
                <a:gd name="connsiteY78" fmla="*/ 332038 h 752840"/>
                <a:gd name="connsiteX79" fmla="*/ 654866 w 867350"/>
                <a:gd name="connsiteY79" fmla="*/ 369684 h 752840"/>
                <a:gd name="connsiteX80" fmla="*/ 554129 w 867350"/>
                <a:gd name="connsiteY80" fmla="*/ 282340 h 752840"/>
                <a:gd name="connsiteX81" fmla="*/ 556808 w 867350"/>
                <a:gd name="connsiteY81" fmla="*/ 240974 h 752840"/>
                <a:gd name="connsiteX82" fmla="*/ 537612 w 867350"/>
                <a:gd name="connsiteY82" fmla="*/ 237105 h 752840"/>
                <a:gd name="connsiteX83" fmla="*/ 532702 w 867350"/>
                <a:gd name="connsiteY83" fmla="*/ 238890 h 752840"/>
                <a:gd name="connsiteX84" fmla="*/ 482706 w 867350"/>
                <a:gd name="connsiteY84" fmla="*/ 281596 h 752840"/>
                <a:gd name="connsiteX85" fmla="*/ 503091 w 867350"/>
                <a:gd name="connsiteY85" fmla="*/ 287399 h 752840"/>
                <a:gd name="connsiteX86" fmla="*/ 513359 w 867350"/>
                <a:gd name="connsiteY86" fmla="*/ 301981 h 752840"/>
                <a:gd name="connsiteX87" fmla="*/ 495354 w 867350"/>
                <a:gd name="connsiteY87" fmla="*/ 308528 h 752840"/>
                <a:gd name="connsiteX88" fmla="*/ 384647 w 867350"/>
                <a:gd name="connsiteY88" fmla="*/ 293946 h 752840"/>
                <a:gd name="connsiteX89" fmla="*/ 288970 w 867350"/>
                <a:gd name="connsiteY89" fmla="*/ 307635 h 752840"/>
                <a:gd name="connsiteX90" fmla="*/ 277661 w 867350"/>
                <a:gd name="connsiteY90" fmla="*/ 308975 h 752840"/>
                <a:gd name="connsiteX91" fmla="*/ 268138 w 867350"/>
                <a:gd name="connsiteY91" fmla="*/ 300047 h 752840"/>
                <a:gd name="connsiteX92" fmla="*/ 275727 w 867350"/>
                <a:gd name="connsiteY92" fmla="*/ 288292 h 752840"/>
                <a:gd name="connsiteX93" fmla="*/ 298344 w 867350"/>
                <a:gd name="connsiteY93" fmla="*/ 281893 h 752840"/>
                <a:gd name="connsiteX94" fmla="*/ 292690 w 867350"/>
                <a:gd name="connsiteY94" fmla="*/ 277876 h 752840"/>
                <a:gd name="connsiteX95" fmla="*/ 222606 w 867350"/>
                <a:gd name="connsiteY95" fmla="*/ 119405 h 752840"/>
                <a:gd name="connsiteX96" fmla="*/ 364411 w 867350"/>
                <a:gd name="connsiteY96" fmla="*/ 1854 h 752840"/>
                <a:gd name="connsiteX97" fmla="*/ 542969 w 867350"/>
                <a:gd name="connsiteY97" fmla="*/ 81313 h 752840"/>
                <a:gd name="connsiteX98" fmla="*/ 539100 w 867350"/>
                <a:gd name="connsiteY98" fmla="*/ 98871 h 752840"/>
                <a:gd name="connsiteX99" fmla="*/ 521096 w 867350"/>
                <a:gd name="connsiteY99" fmla="*/ 92473 h 752840"/>
                <a:gd name="connsiteX100" fmla="*/ 519905 w 867350"/>
                <a:gd name="connsiteY100" fmla="*/ 90538 h 752840"/>
                <a:gd name="connsiteX101" fmla="*/ 385243 w 867350"/>
                <a:gd name="connsiteY101" fmla="*/ 22686 h 752840"/>
                <a:gd name="connsiteX102" fmla="*/ 246116 w 867350"/>
                <a:gd name="connsiteY102" fmla="*/ 129226 h 752840"/>
                <a:gd name="connsiteX103" fmla="*/ 334651 w 867350"/>
                <a:gd name="connsiteY103" fmla="*/ 272668 h 752840"/>
                <a:gd name="connsiteX104" fmla="*/ 347746 w 867350"/>
                <a:gd name="connsiteY104" fmla="*/ 273858 h 752840"/>
                <a:gd name="connsiteX105" fmla="*/ 433900 w 867350"/>
                <a:gd name="connsiteY105" fmla="*/ 273858 h 752840"/>
                <a:gd name="connsiteX106" fmla="*/ 449375 w 867350"/>
                <a:gd name="connsiteY106" fmla="*/ 271775 h 752840"/>
                <a:gd name="connsiteX107" fmla="*/ 537464 w 867350"/>
                <a:gd name="connsiteY107" fmla="*/ 162110 h 752840"/>
                <a:gd name="connsiteX108" fmla="*/ 541332 w 867350"/>
                <a:gd name="connsiteY108" fmla="*/ 151992 h 752840"/>
                <a:gd name="connsiteX109" fmla="*/ 554725 w 867350"/>
                <a:gd name="connsiteY109" fmla="*/ 149314 h 752840"/>
                <a:gd name="connsiteX110" fmla="*/ 562165 w 867350"/>
                <a:gd name="connsiteY110" fmla="*/ 159432 h 752840"/>
                <a:gd name="connsiteX111" fmla="*/ 551302 w 867350"/>
                <a:gd name="connsiteY111" fmla="*/ 207643 h 752840"/>
                <a:gd name="connsiteX112" fmla="*/ 547731 w 867350"/>
                <a:gd name="connsiteY112" fmla="*/ 216124 h 752840"/>
                <a:gd name="connsiteX113" fmla="*/ 584186 w 867350"/>
                <a:gd name="connsiteY113" fmla="*/ 217017 h 752840"/>
                <a:gd name="connsiteX114" fmla="*/ 685519 w 867350"/>
                <a:gd name="connsiteY114" fmla="*/ 183984 h 752840"/>
                <a:gd name="connsiteX115" fmla="*/ 692959 w 867350"/>
                <a:gd name="connsiteY115" fmla="*/ 182942 h 752840"/>
                <a:gd name="connsiteX116" fmla="*/ 738491 w 867350"/>
                <a:gd name="connsiteY116" fmla="*/ 213743 h 752840"/>
                <a:gd name="connsiteX117" fmla="*/ 734622 w 867350"/>
                <a:gd name="connsiteY117" fmla="*/ 293499 h 752840"/>
                <a:gd name="connsiteX118" fmla="*/ 737449 w 867350"/>
                <a:gd name="connsiteY118" fmla="*/ 303171 h 752840"/>
                <a:gd name="connsiteX119" fmla="*/ 787743 w 867350"/>
                <a:gd name="connsiteY119" fmla="*/ 378761 h 752840"/>
                <a:gd name="connsiteX120" fmla="*/ 802027 w 867350"/>
                <a:gd name="connsiteY120" fmla="*/ 391260 h 752840"/>
                <a:gd name="connsiteX121" fmla="*/ 821372 w 867350"/>
                <a:gd name="connsiteY121" fmla="*/ 396468 h 752840"/>
                <a:gd name="connsiteX122" fmla="*/ 867052 w 867350"/>
                <a:gd name="connsiteY122" fmla="*/ 431882 h 752840"/>
                <a:gd name="connsiteX123" fmla="*/ 867052 w 867350"/>
                <a:gd name="connsiteY123" fmla="*/ 500776 h 75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867350" h="752840">
                  <a:moveTo>
                    <a:pt x="70087" y="405991"/>
                  </a:moveTo>
                  <a:cubicBezTo>
                    <a:pt x="67855" y="393195"/>
                    <a:pt x="63391" y="384564"/>
                    <a:pt x="52231" y="379654"/>
                  </a:cubicBezTo>
                  <a:cubicBezTo>
                    <a:pt x="44643" y="376380"/>
                    <a:pt x="40923" y="380993"/>
                    <a:pt x="37351" y="385755"/>
                  </a:cubicBezTo>
                  <a:cubicBezTo>
                    <a:pt x="33631" y="390963"/>
                    <a:pt x="36608" y="394534"/>
                    <a:pt x="41667" y="396468"/>
                  </a:cubicBezTo>
                  <a:cubicBezTo>
                    <a:pt x="50297" y="399742"/>
                    <a:pt x="59225" y="402420"/>
                    <a:pt x="69938" y="405991"/>
                  </a:cubicBezTo>
                  <a:moveTo>
                    <a:pt x="716171" y="242015"/>
                  </a:moveTo>
                  <a:cubicBezTo>
                    <a:pt x="715278" y="233087"/>
                    <a:pt x="714683" y="224159"/>
                    <a:pt x="713195" y="215231"/>
                  </a:cubicBezTo>
                  <a:cubicBezTo>
                    <a:pt x="711261" y="204369"/>
                    <a:pt x="709028" y="203030"/>
                    <a:pt x="696976" y="205113"/>
                  </a:cubicBezTo>
                  <a:cubicBezTo>
                    <a:pt x="659925" y="211363"/>
                    <a:pt x="625701" y="224903"/>
                    <a:pt x="591626" y="238742"/>
                  </a:cubicBezTo>
                  <a:cubicBezTo>
                    <a:pt x="587758" y="240378"/>
                    <a:pt x="583740" y="245140"/>
                    <a:pt x="583145" y="248860"/>
                  </a:cubicBezTo>
                  <a:cubicBezTo>
                    <a:pt x="581211" y="261954"/>
                    <a:pt x="579127" y="275197"/>
                    <a:pt x="580020" y="288292"/>
                  </a:cubicBezTo>
                  <a:cubicBezTo>
                    <a:pt x="582252" y="318349"/>
                    <a:pt x="603382" y="340222"/>
                    <a:pt x="636712" y="345728"/>
                  </a:cubicBezTo>
                  <a:cubicBezTo>
                    <a:pt x="680459" y="353019"/>
                    <a:pt x="691321" y="342454"/>
                    <a:pt x="702184" y="314034"/>
                  </a:cubicBezTo>
                  <a:cubicBezTo>
                    <a:pt x="711112" y="290672"/>
                    <a:pt x="715129" y="266567"/>
                    <a:pt x="716171" y="241866"/>
                  </a:cubicBezTo>
                  <a:moveTo>
                    <a:pt x="867350" y="501074"/>
                  </a:moveTo>
                  <a:cubicBezTo>
                    <a:pt x="860505" y="521310"/>
                    <a:pt x="843989" y="531577"/>
                    <a:pt x="821669" y="536636"/>
                  </a:cubicBezTo>
                  <a:cubicBezTo>
                    <a:pt x="807533" y="539761"/>
                    <a:pt x="793546" y="544076"/>
                    <a:pt x="779857" y="548540"/>
                  </a:cubicBezTo>
                  <a:cubicBezTo>
                    <a:pt x="775393" y="550028"/>
                    <a:pt x="770780" y="553004"/>
                    <a:pt x="768400" y="556427"/>
                  </a:cubicBezTo>
                  <a:cubicBezTo>
                    <a:pt x="742508" y="594222"/>
                    <a:pt x="706499" y="622196"/>
                    <a:pt x="663199" y="643474"/>
                  </a:cubicBezTo>
                  <a:cubicBezTo>
                    <a:pt x="658437" y="645855"/>
                    <a:pt x="655759" y="648533"/>
                    <a:pt x="654866" y="653592"/>
                  </a:cubicBezTo>
                  <a:cubicBezTo>
                    <a:pt x="649807" y="678590"/>
                    <a:pt x="644301" y="703589"/>
                    <a:pt x="638796" y="728587"/>
                  </a:cubicBezTo>
                  <a:cubicBezTo>
                    <a:pt x="635373" y="744508"/>
                    <a:pt x="623916" y="752841"/>
                    <a:pt x="605613" y="752841"/>
                  </a:cubicBezTo>
                  <a:cubicBezTo>
                    <a:pt x="587609" y="752841"/>
                    <a:pt x="569456" y="752841"/>
                    <a:pt x="551451" y="752841"/>
                  </a:cubicBezTo>
                  <a:cubicBezTo>
                    <a:pt x="533000" y="752841"/>
                    <a:pt x="521691" y="744806"/>
                    <a:pt x="517971" y="728884"/>
                  </a:cubicBezTo>
                  <a:cubicBezTo>
                    <a:pt x="514846" y="715492"/>
                    <a:pt x="512019" y="702101"/>
                    <a:pt x="509490" y="690048"/>
                  </a:cubicBezTo>
                  <a:lnTo>
                    <a:pt x="375868" y="690048"/>
                  </a:lnTo>
                  <a:cubicBezTo>
                    <a:pt x="373190" y="702547"/>
                    <a:pt x="370512" y="714748"/>
                    <a:pt x="367833" y="726950"/>
                  </a:cubicBezTo>
                  <a:cubicBezTo>
                    <a:pt x="364113" y="744211"/>
                    <a:pt x="353102" y="752692"/>
                    <a:pt x="333461" y="752692"/>
                  </a:cubicBezTo>
                  <a:cubicBezTo>
                    <a:pt x="316051" y="752692"/>
                    <a:pt x="298493" y="752692"/>
                    <a:pt x="280935" y="752692"/>
                  </a:cubicBezTo>
                  <a:cubicBezTo>
                    <a:pt x="260847" y="752692"/>
                    <a:pt x="249687" y="744211"/>
                    <a:pt x="245818" y="726652"/>
                  </a:cubicBezTo>
                  <a:cubicBezTo>
                    <a:pt x="240908" y="703886"/>
                    <a:pt x="235700" y="681120"/>
                    <a:pt x="231088" y="658205"/>
                  </a:cubicBezTo>
                  <a:cubicBezTo>
                    <a:pt x="230046" y="653146"/>
                    <a:pt x="227665" y="650467"/>
                    <a:pt x="222903" y="647938"/>
                  </a:cubicBezTo>
                  <a:cubicBezTo>
                    <a:pt x="157878" y="614607"/>
                    <a:pt x="115620" y="566099"/>
                    <a:pt x="101335" y="500330"/>
                  </a:cubicBezTo>
                  <a:cubicBezTo>
                    <a:pt x="96425" y="477861"/>
                    <a:pt x="95978" y="454797"/>
                    <a:pt x="94342" y="431733"/>
                  </a:cubicBezTo>
                  <a:cubicBezTo>
                    <a:pt x="90919" y="428609"/>
                    <a:pt x="88687" y="430989"/>
                    <a:pt x="86157" y="434561"/>
                  </a:cubicBezTo>
                  <a:cubicBezTo>
                    <a:pt x="72766" y="453309"/>
                    <a:pt x="55207" y="467594"/>
                    <a:pt x="30060" y="472951"/>
                  </a:cubicBezTo>
                  <a:cubicBezTo>
                    <a:pt x="24852" y="473992"/>
                    <a:pt x="19496" y="474439"/>
                    <a:pt x="14139" y="474290"/>
                  </a:cubicBezTo>
                  <a:cubicBezTo>
                    <a:pt x="5806" y="474290"/>
                    <a:pt x="301" y="469528"/>
                    <a:pt x="3" y="463130"/>
                  </a:cubicBezTo>
                  <a:cubicBezTo>
                    <a:pt x="-146" y="456583"/>
                    <a:pt x="4765" y="451821"/>
                    <a:pt x="13395" y="451226"/>
                  </a:cubicBezTo>
                  <a:cubicBezTo>
                    <a:pt x="33780" y="449738"/>
                    <a:pt x="49553" y="441554"/>
                    <a:pt x="62201" y="426377"/>
                  </a:cubicBezTo>
                  <a:cubicBezTo>
                    <a:pt x="59076" y="425484"/>
                    <a:pt x="56696" y="425037"/>
                    <a:pt x="54463" y="424293"/>
                  </a:cubicBezTo>
                  <a:cubicBezTo>
                    <a:pt x="46875" y="421764"/>
                    <a:pt x="38840" y="419978"/>
                    <a:pt x="31549" y="416705"/>
                  </a:cubicBezTo>
                  <a:cubicBezTo>
                    <a:pt x="9526" y="406735"/>
                    <a:pt x="3872" y="390070"/>
                    <a:pt x="16222" y="372660"/>
                  </a:cubicBezTo>
                  <a:cubicBezTo>
                    <a:pt x="29168" y="354656"/>
                    <a:pt x="50892" y="350489"/>
                    <a:pt x="70087" y="362840"/>
                  </a:cubicBezTo>
                  <a:cubicBezTo>
                    <a:pt x="85265" y="372512"/>
                    <a:pt x="92556" y="386201"/>
                    <a:pt x="94639" y="402271"/>
                  </a:cubicBezTo>
                  <a:cubicBezTo>
                    <a:pt x="94936" y="404057"/>
                    <a:pt x="95234" y="405842"/>
                    <a:pt x="97466" y="408074"/>
                  </a:cubicBezTo>
                  <a:cubicBezTo>
                    <a:pt x="98210" y="405991"/>
                    <a:pt x="99252" y="403908"/>
                    <a:pt x="99698" y="401676"/>
                  </a:cubicBezTo>
                  <a:cubicBezTo>
                    <a:pt x="112792" y="335461"/>
                    <a:pt x="152522" y="285464"/>
                    <a:pt x="217398" y="250943"/>
                  </a:cubicBezTo>
                  <a:cubicBezTo>
                    <a:pt x="225880" y="246479"/>
                    <a:pt x="233319" y="247521"/>
                    <a:pt x="237337" y="253324"/>
                  </a:cubicBezTo>
                  <a:cubicBezTo>
                    <a:pt x="241354" y="259425"/>
                    <a:pt x="239122" y="265377"/>
                    <a:pt x="230343" y="269989"/>
                  </a:cubicBezTo>
                  <a:cubicBezTo>
                    <a:pt x="174990" y="299451"/>
                    <a:pt x="139279" y="341561"/>
                    <a:pt x="126184" y="397807"/>
                  </a:cubicBezTo>
                  <a:cubicBezTo>
                    <a:pt x="117108" y="437090"/>
                    <a:pt x="117852" y="476373"/>
                    <a:pt x="130946" y="514912"/>
                  </a:cubicBezTo>
                  <a:cubicBezTo>
                    <a:pt x="148058" y="565206"/>
                    <a:pt x="183918" y="602554"/>
                    <a:pt x="235254" y="627999"/>
                  </a:cubicBezTo>
                  <a:cubicBezTo>
                    <a:pt x="247604" y="634100"/>
                    <a:pt x="253705" y="641837"/>
                    <a:pt x="255937" y="654039"/>
                  </a:cubicBezTo>
                  <a:cubicBezTo>
                    <a:pt x="259954" y="676656"/>
                    <a:pt x="265757" y="699125"/>
                    <a:pt x="270370" y="721742"/>
                  </a:cubicBezTo>
                  <a:cubicBezTo>
                    <a:pt x="271561" y="727843"/>
                    <a:pt x="274388" y="730223"/>
                    <a:pt x="281381" y="730075"/>
                  </a:cubicBezTo>
                  <a:cubicBezTo>
                    <a:pt x="298344" y="729777"/>
                    <a:pt x="315307" y="729777"/>
                    <a:pt x="332121" y="730075"/>
                  </a:cubicBezTo>
                  <a:cubicBezTo>
                    <a:pt x="338967" y="730075"/>
                    <a:pt x="341645" y="727843"/>
                    <a:pt x="342687" y="722188"/>
                  </a:cubicBezTo>
                  <a:cubicBezTo>
                    <a:pt x="344918" y="710136"/>
                    <a:pt x="347894" y="698083"/>
                    <a:pt x="350275" y="686179"/>
                  </a:cubicBezTo>
                  <a:cubicBezTo>
                    <a:pt x="353400" y="670704"/>
                    <a:pt x="359947" y="665645"/>
                    <a:pt x="377356" y="667133"/>
                  </a:cubicBezTo>
                  <a:cubicBezTo>
                    <a:pt x="421401" y="670853"/>
                    <a:pt x="465296" y="670109"/>
                    <a:pt x="509043" y="664455"/>
                  </a:cubicBezTo>
                  <a:cubicBezTo>
                    <a:pt x="521691" y="662818"/>
                    <a:pt x="530321" y="669067"/>
                    <a:pt x="533000" y="680822"/>
                  </a:cubicBezTo>
                  <a:cubicBezTo>
                    <a:pt x="535976" y="694512"/>
                    <a:pt x="539100" y="708201"/>
                    <a:pt x="541630" y="722040"/>
                  </a:cubicBezTo>
                  <a:cubicBezTo>
                    <a:pt x="542820" y="728289"/>
                    <a:pt x="545945" y="730372"/>
                    <a:pt x="552939" y="730223"/>
                  </a:cubicBezTo>
                  <a:cubicBezTo>
                    <a:pt x="569604" y="729926"/>
                    <a:pt x="586270" y="729777"/>
                    <a:pt x="602935" y="730223"/>
                  </a:cubicBezTo>
                  <a:cubicBezTo>
                    <a:pt x="610673" y="730372"/>
                    <a:pt x="613351" y="727545"/>
                    <a:pt x="614541" y="721296"/>
                  </a:cubicBezTo>
                  <a:cubicBezTo>
                    <a:pt x="619898" y="695256"/>
                    <a:pt x="625701" y="669365"/>
                    <a:pt x="630909" y="643325"/>
                  </a:cubicBezTo>
                  <a:cubicBezTo>
                    <a:pt x="632546" y="635290"/>
                    <a:pt x="637010" y="629933"/>
                    <a:pt x="645194" y="626064"/>
                  </a:cubicBezTo>
                  <a:cubicBezTo>
                    <a:pt x="687601" y="606125"/>
                    <a:pt x="723164" y="579490"/>
                    <a:pt x="747716" y="542291"/>
                  </a:cubicBezTo>
                  <a:cubicBezTo>
                    <a:pt x="753222" y="533809"/>
                    <a:pt x="762001" y="529197"/>
                    <a:pt x="772417" y="526369"/>
                  </a:cubicBezTo>
                  <a:cubicBezTo>
                    <a:pt x="789082" y="521757"/>
                    <a:pt x="805747" y="517144"/>
                    <a:pt x="822413" y="512382"/>
                  </a:cubicBezTo>
                  <a:cubicBezTo>
                    <a:pt x="836996" y="508216"/>
                    <a:pt x="841757" y="502264"/>
                    <a:pt x="841757" y="488574"/>
                  </a:cubicBezTo>
                  <a:cubicBezTo>
                    <a:pt x="841757" y="473099"/>
                    <a:pt x="841757" y="457624"/>
                    <a:pt x="841757" y="442149"/>
                  </a:cubicBezTo>
                  <a:cubicBezTo>
                    <a:pt x="841757" y="430692"/>
                    <a:pt x="836698" y="424591"/>
                    <a:pt x="824496" y="420871"/>
                  </a:cubicBezTo>
                  <a:cubicBezTo>
                    <a:pt x="814378" y="417895"/>
                    <a:pt x="804111" y="414919"/>
                    <a:pt x="793993" y="412241"/>
                  </a:cubicBezTo>
                  <a:cubicBezTo>
                    <a:pt x="778815" y="408223"/>
                    <a:pt x="768846" y="399593"/>
                    <a:pt x="763935" y="386201"/>
                  </a:cubicBezTo>
                  <a:cubicBezTo>
                    <a:pt x="756644" y="365964"/>
                    <a:pt x="745484" y="347662"/>
                    <a:pt x="730753" y="330997"/>
                  </a:cubicBezTo>
                  <a:cubicBezTo>
                    <a:pt x="729117" y="329062"/>
                    <a:pt x="727182" y="327277"/>
                    <a:pt x="724801" y="324747"/>
                  </a:cubicBezTo>
                  <a:cubicBezTo>
                    <a:pt x="723313" y="327723"/>
                    <a:pt x="722123" y="329806"/>
                    <a:pt x="721081" y="332038"/>
                  </a:cubicBezTo>
                  <a:cubicBezTo>
                    <a:pt x="709326" y="358822"/>
                    <a:pt x="686114" y="369833"/>
                    <a:pt x="654866" y="369684"/>
                  </a:cubicBezTo>
                  <a:cubicBezTo>
                    <a:pt x="597132" y="369536"/>
                    <a:pt x="555022" y="333229"/>
                    <a:pt x="554129" y="282340"/>
                  </a:cubicBezTo>
                  <a:cubicBezTo>
                    <a:pt x="553831" y="268948"/>
                    <a:pt x="555766" y="255556"/>
                    <a:pt x="556808" y="240974"/>
                  </a:cubicBezTo>
                  <a:cubicBezTo>
                    <a:pt x="551153" y="239783"/>
                    <a:pt x="544457" y="238295"/>
                    <a:pt x="537612" y="237105"/>
                  </a:cubicBezTo>
                  <a:cubicBezTo>
                    <a:pt x="536125" y="236807"/>
                    <a:pt x="533595" y="237849"/>
                    <a:pt x="532702" y="238890"/>
                  </a:cubicBezTo>
                  <a:cubicBezTo>
                    <a:pt x="519608" y="255705"/>
                    <a:pt x="503091" y="269543"/>
                    <a:pt x="482706" y="281596"/>
                  </a:cubicBezTo>
                  <a:cubicBezTo>
                    <a:pt x="490295" y="283679"/>
                    <a:pt x="496693" y="285464"/>
                    <a:pt x="503091" y="287399"/>
                  </a:cubicBezTo>
                  <a:cubicBezTo>
                    <a:pt x="512019" y="290077"/>
                    <a:pt x="515590" y="295285"/>
                    <a:pt x="513359" y="301981"/>
                  </a:cubicBezTo>
                  <a:cubicBezTo>
                    <a:pt x="511126" y="308379"/>
                    <a:pt x="504431" y="311207"/>
                    <a:pt x="495354" y="308528"/>
                  </a:cubicBezTo>
                  <a:cubicBezTo>
                    <a:pt x="459345" y="298261"/>
                    <a:pt x="422442" y="293351"/>
                    <a:pt x="384647" y="293946"/>
                  </a:cubicBezTo>
                  <a:cubicBezTo>
                    <a:pt x="352060" y="294392"/>
                    <a:pt x="320069" y="299154"/>
                    <a:pt x="288970" y="307635"/>
                  </a:cubicBezTo>
                  <a:cubicBezTo>
                    <a:pt x="285250" y="308677"/>
                    <a:pt x="280488" y="310165"/>
                    <a:pt x="277661" y="308975"/>
                  </a:cubicBezTo>
                  <a:cubicBezTo>
                    <a:pt x="273644" y="307189"/>
                    <a:pt x="269477" y="303618"/>
                    <a:pt x="268138" y="300047"/>
                  </a:cubicBezTo>
                  <a:cubicBezTo>
                    <a:pt x="266055" y="294690"/>
                    <a:pt x="269924" y="290226"/>
                    <a:pt x="275727" y="288292"/>
                  </a:cubicBezTo>
                  <a:cubicBezTo>
                    <a:pt x="282721" y="285911"/>
                    <a:pt x="290012" y="284274"/>
                    <a:pt x="298344" y="281893"/>
                  </a:cubicBezTo>
                  <a:cubicBezTo>
                    <a:pt x="295964" y="280256"/>
                    <a:pt x="294327" y="278917"/>
                    <a:pt x="292690" y="277876"/>
                  </a:cubicBezTo>
                  <a:cubicBezTo>
                    <a:pt x="234659" y="241718"/>
                    <a:pt x="207131" y="179371"/>
                    <a:pt x="222606" y="119405"/>
                  </a:cubicBezTo>
                  <a:cubicBezTo>
                    <a:pt x="238527" y="57802"/>
                    <a:pt x="293881" y="11972"/>
                    <a:pt x="364411" y="1854"/>
                  </a:cubicBezTo>
                  <a:cubicBezTo>
                    <a:pt x="435983" y="-8413"/>
                    <a:pt x="510233" y="24769"/>
                    <a:pt x="542969" y="81313"/>
                  </a:cubicBezTo>
                  <a:cubicBezTo>
                    <a:pt x="547433" y="89199"/>
                    <a:pt x="546094" y="95597"/>
                    <a:pt x="539100" y="98871"/>
                  </a:cubicBezTo>
                  <a:cubicBezTo>
                    <a:pt x="532405" y="101996"/>
                    <a:pt x="525858" y="99764"/>
                    <a:pt x="521096" y="92473"/>
                  </a:cubicBezTo>
                  <a:cubicBezTo>
                    <a:pt x="520650" y="91877"/>
                    <a:pt x="520352" y="91133"/>
                    <a:pt x="519905" y="90538"/>
                  </a:cubicBezTo>
                  <a:cubicBezTo>
                    <a:pt x="489848" y="44857"/>
                    <a:pt x="444911" y="21793"/>
                    <a:pt x="385243" y="22686"/>
                  </a:cubicBezTo>
                  <a:cubicBezTo>
                    <a:pt x="317540" y="23728"/>
                    <a:pt x="258466" y="69409"/>
                    <a:pt x="246116" y="129226"/>
                  </a:cubicBezTo>
                  <a:cubicBezTo>
                    <a:pt x="233766" y="189340"/>
                    <a:pt x="271412" y="250645"/>
                    <a:pt x="334651" y="272668"/>
                  </a:cubicBezTo>
                  <a:cubicBezTo>
                    <a:pt x="338669" y="274007"/>
                    <a:pt x="343579" y="274304"/>
                    <a:pt x="347746" y="273858"/>
                  </a:cubicBezTo>
                  <a:cubicBezTo>
                    <a:pt x="376464" y="270733"/>
                    <a:pt x="405182" y="270882"/>
                    <a:pt x="433900" y="273858"/>
                  </a:cubicBezTo>
                  <a:cubicBezTo>
                    <a:pt x="438959" y="274304"/>
                    <a:pt x="444762" y="273709"/>
                    <a:pt x="449375" y="271775"/>
                  </a:cubicBezTo>
                  <a:cubicBezTo>
                    <a:pt x="502199" y="250050"/>
                    <a:pt x="531512" y="213446"/>
                    <a:pt x="537464" y="162110"/>
                  </a:cubicBezTo>
                  <a:cubicBezTo>
                    <a:pt x="537910" y="158539"/>
                    <a:pt x="538654" y="153778"/>
                    <a:pt x="541332" y="151992"/>
                  </a:cubicBezTo>
                  <a:cubicBezTo>
                    <a:pt x="544755" y="149611"/>
                    <a:pt x="551153" y="147974"/>
                    <a:pt x="554725" y="149314"/>
                  </a:cubicBezTo>
                  <a:cubicBezTo>
                    <a:pt x="558296" y="150653"/>
                    <a:pt x="562759" y="156307"/>
                    <a:pt x="562165" y="159432"/>
                  </a:cubicBezTo>
                  <a:cubicBezTo>
                    <a:pt x="559337" y="175651"/>
                    <a:pt x="555171" y="191572"/>
                    <a:pt x="551302" y="207643"/>
                  </a:cubicBezTo>
                  <a:cubicBezTo>
                    <a:pt x="550707" y="210321"/>
                    <a:pt x="549219" y="212702"/>
                    <a:pt x="547731" y="216124"/>
                  </a:cubicBezTo>
                  <a:cubicBezTo>
                    <a:pt x="560081" y="217761"/>
                    <a:pt x="570348" y="223118"/>
                    <a:pt x="584186" y="217017"/>
                  </a:cubicBezTo>
                  <a:cubicBezTo>
                    <a:pt x="616476" y="202732"/>
                    <a:pt x="649956" y="190680"/>
                    <a:pt x="685519" y="183984"/>
                  </a:cubicBezTo>
                  <a:cubicBezTo>
                    <a:pt x="688048" y="183537"/>
                    <a:pt x="690577" y="183091"/>
                    <a:pt x="692959" y="182942"/>
                  </a:cubicBezTo>
                  <a:cubicBezTo>
                    <a:pt x="721974" y="179669"/>
                    <a:pt x="734175" y="187852"/>
                    <a:pt x="738491" y="213743"/>
                  </a:cubicBezTo>
                  <a:cubicBezTo>
                    <a:pt x="742955" y="240527"/>
                    <a:pt x="739979" y="267013"/>
                    <a:pt x="734622" y="293499"/>
                  </a:cubicBezTo>
                  <a:cubicBezTo>
                    <a:pt x="734026" y="296624"/>
                    <a:pt x="735217" y="301088"/>
                    <a:pt x="737449" y="303171"/>
                  </a:cubicBezTo>
                  <a:cubicBezTo>
                    <a:pt x="760066" y="325342"/>
                    <a:pt x="777327" y="350192"/>
                    <a:pt x="787743" y="378761"/>
                  </a:cubicBezTo>
                  <a:cubicBezTo>
                    <a:pt x="790124" y="385308"/>
                    <a:pt x="794587" y="389326"/>
                    <a:pt x="802027" y="391260"/>
                  </a:cubicBezTo>
                  <a:cubicBezTo>
                    <a:pt x="808575" y="392897"/>
                    <a:pt x="814825" y="395129"/>
                    <a:pt x="821372" y="396468"/>
                  </a:cubicBezTo>
                  <a:cubicBezTo>
                    <a:pt x="843840" y="401081"/>
                    <a:pt x="860208" y="411646"/>
                    <a:pt x="867052" y="431882"/>
                  </a:cubicBezTo>
                  <a:lnTo>
                    <a:pt x="867052" y="500776"/>
                  </a:lnTo>
                  <a:close/>
                </a:path>
              </a:pathLst>
            </a:custGeom>
            <a:solidFill>
              <a:schemeClr val="accent1"/>
            </a:solidFill>
            <a:ln w="148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72159EB-5A98-F9D3-F82D-1581CF14A53B}"/>
                </a:ext>
              </a:extLst>
            </p:cNvPr>
            <p:cNvGrpSpPr/>
            <p:nvPr/>
          </p:nvGrpSpPr>
          <p:grpSpPr>
            <a:xfrm>
              <a:off x="7021882" y="3459209"/>
              <a:ext cx="2186720" cy="1908375"/>
              <a:chOff x="4914892" y="449309"/>
              <a:chExt cx="2186720" cy="1908375"/>
            </a:xfrm>
          </p:grpSpPr>
          <p:sp>
            <p:nvSpPr>
              <p:cNvPr id="23" name="CaixaDeTexto 20">
                <a:extLst>
                  <a:ext uri="{FF2B5EF4-FFF2-40B4-BE49-F238E27FC236}">
                    <a16:creationId xmlns:a16="http://schemas.microsoft.com/office/drawing/2014/main" id="{4C0E2A24-9557-6B92-C938-796C3AC82421}"/>
                  </a:ext>
                </a:extLst>
              </p:cNvPr>
              <p:cNvSpPr txBox="1"/>
              <p:nvPr/>
            </p:nvSpPr>
            <p:spPr>
              <a:xfrm>
                <a:off x="4914893" y="449309"/>
                <a:ext cx="2186719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1200" cap="none" spc="0" normalizeH="0" baseline="0" noProof="0">
                    <a:ln>
                      <a:noFill/>
                    </a:ln>
                    <a:solidFill>
                      <a:srgbClr val="0095D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118.4</a:t>
                </a:r>
                <a:endParaRPr kumimoji="0" lang="en-US" sz="2800" b="1" i="0" u="none" strike="noStrike" kern="1200" cap="none" spc="0" normalizeH="0" baseline="0" noProof="0">
                  <a:ln>
                    <a:noFill/>
                  </a:ln>
                  <a:solidFill>
                    <a:srgbClr val="0095D9"/>
                  </a:solidFill>
                  <a:effectLst/>
                  <a:uLnTx/>
                  <a:uFillTx/>
                  <a:latin typeface="PT Sans" panose="020B0503020203020204" pitchFamily="34" charset="0"/>
                  <a:ea typeface="Helvetica Neue Medium"/>
                  <a:cs typeface="Arial" panose="020B0604020202020204" pitchFamily="34" charset="0"/>
                  <a:sym typeface="Helvetica Neue Medium"/>
                </a:endParaRPr>
              </a:p>
            </p:txBody>
          </p:sp>
          <p:sp>
            <p:nvSpPr>
              <p:cNvPr id="24" name="CaixaDeTexto 20">
                <a:extLst>
                  <a:ext uri="{FF2B5EF4-FFF2-40B4-BE49-F238E27FC236}">
                    <a16:creationId xmlns:a16="http://schemas.microsoft.com/office/drawing/2014/main" id="{02B95B9B-922A-FCAB-38F8-E23B48CD9535}"/>
                  </a:ext>
                </a:extLst>
              </p:cNvPr>
              <p:cNvSpPr txBox="1"/>
              <p:nvPr/>
            </p:nvSpPr>
            <p:spPr>
              <a:xfrm>
                <a:off x="4914892" y="1097009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5D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million</a:t>
                </a:r>
              </a:p>
            </p:txBody>
          </p:sp>
          <p:sp>
            <p:nvSpPr>
              <p:cNvPr id="25" name="CaixaDeTexto 20">
                <a:extLst>
                  <a:ext uri="{FF2B5EF4-FFF2-40B4-BE49-F238E27FC236}">
                    <a16:creationId xmlns:a16="http://schemas.microsoft.com/office/drawing/2014/main" id="{16122909-554C-BA7F-9A92-D8B943712AA7}"/>
                  </a:ext>
                </a:extLst>
              </p:cNvPr>
              <p:cNvSpPr txBox="1"/>
              <p:nvPr/>
            </p:nvSpPr>
            <p:spPr>
              <a:xfrm>
                <a:off x="4914892" y="1681209"/>
                <a:ext cx="1668433" cy="6764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36000" tIns="36000" rIns="36000" bIns="36000" numCol="1" spcCol="38100" rtlCol="0" anchor="t">
                <a:noAutofit/>
              </a:bodyPr>
              <a:lstStyle/>
              <a:p>
                <a:pPr marL="0" marR="0" lvl="0" indent="0" algn="l" defTabSz="5842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213F99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Helvetica Neue Medium"/>
                    <a:cs typeface="Arial" panose="020B0604020202020204" pitchFamily="34" charset="0"/>
                    <a:sym typeface="Helvetica Neue Medium"/>
                  </a:rPr>
                  <a:t>patient years of treatment through MPP’s generic partners (2010 - 2023)</a:t>
                </a:r>
              </a:p>
            </p:txBody>
          </p:sp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3AD4670-DD19-7BCD-8B38-0EA18D58052E}"/>
                </a:ext>
              </a:extLst>
            </p:cNvPr>
            <p:cNvSpPr/>
            <p:nvPr/>
          </p:nvSpPr>
          <p:spPr>
            <a:xfrm>
              <a:off x="8775652" y="5319641"/>
              <a:ext cx="879640" cy="804763"/>
            </a:xfrm>
            <a:custGeom>
              <a:avLst/>
              <a:gdLst>
                <a:gd name="connsiteX0" fmla="*/ 369021 w 738075"/>
                <a:gd name="connsiteY0" fmla="*/ 0 h 675248"/>
                <a:gd name="connsiteX1" fmla="*/ 330928 w 738075"/>
                <a:gd name="connsiteY1" fmla="*/ 4762 h 675248"/>
                <a:gd name="connsiteX2" fmla="*/ 283461 w 738075"/>
                <a:gd name="connsiteY2" fmla="*/ 26040 h 675248"/>
                <a:gd name="connsiteX3" fmla="*/ 279146 w 738075"/>
                <a:gd name="connsiteY3" fmla="*/ 39580 h 675248"/>
                <a:gd name="connsiteX4" fmla="*/ 288669 w 738075"/>
                <a:gd name="connsiteY4" fmla="*/ 45979 h 675248"/>
                <a:gd name="connsiteX5" fmla="*/ 292241 w 738075"/>
                <a:gd name="connsiteY5" fmla="*/ 45532 h 675248"/>
                <a:gd name="connsiteX6" fmla="*/ 299085 w 738075"/>
                <a:gd name="connsiteY6" fmla="*/ 41812 h 675248"/>
                <a:gd name="connsiteX7" fmla="*/ 368128 w 738075"/>
                <a:gd name="connsiteY7" fmla="*/ 21427 h 675248"/>
                <a:gd name="connsiteX8" fmla="*/ 402500 w 738075"/>
                <a:gd name="connsiteY8" fmla="*/ 25891 h 675248"/>
                <a:gd name="connsiteX9" fmla="*/ 473180 w 738075"/>
                <a:gd name="connsiteY9" fmla="*/ 224686 h 675248"/>
                <a:gd name="connsiteX10" fmla="*/ 468865 w 738075"/>
                <a:gd name="connsiteY10" fmla="*/ 229596 h 675248"/>
                <a:gd name="connsiteX11" fmla="*/ 416636 w 738075"/>
                <a:gd name="connsiteY11" fmla="*/ 172011 h 675248"/>
                <a:gd name="connsiteX12" fmla="*/ 410387 w 738075"/>
                <a:gd name="connsiteY12" fmla="*/ 88535 h 675248"/>
                <a:gd name="connsiteX13" fmla="*/ 369021 w 738075"/>
                <a:gd name="connsiteY13" fmla="*/ 72614 h 675248"/>
                <a:gd name="connsiteX14" fmla="*/ 330631 w 738075"/>
                <a:gd name="connsiteY14" fmla="*/ 86006 h 675248"/>
                <a:gd name="connsiteX15" fmla="*/ 308757 w 738075"/>
                <a:gd name="connsiteY15" fmla="*/ 121717 h 675248"/>
                <a:gd name="connsiteX16" fmla="*/ 321554 w 738075"/>
                <a:gd name="connsiteY16" fmla="*/ 172011 h 675248"/>
                <a:gd name="connsiteX17" fmla="*/ 269177 w 738075"/>
                <a:gd name="connsiteY17" fmla="*/ 229299 h 675248"/>
                <a:gd name="connsiteX18" fmla="*/ 267242 w 738075"/>
                <a:gd name="connsiteY18" fmla="*/ 227662 h 675248"/>
                <a:gd name="connsiteX19" fmla="*/ 265010 w 738075"/>
                <a:gd name="connsiteY19" fmla="*/ 224835 h 675248"/>
                <a:gd name="connsiteX20" fmla="*/ 246262 w 738075"/>
                <a:gd name="connsiteY20" fmla="*/ 110260 h 675248"/>
                <a:gd name="connsiteX21" fmla="*/ 266052 w 738075"/>
                <a:gd name="connsiteY21" fmla="*/ 72018 h 675248"/>
                <a:gd name="connsiteX22" fmla="*/ 266201 w 738075"/>
                <a:gd name="connsiteY22" fmla="*/ 58329 h 675248"/>
                <a:gd name="connsiteX23" fmla="*/ 255934 w 738075"/>
                <a:gd name="connsiteY23" fmla="*/ 54609 h 675248"/>
                <a:gd name="connsiteX24" fmla="*/ 254892 w 738075"/>
                <a:gd name="connsiteY24" fmla="*/ 54609 h 675248"/>
                <a:gd name="connsiteX25" fmla="*/ 246857 w 738075"/>
                <a:gd name="connsiteY25" fmla="*/ 61008 h 675248"/>
                <a:gd name="connsiteX26" fmla="*/ 220520 w 738075"/>
                <a:gd name="connsiteY26" fmla="*/ 178856 h 675248"/>
                <a:gd name="connsiteX27" fmla="*/ 351463 w 738075"/>
                <a:gd name="connsiteY27" fmla="*/ 297449 h 675248"/>
                <a:gd name="connsiteX28" fmla="*/ 358009 w 738075"/>
                <a:gd name="connsiteY28" fmla="*/ 304293 h 675248"/>
                <a:gd name="connsiteX29" fmla="*/ 358009 w 738075"/>
                <a:gd name="connsiteY29" fmla="*/ 375419 h 675248"/>
                <a:gd name="connsiteX30" fmla="*/ 352653 w 738075"/>
                <a:gd name="connsiteY30" fmla="*/ 384496 h 675248"/>
                <a:gd name="connsiteX31" fmla="*/ 307269 w 738075"/>
                <a:gd name="connsiteY31" fmla="*/ 413363 h 675248"/>
                <a:gd name="connsiteX32" fmla="*/ 272153 w 738075"/>
                <a:gd name="connsiteY32" fmla="*/ 435682 h 675248"/>
                <a:gd name="connsiteX33" fmla="*/ 268135 w 738075"/>
                <a:gd name="connsiteY33" fmla="*/ 431070 h 675248"/>
                <a:gd name="connsiteX34" fmla="*/ 154602 w 738075"/>
                <a:gd name="connsiteY34" fmla="*/ 376312 h 675248"/>
                <a:gd name="connsiteX35" fmla="*/ 131092 w 738075"/>
                <a:gd name="connsiteY35" fmla="*/ 378097 h 675248"/>
                <a:gd name="connsiteX36" fmla="*/ 5654 w 738075"/>
                <a:gd name="connsiteY36" fmla="*/ 485679 h 675248"/>
                <a:gd name="connsiteX37" fmla="*/ 0 w 738075"/>
                <a:gd name="connsiteY37" fmla="*/ 509784 h 675248"/>
                <a:gd name="connsiteX38" fmla="*/ 0 w 738075"/>
                <a:gd name="connsiteY38" fmla="*/ 542520 h 675248"/>
                <a:gd name="connsiteX39" fmla="*/ 1339 w 738075"/>
                <a:gd name="connsiteY39" fmla="*/ 546389 h 675248"/>
                <a:gd name="connsiteX40" fmla="*/ 102671 w 738075"/>
                <a:gd name="connsiteY40" fmla="*/ 667511 h 675248"/>
                <a:gd name="connsiteX41" fmla="*/ 120676 w 738075"/>
                <a:gd name="connsiteY41" fmla="*/ 671826 h 675248"/>
                <a:gd name="connsiteX42" fmla="*/ 122164 w 738075"/>
                <a:gd name="connsiteY42" fmla="*/ 671826 h 675248"/>
                <a:gd name="connsiteX43" fmla="*/ 131092 w 738075"/>
                <a:gd name="connsiteY43" fmla="*/ 663940 h 675248"/>
                <a:gd name="connsiteX44" fmla="*/ 125288 w 738075"/>
                <a:gd name="connsiteY44" fmla="*/ 651589 h 675248"/>
                <a:gd name="connsiteX45" fmla="*/ 117105 w 738075"/>
                <a:gd name="connsiteY45" fmla="*/ 649060 h 675248"/>
                <a:gd name="connsiteX46" fmla="*/ 67703 w 738075"/>
                <a:gd name="connsiteY46" fmla="*/ 623020 h 675248"/>
                <a:gd name="connsiteX47" fmla="*/ 124842 w 738075"/>
                <a:gd name="connsiteY47" fmla="*/ 561120 h 675248"/>
                <a:gd name="connsiteX48" fmla="*/ 131985 w 738075"/>
                <a:gd name="connsiteY48" fmla="*/ 546091 h 675248"/>
                <a:gd name="connsiteX49" fmla="*/ 124842 w 738075"/>
                <a:gd name="connsiteY49" fmla="*/ 538354 h 675248"/>
                <a:gd name="connsiteX50" fmla="*/ 123503 w 738075"/>
                <a:gd name="connsiteY50" fmla="*/ 482405 h 675248"/>
                <a:gd name="connsiteX51" fmla="*/ 151477 w 738075"/>
                <a:gd name="connsiteY51" fmla="*/ 470799 h 675248"/>
                <a:gd name="connsiteX52" fmla="*/ 180195 w 738075"/>
                <a:gd name="connsiteY52" fmla="*/ 483000 h 675248"/>
                <a:gd name="connsiteX53" fmla="*/ 177666 w 738075"/>
                <a:gd name="connsiteY53" fmla="*/ 538949 h 675248"/>
                <a:gd name="connsiteX54" fmla="*/ 180195 w 738075"/>
                <a:gd name="connsiteY54" fmla="*/ 562310 h 675248"/>
                <a:gd name="connsiteX55" fmla="*/ 235400 w 738075"/>
                <a:gd name="connsiteY55" fmla="*/ 623020 h 675248"/>
                <a:gd name="connsiteX56" fmla="*/ 224984 w 738075"/>
                <a:gd name="connsiteY56" fmla="*/ 630906 h 675248"/>
                <a:gd name="connsiteX57" fmla="*/ 162935 w 738075"/>
                <a:gd name="connsiteY57" fmla="*/ 653524 h 675248"/>
                <a:gd name="connsiteX58" fmla="*/ 153114 w 738075"/>
                <a:gd name="connsiteY58" fmla="*/ 664683 h 675248"/>
                <a:gd name="connsiteX59" fmla="*/ 163976 w 738075"/>
                <a:gd name="connsiteY59" fmla="*/ 674653 h 675248"/>
                <a:gd name="connsiteX60" fmla="*/ 164869 w 738075"/>
                <a:gd name="connsiteY60" fmla="*/ 674653 h 675248"/>
                <a:gd name="connsiteX61" fmla="*/ 184808 w 738075"/>
                <a:gd name="connsiteY61" fmla="*/ 671826 h 675248"/>
                <a:gd name="connsiteX62" fmla="*/ 300127 w 738075"/>
                <a:gd name="connsiteY62" fmla="*/ 499815 h 675248"/>
                <a:gd name="connsiteX63" fmla="*/ 285991 w 738075"/>
                <a:gd name="connsiteY63" fmla="*/ 453241 h 675248"/>
                <a:gd name="connsiteX64" fmla="*/ 286437 w 738075"/>
                <a:gd name="connsiteY64" fmla="*/ 452794 h 675248"/>
                <a:gd name="connsiteX65" fmla="*/ 365747 w 738075"/>
                <a:gd name="connsiteY65" fmla="*/ 402500 h 675248"/>
                <a:gd name="connsiteX66" fmla="*/ 368723 w 738075"/>
                <a:gd name="connsiteY66" fmla="*/ 401905 h 675248"/>
                <a:gd name="connsiteX67" fmla="*/ 373633 w 738075"/>
                <a:gd name="connsiteY67" fmla="*/ 403095 h 675248"/>
                <a:gd name="connsiteX68" fmla="*/ 423332 w 738075"/>
                <a:gd name="connsiteY68" fmla="*/ 434492 h 675248"/>
                <a:gd name="connsiteX69" fmla="*/ 453687 w 738075"/>
                <a:gd name="connsiteY69" fmla="*/ 453836 h 675248"/>
                <a:gd name="connsiteX70" fmla="*/ 450860 w 738075"/>
                <a:gd name="connsiteY70" fmla="*/ 460085 h 675248"/>
                <a:gd name="connsiteX71" fmla="*/ 437170 w 738075"/>
                <a:gd name="connsiteY71" fmla="*/ 549216 h 675248"/>
                <a:gd name="connsiteX72" fmla="*/ 587011 w 738075"/>
                <a:gd name="connsiteY72" fmla="*/ 675248 h 675248"/>
                <a:gd name="connsiteX73" fmla="*/ 612902 w 738075"/>
                <a:gd name="connsiteY73" fmla="*/ 673016 h 675248"/>
                <a:gd name="connsiteX74" fmla="*/ 710216 w 738075"/>
                <a:gd name="connsiteY74" fmla="*/ 439849 h 675248"/>
                <a:gd name="connsiteX75" fmla="*/ 675100 w 738075"/>
                <a:gd name="connsiteY75" fmla="*/ 404584 h 675248"/>
                <a:gd name="connsiteX76" fmla="*/ 668106 w 738075"/>
                <a:gd name="connsiteY76" fmla="*/ 401756 h 675248"/>
                <a:gd name="connsiteX77" fmla="*/ 659327 w 738075"/>
                <a:gd name="connsiteY77" fmla="*/ 406518 h 675248"/>
                <a:gd name="connsiteX78" fmla="*/ 661856 w 738075"/>
                <a:gd name="connsiteY78" fmla="*/ 421547 h 675248"/>
                <a:gd name="connsiteX79" fmla="*/ 666916 w 738075"/>
                <a:gd name="connsiteY79" fmla="*/ 425564 h 675248"/>
                <a:gd name="connsiteX80" fmla="*/ 690723 w 738075"/>
                <a:gd name="connsiteY80" fmla="*/ 601295 h 675248"/>
                <a:gd name="connsiteX81" fmla="*/ 686557 w 738075"/>
                <a:gd name="connsiteY81" fmla="*/ 606206 h 675248"/>
                <a:gd name="connsiteX82" fmla="*/ 634477 w 738075"/>
                <a:gd name="connsiteY82" fmla="*/ 548621 h 675248"/>
                <a:gd name="connsiteX83" fmla="*/ 628228 w 738075"/>
                <a:gd name="connsiteY83" fmla="*/ 465442 h 675248"/>
                <a:gd name="connsiteX84" fmla="*/ 586267 w 738075"/>
                <a:gd name="connsiteY84" fmla="*/ 449223 h 675248"/>
                <a:gd name="connsiteX85" fmla="*/ 550704 w 738075"/>
                <a:gd name="connsiteY85" fmla="*/ 460681 h 675248"/>
                <a:gd name="connsiteX86" fmla="*/ 527045 w 738075"/>
                <a:gd name="connsiteY86" fmla="*/ 494458 h 675248"/>
                <a:gd name="connsiteX87" fmla="*/ 537907 w 738075"/>
                <a:gd name="connsiteY87" fmla="*/ 547728 h 675248"/>
                <a:gd name="connsiteX88" fmla="*/ 509040 w 738075"/>
                <a:gd name="connsiteY88" fmla="*/ 574512 h 675248"/>
                <a:gd name="connsiteX89" fmla="*/ 485232 w 738075"/>
                <a:gd name="connsiteY89" fmla="*/ 605610 h 675248"/>
                <a:gd name="connsiteX90" fmla="*/ 458151 w 738075"/>
                <a:gd name="connsiteY90" fmla="*/ 507552 h 675248"/>
                <a:gd name="connsiteX91" fmla="*/ 585969 w 738075"/>
                <a:gd name="connsiteY91" fmla="*/ 398185 h 675248"/>
                <a:gd name="connsiteX92" fmla="*/ 614241 w 738075"/>
                <a:gd name="connsiteY92" fmla="*/ 401310 h 675248"/>
                <a:gd name="connsiteX93" fmla="*/ 626740 w 738075"/>
                <a:gd name="connsiteY93" fmla="*/ 404435 h 675248"/>
                <a:gd name="connsiteX94" fmla="*/ 629567 w 738075"/>
                <a:gd name="connsiteY94" fmla="*/ 404732 h 675248"/>
                <a:gd name="connsiteX95" fmla="*/ 640280 w 738075"/>
                <a:gd name="connsiteY95" fmla="*/ 396846 h 675248"/>
                <a:gd name="connsiteX96" fmla="*/ 632394 w 738075"/>
                <a:gd name="connsiteY96" fmla="*/ 383454 h 675248"/>
                <a:gd name="connsiteX97" fmla="*/ 627633 w 738075"/>
                <a:gd name="connsiteY97" fmla="*/ 381966 h 675248"/>
                <a:gd name="connsiteX98" fmla="*/ 584630 w 738075"/>
                <a:gd name="connsiteY98" fmla="*/ 376312 h 675248"/>
                <a:gd name="connsiteX99" fmla="*/ 486869 w 738075"/>
                <a:gd name="connsiteY99" fmla="*/ 413065 h 675248"/>
                <a:gd name="connsiteX100" fmla="*/ 462317 w 738075"/>
                <a:gd name="connsiteY100" fmla="*/ 434195 h 675248"/>
                <a:gd name="connsiteX101" fmla="*/ 382413 w 738075"/>
                <a:gd name="connsiteY101" fmla="*/ 383008 h 675248"/>
                <a:gd name="connsiteX102" fmla="*/ 379734 w 738075"/>
                <a:gd name="connsiteY102" fmla="*/ 375717 h 675248"/>
                <a:gd name="connsiteX103" fmla="*/ 379734 w 738075"/>
                <a:gd name="connsiteY103" fmla="*/ 310989 h 675248"/>
                <a:gd name="connsiteX104" fmla="*/ 391192 w 738075"/>
                <a:gd name="connsiteY104" fmla="*/ 297449 h 675248"/>
                <a:gd name="connsiteX105" fmla="*/ 396102 w 738075"/>
                <a:gd name="connsiteY105" fmla="*/ 296407 h 675248"/>
                <a:gd name="connsiteX106" fmla="*/ 517968 w 738075"/>
                <a:gd name="connsiteY106" fmla="*/ 124098 h 675248"/>
                <a:gd name="connsiteX107" fmla="*/ 368723 w 738075"/>
                <a:gd name="connsiteY107" fmla="*/ 0 h 675248"/>
                <a:gd name="connsiteX108" fmla="*/ 368426 w 738075"/>
                <a:gd name="connsiteY108" fmla="*/ 276914 h 675248"/>
                <a:gd name="connsiteX109" fmla="*/ 285098 w 738075"/>
                <a:gd name="connsiteY109" fmla="*/ 246113 h 675248"/>
                <a:gd name="connsiteX110" fmla="*/ 340005 w 738075"/>
                <a:gd name="connsiteY110" fmla="*/ 186147 h 675248"/>
                <a:gd name="connsiteX111" fmla="*/ 347445 w 738075"/>
                <a:gd name="connsiteY111" fmla="*/ 180790 h 675248"/>
                <a:gd name="connsiteX112" fmla="*/ 343576 w 738075"/>
                <a:gd name="connsiteY112" fmla="*/ 163678 h 675248"/>
                <a:gd name="connsiteX113" fmla="*/ 330631 w 738075"/>
                <a:gd name="connsiteY113" fmla="*/ 123503 h 675248"/>
                <a:gd name="connsiteX114" fmla="*/ 362325 w 738075"/>
                <a:gd name="connsiteY114" fmla="*/ 95380 h 675248"/>
                <a:gd name="connsiteX115" fmla="*/ 369021 w 738075"/>
                <a:gd name="connsiteY115" fmla="*/ 94785 h 675248"/>
                <a:gd name="connsiteX116" fmla="*/ 403244 w 738075"/>
                <a:gd name="connsiteY116" fmla="*/ 115319 h 675248"/>
                <a:gd name="connsiteX117" fmla="*/ 396846 w 738075"/>
                <a:gd name="connsiteY117" fmla="*/ 160703 h 675248"/>
                <a:gd name="connsiteX118" fmla="*/ 393721 w 738075"/>
                <a:gd name="connsiteY118" fmla="*/ 163678 h 675248"/>
                <a:gd name="connsiteX119" fmla="*/ 396102 w 738075"/>
                <a:gd name="connsiteY119" fmla="*/ 185701 h 675248"/>
                <a:gd name="connsiteX120" fmla="*/ 440146 w 738075"/>
                <a:gd name="connsiteY120" fmla="*/ 225876 h 675248"/>
                <a:gd name="connsiteX121" fmla="*/ 452497 w 738075"/>
                <a:gd name="connsiteY121" fmla="*/ 246113 h 675248"/>
                <a:gd name="connsiteX122" fmla="*/ 368277 w 738075"/>
                <a:gd name="connsiteY122" fmla="*/ 277063 h 675248"/>
                <a:gd name="connsiteX123" fmla="*/ 50740 w 738075"/>
                <a:gd name="connsiteY123" fmla="*/ 606503 h 675248"/>
                <a:gd name="connsiteX124" fmla="*/ 60115 w 738075"/>
                <a:gd name="connsiteY124" fmla="*/ 434939 h 675248"/>
                <a:gd name="connsiteX125" fmla="*/ 150584 w 738075"/>
                <a:gd name="connsiteY125" fmla="*/ 398483 h 675248"/>
                <a:gd name="connsiteX126" fmla="*/ 244179 w 738075"/>
                <a:gd name="connsiteY126" fmla="*/ 438063 h 675248"/>
                <a:gd name="connsiteX127" fmla="*/ 250726 w 738075"/>
                <a:gd name="connsiteY127" fmla="*/ 605908 h 675248"/>
                <a:gd name="connsiteX128" fmla="*/ 199093 w 738075"/>
                <a:gd name="connsiteY128" fmla="*/ 549067 h 675248"/>
                <a:gd name="connsiteX129" fmla="*/ 189718 w 738075"/>
                <a:gd name="connsiteY129" fmla="*/ 463061 h 675248"/>
                <a:gd name="connsiteX130" fmla="*/ 150882 w 738075"/>
                <a:gd name="connsiteY130" fmla="*/ 449521 h 675248"/>
                <a:gd name="connsiteX131" fmla="*/ 111599 w 738075"/>
                <a:gd name="connsiteY131" fmla="*/ 463657 h 675248"/>
                <a:gd name="connsiteX132" fmla="*/ 103118 w 738075"/>
                <a:gd name="connsiteY132" fmla="*/ 549067 h 675248"/>
                <a:gd name="connsiteX133" fmla="*/ 50889 w 738075"/>
                <a:gd name="connsiteY133" fmla="*/ 606503 h 675248"/>
                <a:gd name="connsiteX134" fmla="*/ 585820 w 738075"/>
                <a:gd name="connsiteY134" fmla="*/ 653226 h 675248"/>
                <a:gd name="connsiteX135" fmla="*/ 502493 w 738075"/>
                <a:gd name="connsiteY135" fmla="*/ 622871 h 675248"/>
                <a:gd name="connsiteX136" fmla="*/ 541181 w 738075"/>
                <a:gd name="connsiteY136" fmla="*/ 573916 h 675248"/>
                <a:gd name="connsiteX137" fmla="*/ 559483 w 738075"/>
                <a:gd name="connsiteY137" fmla="*/ 561417 h 675248"/>
                <a:gd name="connsiteX138" fmla="*/ 561417 w 738075"/>
                <a:gd name="connsiteY138" fmla="*/ 540437 h 675248"/>
                <a:gd name="connsiteX139" fmla="*/ 567221 w 738075"/>
                <a:gd name="connsiteY139" fmla="*/ 475709 h 675248"/>
                <a:gd name="connsiteX140" fmla="*/ 585969 w 738075"/>
                <a:gd name="connsiteY140" fmla="*/ 471097 h 675248"/>
                <a:gd name="connsiteX141" fmla="*/ 617514 w 738075"/>
                <a:gd name="connsiteY141" fmla="*/ 486423 h 675248"/>
                <a:gd name="connsiteX142" fmla="*/ 613646 w 738075"/>
                <a:gd name="connsiteY142" fmla="*/ 537610 h 675248"/>
                <a:gd name="connsiteX143" fmla="*/ 609926 w 738075"/>
                <a:gd name="connsiteY143" fmla="*/ 540883 h 675248"/>
                <a:gd name="connsiteX144" fmla="*/ 612158 w 738075"/>
                <a:gd name="connsiteY144" fmla="*/ 560971 h 675248"/>
                <a:gd name="connsiteX145" fmla="*/ 655309 w 738075"/>
                <a:gd name="connsiteY145" fmla="*/ 598914 h 675248"/>
                <a:gd name="connsiteX146" fmla="*/ 670189 w 738075"/>
                <a:gd name="connsiteY146" fmla="*/ 622276 h 675248"/>
                <a:gd name="connsiteX147" fmla="*/ 585671 w 738075"/>
                <a:gd name="connsiteY147" fmla="*/ 653077 h 675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738075" h="675248">
                  <a:moveTo>
                    <a:pt x="369021" y="0"/>
                  </a:moveTo>
                  <a:cubicBezTo>
                    <a:pt x="356522" y="0"/>
                    <a:pt x="343725" y="1488"/>
                    <a:pt x="330928" y="4762"/>
                  </a:cubicBezTo>
                  <a:cubicBezTo>
                    <a:pt x="313816" y="8928"/>
                    <a:pt x="298044" y="16219"/>
                    <a:pt x="283461" y="26040"/>
                  </a:cubicBezTo>
                  <a:cubicBezTo>
                    <a:pt x="278700" y="29313"/>
                    <a:pt x="276468" y="33926"/>
                    <a:pt x="279146" y="39580"/>
                  </a:cubicBezTo>
                  <a:cubicBezTo>
                    <a:pt x="281081" y="44044"/>
                    <a:pt x="284503" y="45979"/>
                    <a:pt x="288669" y="45979"/>
                  </a:cubicBezTo>
                  <a:cubicBezTo>
                    <a:pt x="289860" y="45979"/>
                    <a:pt x="291050" y="45830"/>
                    <a:pt x="292241" y="45532"/>
                  </a:cubicBezTo>
                  <a:cubicBezTo>
                    <a:pt x="294621" y="44937"/>
                    <a:pt x="296853" y="43152"/>
                    <a:pt x="299085" y="41812"/>
                  </a:cubicBezTo>
                  <a:cubicBezTo>
                    <a:pt x="321107" y="28272"/>
                    <a:pt x="344023" y="21427"/>
                    <a:pt x="368128" y="21427"/>
                  </a:cubicBezTo>
                  <a:cubicBezTo>
                    <a:pt x="379437" y="21427"/>
                    <a:pt x="390894" y="22915"/>
                    <a:pt x="402500" y="25891"/>
                  </a:cubicBezTo>
                  <a:cubicBezTo>
                    <a:pt x="489845" y="48360"/>
                    <a:pt x="526896" y="153114"/>
                    <a:pt x="473180" y="224686"/>
                  </a:cubicBezTo>
                  <a:cubicBezTo>
                    <a:pt x="471989" y="226323"/>
                    <a:pt x="470501" y="227811"/>
                    <a:pt x="468865" y="229596"/>
                  </a:cubicBezTo>
                  <a:cubicBezTo>
                    <a:pt x="455919" y="205937"/>
                    <a:pt x="438361" y="187040"/>
                    <a:pt x="416636" y="172011"/>
                  </a:cubicBezTo>
                  <a:cubicBezTo>
                    <a:pt x="439551" y="141508"/>
                    <a:pt x="431070" y="107433"/>
                    <a:pt x="410387" y="88535"/>
                  </a:cubicBezTo>
                  <a:cubicBezTo>
                    <a:pt x="398632" y="77971"/>
                    <a:pt x="383901" y="72614"/>
                    <a:pt x="369021" y="72614"/>
                  </a:cubicBezTo>
                  <a:cubicBezTo>
                    <a:pt x="355480" y="72614"/>
                    <a:pt x="341939" y="77078"/>
                    <a:pt x="330631" y="86006"/>
                  </a:cubicBezTo>
                  <a:cubicBezTo>
                    <a:pt x="319024" y="95231"/>
                    <a:pt x="311584" y="107284"/>
                    <a:pt x="308757" y="121717"/>
                  </a:cubicBezTo>
                  <a:cubicBezTo>
                    <a:pt x="305186" y="140168"/>
                    <a:pt x="309948" y="156834"/>
                    <a:pt x="321554" y="172011"/>
                  </a:cubicBezTo>
                  <a:cubicBezTo>
                    <a:pt x="299234" y="187040"/>
                    <a:pt x="281974" y="206235"/>
                    <a:pt x="269177" y="229299"/>
                  </a:cubicBezTo>
                  <a:lnTo>
                    <a:pt x="267242" y="227662"/>
                  </a:lnTo>
                  <a:lnTo>
                    <a:pt x="265010" y="224835"/>
                  </a:lnTo>
                  <a:cubicBezTo>
                    <a:pt x="239715" y="189718"/>
                    <a:pt x="232870" y="151328"/>
                    <a:pt x="246262" y="110260"/>
                  </a:cubicBezTo>
                  <a:cubicBezTo>
                    <a:pt x="250726" y="96868"/>
                    <a:pt x="259058" y="84518"/>
                    <a:pt x="266052" y="72018"/>
                  </a:cubicBezTo>
                  <a:cubicBezTo>
                    <a:pt x="268730" y="67257"/>
                    <a:pt x="270218" y="62198"/>
                    <a:pt x="266201" y="58329"/>
                  </a:cubicBezTo>
                  <a:cubicBezTo>
                    <a:pt x="263820" y="56097"/>
                    <a:pt x="259505" y="54609"/>
                    <a:pt x="255934" y="54609"/>
                  </a:cubicBezTo>
                  <a:cubicBezTo>
                    <a:pt x="255636" y="54609"/>
                    <a:pt x="255190" y="54609"/>
                    <a:pt x="254892" y="54609"/>
                  </a:cubicBezTo>
                  <a:cubicBezTo>
                    <a:pt x="252065" y="54907"/>
                    <a:pt x="248940" y="58180"/>
                    <a:pt x="246857" y="61008"/>
                  </a:cubicBezTo>
                  <a:cubicBezTo>
                    <a:pt x="220966" y="96570"/>
                    <a:pt x="212484" y="135853"/>
                    <a:pt x="220520" y="178856"/>
                  </a:cubicBezTo>
                  <a:cubicBezTo>
                    <a:pt x="231977" y="240459"/>
                    <a:pt x="288223" y="291496"/>
                    <a:pt x="351463" y="297449"/>
                  </a:cubicBezTo>
                  <a:cubicBezTo>
                    <a:pt x="356224" y="297895"/>
                    <a:pt x="358009" y="299383"/>
                    <a:pt x="358009" y="304293"/>
                  </a:cubicBezTo>
                  <a:cubicBezTo>
                    <a:pt x="357861" y="327952"/>
                    <a:pt x="357861" y="351760"/>
                    <a:pt x="358009" y="375419"/>
                  </a:cubicBezTo>
                  <a:cubicBezTo>
                    <a:pt x="358009" y="379883"/>
                    <a:pt x="356373" y="382264"/>
                    <a:pt x="352653" y="384496"/>
                  </a:cubicBezTo>
                  <a:cubicBezTo>
                    <a:pt x="337475" y="393870"/>
                    <a:pt x="322447" y="403691"/>
                    <a:pt x="307269" y="413363"/>
                  </a:cubicBezTo>
                  <a:cubicBezTo>
                    <a:pt x="295663" y="420803"/>
                    <a:pt x="283908" y="428242"/>
                    <a:pt x="272153" y="435682"/>
                  </a:cubicBezTo>
                  <a:cubicBezTo>
                    <a:pt x="270665" y="433897"/>
                    <a:pt x="269474" y="432409"/>
                    <a:pt x="268135" y="431070"/>
                  </a:cubicBezTo>
                  <a:cubicBezTo>
                    <a:pt x="237185" y="395656"/>
                    <a:pt x="199093" y="376312"/>
                    <a:pt x="154602" y="376312"/>
                  </a:cubicBezTo>
                  <a:cubicBezTo>
                    <a:pt x="147013" y="376312"/>
                    <a:pt x="139127" y="376907"/>
                    <a:pt x="131092" y="378097"/>
                  </a:cubicBezTo>
                  <a:cubicBezTo>
                    <a:pt x="67108" y="387323"/>
                    <a:pt x="25147" y="424374"/>
                    <a:pt x="5654" y="485679"/>
                  </a:cubicBezTo>
                  <a:cubicBezTo>
                    <a:pt x="3125" y="493565"/>
                    <a:pt x="1786" y="501749"/>
                    <a:pt x="0" y="509784"/>
                  </a:cubicBezTo>
                  <a:lnTo>
                    <a:pt x="0" y="542520"/>
                  </a:lnTo>
                  <a:lnTo>
                    <a:pt x="1339" y="546389"/>
                  </a:lnTo>
                  <a:cubicBezTo>
                    <a:pt x="11458" y="606057"/>
                    <a:pt x="45384" y="646233"/>
                    <a:pt x="102671" y="667511"/>
                  </a:cubicBezTo>
                  <a:cubicBezTo>
                    <a:pt x="108474" y="669594"/>
                    <a:pt x="114575" y="671082"/>
                    <a:pt x="120676" y="671826"/>
                  </a:cubicBezTo>
                  <a:cubicBezTo>
                    <a:pt x="121122" y="671826"/>
                    <a:pt x="121717" y="671826"/>
                    <a:pt x="122164" y="671826"/>
                  </a:cubicBezTo>
                  <a:cubicBezTo>
                    <a:pt x="126776" y="671826"/>
                    <a:pt x="129901" y="668701"/>
                    <a:pt x="131092" y="663940"/>
                  </a:cubicBezTo>
                  <a:cubicBezTo>
                    <a:pt x="132431" y="658434"/>
                    <a:pt x="130496" y="653970"/>
                    <a:pt x="125288" y="651589"/>
                  </a:cubicBezTo>
                  <a:cubicBezTo>
                    <a:pt x="122759" y="650399"/>
                    <a:pt x="119783" y="649953"/>
                    <a:pt x="117105" y="649060"/>
                  </a:cubicBezTo>
                  <a:cubicBezTo>
                    <a:pt x="98654" y="644000"/>
                    <a:pt x="81988" y="635519"/>
                    <a:pt x="67703" y="623020"/>
                  </a:cubicBezTo>
                  <a:cubicBezTo>
                    <a:pt x="79607" y="596980"/>
                    <a:pt x="98207" y="576892"/>
                    <a:pt x="124842" y="561120"/>
                  </a:cubicBezTo>
                  <a:cubicBezTo>
                    <a:pt x="131985" y="556804"/>
                    <a:pt x="134812" y="551745"/>
                    <a:pt x="131985" y="546091"/>
                  </a:cubicBezTo>
                  <a:cubicBezTo>
                    <a:pt x="130496" y="543115"/>
                    <a:pt x="127372" y="540734"/>
                    <a:pt x="124842" y="538354"/>
                  </a:cubicBezTo>
                  <a:cubicBezTo>
                    <a:pt x="108474" y="523027"/>
                    <a:pt x="107730" y="498029"/>
                    <a:pt x="123503" y="482405"/>
                  </a:cubicBezTo>
                  <a:cubicBezTo>
                    <a:pt x="131241" y="474668"/>
                    <a:pt x="141359" y="470799"/>
                    <a:pt x="151477" y="470799"/>
                  </a:cubicBezTo>
                  <a:cubicBezTo>
                    <a:pt x="161595" y="470799"/>
                    <a:pt x="172309" y="474816"/>
                    <a:pt x="180195" y="483000"/>
                  </a:cubicBezTo>
                  <a:cubicBezTo>
                    <a:pt x="195521" y="498773"/>
                    <a:pt x="194331" y="524069"/>
                    <a:pt x="177666" y="538949"/>
                  </a:cubicBezTo>
                  <a:cubicBezTo>
                    <a:pt x="166655" y="548769"/>
                    <a:pt x="167398" y="554573"/>
                    <a:pt x="180195" y="562310"/>
                  </a:cubicBezTo>
                  <a:cubicBezTo>
                    <a:pt x="204598" y="576892"/>
                    <a:pt x="223198" y="596831"/>
                    <a:pt x="235400" y="623020"/>
                  </a:cubicBezTo>
                  <a:cubicBezTo>
                    <a:pt x="231828" y="625698"/>
                    <a:pt x="228406" y="628377"/>
                    <a:pt x="224984" y="630906"/>
                  </a:cubicBezTo>
                  <a:cubicBezTo>
                    <a:pt x="206384" y="643852"/>
                    <a:pt x="185403" y="650697"/>
                    <a:pt x="162935" y="653524"/>
                  </a:cubicBezTo>
                  <a:cubicBezTo>
                    <a:pt x="156685" y="654268"/>
                    <a:pt x="152816" y="659327"/>
                    <a:pt x="153114" y="664683"/>
                  </a:cubicBezTo>
                  <a:cubicBezTo>
                    <a:pt x="153560" y="670338"/>
                    <a:pt x="157875" y="674653"/>
                    <a:pt x="163976" y="674653"/>
                  </a:cubicBezTo>
                  <a:cubicBezTo>
                    <a:pt x="164274" y="674653"/>
                    <a:pt x="164571" y="674653"/>
                    <a:pt x="164869" y="674653"/>
                  </a:cubicBezTo>
                  <a:cubicBezTo>
                    <a:pt x="171565" y="674207"/>
                    <a:pt x="178261" y="673165"/>
                    <a:pt x="184808" y="671826"/>
                  </a:cubicBezTo>
                  <a:cubicBezTo>
                    <a:pt x="262630" y="655607"/>
                    <a:pt x="315900" y="576446"/>
                    <a:pt x="300127" y="499815"/>
                  </a:cubicBezTo>
                  <a:cubicBezTo>
                    <a:pt x="296853" y="484340"/>
                    <a:pt x="290901" y="469311"/>
                    <a:pt x="285991" y="453241"/>
                  </a:cubicBezTo>
                  <a:lnTo>
                    <a:pt x="286437" y="452794"/>
                  </a:lnTo>
                  <a:cubicBezTo>
                    <a:pt x="312775" y="435980"/>
                    <a:pt x="339112" y="419017"/>
                    <a:pt x="365747" y="402500"/>
                  </a:cubicBezTo>
                  <a:cubicBezTo>
                    <a:pt x="366491" y="402054"/>
                    <a:pt x="367533" y="401905"/>
                    <a:pt x="368723" y="401905"/>
                  </a:cubicBezTo>
                  <a:cubicBezTo>
                    <a:pt x="370509" y="401905"/>
                    <a:pt x="372443" y="402352"/>
                    <a:pt x="373633" y="403095"/>
                  </a:cubicBezTo>
                  <a:cubicBezTo>
                    <a:pt x="390299" y="413363"/>
                    <a:pt x="406816" y="424076"/>
                    <a:pt x="423332" y="434492"/>
                  </a:cubicBezTo>
                  <a:cubicBezTo>
                    <a:pt x="433302" y="440890"/>
                    <a:pt x="443420" y="447289"/>
                    <a:pt x="453687" y="453836"/>
                  </a:cubicBezTo>
                  <a:cubicBezTo>
                    <a:pt x="452645" y="456217"/>
                    <a:pt x="451753" y="458151"/>
                    <a:pt x="450860" y="460085"/>
                  </a:cubicBezTo>
                  <a:cubicBezTo>
                    <a:pt x="436873" y="488357"/>
                    <a:pt x="432260" y="518266"/>
                    <a:pt x="437170" y="549216"/>
                  </a:cubicBezTo>
                  <a:cubicBezTo>
                    <a:pt x="448925" y="622722"/>
                    <a:pt x="513951" y="675248"/>
                    <a:pt x="587011" y="675248"/>
                  </a:cubicBezTo>
                  <a:cubicBezTo>
                    <a:pt x="595492" y="675248"/>
                    <a:pt x="604271" y="674504"/>
                    <a:pt x="612902" y="673016"/>
                  </a:cubicBezTo>
                  <a:cubicBezTo>
                    <a:pt x="721525" y="654417"/>
                    <a:pt x="774497" y="528384"/>
                    <a:pt x="710216" y="439849"/>
                  </a:cubicBezTo>
                  <a:cubicBezTo>
                    <a:pt x="700544" y="426606"/>
                    <a:pt x="687301" y="415892"/>
                    <a:pt x="675100" y="404584"/>
                  </a:cubicBezTo>
                  <a:cubicBezTo>
                    <a:pt x="673016" y="402649"/>
                    <a:pt x="670487" y="401756"/>
                    <a:pt x="668106" y="401756"/>
                  </a:cubicBezTo>
                  <a:cubicBezTo>
                    <a:pt x="664832" y="401756"/>
                    <a:pt x="661559" y="403542"/>
                    <a:pt x="659327" y="406518"/>
                  </a:cubicBezTo>
                  <a:cubicBezTo>
                    <a:pt x="655756" y="411428"/>
                    <a:pt x="656648" y="417083"/>
                    <a:pt x="661856" y="421547"/>
                  </a:cubicBezTo>
                  <a:cubicBezTo>
                    <a:pt x="663493" y="422886"/>
                    <a:pt x="665279" y="424225"/>
                    <a:pt x="666916" y="425564"/>
                  </a:cubicBezTo>
                  <a:cubicBezTo>
                    <a:pt x="721227" y="467525"/>
                    <a:pt x="731941" y="546538"/>
                    <a:pt x="690723" y="601295"/>
                  </a:cubicBezTo>
                  <a:cubicBezTo>
                    <a:pt x="689533" y="602932"/>
                    <a:pt x="688194" y="604271"/>
                    <a:pt x="686557" y="606206"/>
                  </a:cubicBezTo>
                  <a:cubicBezTo>
                    <a:pt x="673611" y="582398"/>
                    <a:pt x="656053" y="563649"/>
                    <a:pt x="634477" y="548621"/>
                  </a:cubicBezTo>
                  <a:cubicBezTo>
                    <a:pt x="658583" y="514694"/>
                    <a:pt x="646679" y="481959"/>
                    <a:pt x="628228" y="465442"/>
                  </a:cubicBezTo>
                  <a:cubicBezTo>
                    <a:pt x="616324" y="454729"/>
                    <a:pt x="601295" y="449223"/>
                    <a:pt x="586267" y="449223"/>
                  </a:cubicBezTo>
                  <a:cubicBezTo>
                    <a:pt x="573767" y="449223"/>
                    <a:pt x="561268" y="452943"/>
                    <a:pt x="550704" y="460681"/>
                  </a:cubicBezTo>
                  <a:cubicBezTo>
                    <a:pt x="538949" y="469162"/>
                    <a:pt x="530914" y="480322"/>
                    <a:pt x="527045" y="494458"/>
                  </a:cubicBezTo>
                  <a:cubicBezTo>
                    <a:pt x="521688" y="514397"/>
                    <a:pt x="526598" y="532253"/>
                    <a:pt x="537907" y="547728"/>
                  </a:cubicBezTo>
                  <a:cubicBezTo>
                    <a:pt x="527789" y="556953"/>
                    <a:pt x="517671" y="564988"/>
                    <a:pt x="509040" y="574512"/>
                  </a:cubicBezTo>
                  <a:cubicBezTo>
                    <a:pt x="500410" y="584035"/>
                    <a:pt x="493268" y="595046"/>
                    <a:pt x="485232" y="605610"/>
                  </a:cubicBezTo>
                  <a:cubicBezTo>
                    <a:pt x="462466" y="576892"/>
                    <a:pt x="453092" y="544008"/>
                    <a:pt x="458151" y="507552"/>
                  </a:cubicBezTo>
                  <a:cubicBezTo>
                    <a:pt x="467079" y="443866"/>
                    <a:pt x="523474" y="398185"/>
                    <a:pt x="585969" y="398185"/>
                  </a:cubicBezTo>
                  <a:cubicBezTo>
                    <a:pt x="595343" y="398185"/>
                    <a:pt x="604867" y="399227"/>
                    <a:pt x="614241" y="401310"/>
                  </a:cubicBezTo>
                  <a:cubicBezTo>
                    <a:pt x="618407" y="402203"/>
                    <a:pt x="622574" y="403691"/>
                    <a:pt x="626740" y="404435"/>
                  </a:cubicBezTo>
                  <a:cubicBezTo>
                    <a:pt x="627781" y="404584"/>
                    <a:pt x="628674" y="404732"/>
                    <a:pt x="629567" y="404732"/>
                  </a:cubicBezTo>
                  <a:cubicBezTo>
                    <a:pt x="634775" y="404732"/>
                    <a:pt x="638793" y="401756"/>
                    <a:pt x="640280" y="396846"/>
                  </a:cubicBezTo>
                  <a:cubicBezTo>
                    <a:pt x="641917" y="391340"/>
                    <a:pt x="638793" y="385835"/>
                    <a:pt x="632394" y="383454"/>
                  </a:cubicBezTo>
                  <a:cubicBezTo>
                    <a:pt x="630906" y="382859"/>
                    <a:pt x="629270" y="382412"/>
                    <a:pt x="627633" y="381966"/>
                  </a:cubicBezTo>
                  <a:cubicBezTo>
                    <a:pt x="612902" y="378246"/>
                    <a:pt x="598468" y="376312"/>
                    <a:pt x="584630" y="376312"/>
                  </a:cubicBezTo>
                  <a:cubicBezTo>
                    <a:pt x="549216" y="376312"/>
                    <a:pt x="516629" y="388513"/>
                    <a:pt x="486869" y="413065"/>
                  </a:cubicBezTo>
                  <a:cubicBezTo>
                    <a:pt x="478834" y="419761"/>
                    <a:pt x="470948" y="426755"/>
                    <a:pt x="462317" y="434195"/>
                  </a:cubicBezTo>
                  <a:cubicBezTo>
                    <a:pt x="437022" y="418124"/>
                    <a:pt x="409643" y="400715"/>
                    <a:pt x="382413" y="383008"/>
                  </a:cubicBezTo>
                  <a:cubicBezTo>
                    <a:pt x="380627" y="381817"/>
                    <a:pt x="379734" y="378246"/>
                    <a:pt x="379734" y="375717"/>
                  </a:cubicBezTo>
                  <a:cubicBezTo>
                    <a:pt x="379585" y="354141"/>
                    <a:pt x="379734" y="332565"/>
                    <a:pt x="379734" y="310989"/>
                  </a:cubicBezTo>
                  <a:cubicBezTo>
                    <a:pt x="379734" y="303147"/>
                    <a:pt x="383558" y="298639"/>
                    <a:pt x="391192" y="297449"/>
                  </a:cubicBezTo>
                  <a:cubicBezTo>
                    <a:pt x="392829" y="297151"/>
                    <a:pt x="394465" y="296705"/>
                    <a:pt x="396102" y="296407"/>
                  </a:cubicBezTo>
                  <a:cubicBezTo>
                    <a:pt x="476156" y="283164"/>
                    <a:pt x="532699" y="203110"/>
                    <a:pt x="517968" y="124098"/>
                  </a:cubicBezTo>
                  <a:cubicBezTo>
                    <a:pt x="504130" y="50145"/>
                    <a:pt x="440593" y="0"/>
                    <a:pt x="368723" y="0"/>
                  </a:cubicBezTo>
                  <a:moveTo>
                    <a:pt x="368426" y="276914"/>
                  </a:moveTo>
                  <a:cubicBezTo>
                    <a:pt x="337624" y="276914"/>
                    <a:pt x="307269" y="266350"/>
                    <a:pt x="285098" y="246113"/>
                  </a:cubicBezTo>
                  <a:cubicBezTo>
                    <a:pt x="297151" y="220520"/>
                    <a:pt x="315602" y="200729"/>
                    <a:pt x="340005" y="186147"/>
                  </a:cubicBezTo>
                  <a:cubicBezTo>
                    <a:pt x="342683" y="184510"/>
                    <a:pt x="345510" y="183022"/>
                    <a:pt x="347445" y="180790"/>
                  </a:cubicBezTo>
                  <a:cubicBezTo>
                    <a:pt x="351909" y="175880"/>
                    <a:pt x="350123" y="169333"/>
                    <a:pt x="343576" y="163678"/>
                  </a:cubicBezTo>
                  <a:cubicBezTo>
                    <a:pt x="331077" y="152965"/>
                    <a:pt x="326316" y="139276"/>
                    <a:pt x="330631" y="123503"/>
                  </a:cubicBezTo>
                  <a:cubicBezTo>
                    <a:pt x="334946" y="107582"/>
                    <a:pt x="345808" y="98058"/>
                    <a:pt x="362325" y="95380"/>
                  </a:cubicBezTo>
                  <a:cubicBezTo>
                    <a:pt x="364557" y="95082"/>
                    <a:pt x="366789" y="94785"/>
                    <a:pt x="369021" y="94785"/>
                  </a:cubicBezTo>
                  <a:cubicBezTo>
                    <a:pt x="383305" y="94785"/>
                    <a:pt x="396400" y="102522"/>
                    <a:pt x="403244" y="115319"/>
                  </a:cubicBezTo>
                  <a:cubicBezTo>
                    <a:pt x="411279" y="130050"/>
                    <a:pt x="408601" y="148650"/>
                    <a:pt x="396846" y="160703"/>
                  </a:cubicBezTo>
                  <a:lnTo>
                    <a:pt x="393721" y="163678"/>
                  </a:lnTo>
                  <a:cubicBezTo>
                    <a:pt x="383901" y="172160"/>
                    <a:pt x="384645" y="179005"/>
                    <a:pt x="396102" y="185701"/>
                  </a:cubicBezTo>
                  <a:cubicBezTo>
                    <a:pt x="413660" y="195968"/>
                    <a:pt x="428540" y="209211"/>
                    <a:pt x="440146" y="225876"/>
                  </a:cubicBezTo>
                  <a:cubicBezTo>
                    <a:pt x="444610" y="232275"/>
                    <a:pt x="448330" y="239120"/>
                    <a:pt x="452497" y="246113"/>
                  </a:cubicBezTo>
                  <a:cubicBezTo>
                    <a:pt x="428689" y="266945"/>
                    <a:pt x="398185" y="277063"/>
                    <a:pt x="368277" y="277063"/>
                  </a:cubicBezTo>
                  <a:moveTo>
                    <a:pt x="50740" y="606503"/>
                  </a:moveTo>
                  <a:cubicBezTo>
                    <a:pt x="11606" y="562310"/>
                    <a:pt x="8184" y="485232"/>
                    <a:pt x="60115" y="434939"/>
                  </a:cubicBezTo>
                  <a:cubicBezTo>
                    <a:pt x="85262" y="410535"/>
                    <a:pt x="117848" y="398483"/>
                    <a:pt x="150584" y="398483"/>
                  </a:cubicBezTo>
                  <a:cubicBezTo>
                    <a:pt x="183320" y="398483"/>
                    <a:pt x="218734" y="411726"/>
                    <a:pt x="244179" y="438063"/>
                  </a:cubicBezTo>
                  <a:cubicBezTo>
                    <a:pt x="294026" y="489696"/>
                    <a:pt x="287628" y="565137"/>
                    <a:pt x="250726" y="605908"/>
                  </a:cubicBezTo>
                  <a:cubicBezTo>
                    <a:pt x="238078" y="582844"/>
                    <a:pt x="220668" y="563947"/>
                    <a:pt x="199093" y="549067"/>
                  </a:cubicBezTo>
                  <a:cubicBezTo>
                    <a:pt x="218585" y="512760"/>
                    <a:pt x="215312" y="483298"/>
                    <a:pt x="189718" y="463061"/>
                  </a:cubicBezTo>
                  <a:cubicBezTo>
                    <a:pt x="178261" y="453985"/>
                    <a:pt x="164423" y="449521"/>
                    <a:pt x="150882" y="449521"/>
                  </a:cubicBezTo>
                  <a:cubicBezTo>
                    <a:pt x="137341" y="449521"/>
                    <a:pt x="122908" y="454282"/>
                    <a:pt x="111599" y="463657"/>
                  </a:cubicBezTo>
                  <a:cubicBezTo>
                    <a:pt x="92255" y="479578"/>
                    <a:pt x="77971" y="513504"/>
                    <a:pt x="103118" y="549067"/>
                  </a:cubicBezTo>
                  <a:cubicBezTo>
                    <a:pt x="81095" y="563947"/>
                    <a:pt x="63686" y="583142"/>
                    <a:pt x="50889" y="606503"/>
                  </a:cubicBezTo>
                  <a:moveTo>
                    <a:pt x="585820" y="653226"/>
                  </a:moveTo>
                  <a:cubicBezTo>
                    <a:pt x="555168" y="653226"/>
                    <a:pt x="524813" y="643108"/>
                    <a:pt x="502493" y="622871"/>
                  </a:cubicBezTo>
                  <a:cubicBezTo>
                    <a:pt x="511272" y="603527"/>
                    <a:pt x="524366" y="587159"/>
                    <a:pt x="541181" y="573916"/>
                  </a:cubicBezTo>
                  <a:cubicBezTo>
                    <a:pt x="546984" y="569304"/>
                    <a:pt x="553233" y="565286"/>
                    <a:pt x="559483" y="561417"/>
                  </a:cubicBezTo>
                  <a:cubicBezTo>
                    <a:pt x="569452" y="555168"/>
                    <a:pt x="570196" y="548323"/>
                    <a:pt x="561417" y="540437"/>
                  </a:cubicBezTo>
                  <a:cubicBezTo>
                    <a:pt x="539693" y="521242"/>
                    <a:pt x="542520" y="488952"/>
                    <a:pt x="567221" y="475709"/>
                  </a:cubicBezTo>
                  <a:cubicBezTo>
                    <a:pt x="573172" y="472585"/>
                    <a:pt x="579571" y="471097"/>
                    <a:pt x="585969" y="471097"/>
                  </a:cubicBezTo>
                  <a:cubicBezTo>
                    <a:pt x="598022" y="471097"/>
                    <a:pt x="609926" y="476453"/>
                    <a:pt x="617514" y="486423"/>
                  </a:cubicBezTo>
                  <a:cubicBezTo>
                    <a:pt x="629418" y="501898"/>
                    <a:pt x="627781" y="523771"/>
                    <a:pt x="613646" y="537610"/>
                  </a:cubicBezTo>
                  <a:lnTo>
                    <a:pt x="609926" y="540883"/>
                  </a:lnTo>
                  <a:cubicBezTo>
                    <a:pt x="602039" y="548025"/>
                    <a:pt x="602783" y="555465"/>
                    <a:pt x="612158" y="560971"/>
                  </a:cubicBezTo>
                  <a:cubicBezTo>
                    <a:pt x="629121" y="570792"/>
                    <a:pt x="643852" y="583142"/>
                    <a:pt x="655309" y="598914"/>
                  </a:cubicBezTo>
                  <a:cubicBezTo>
                    <a:pt x="660666" y="606354"/>
                    <a:pt x="665279" y="614390"/>
                    <a:pt x="670189" y="622276"/>
                  </a:cubicBezTo>
                  <a:cubicBezTo>
                    <a:pt x="647274" y="642810"/>
                    <a:pt x="616473" y="653077"/>
                    <a:pt x="585671" y="653077"/>
                  </a:cubicBezTo>
                </a:path>
              </a:pathLst>
            </a:custGeom>
            <a:solidFill>
              <a:schemeClr val="accent2"/>
            </a:solidFill>
            <a:ln w="1487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</p:grpSp>
      <p:sp>
        <p:nvSpPr>
          <p:cNvPr id="54" name="CaixaDeTexto 20">
            <a:extLst>
              <a:ext uri="{FF2B5EF4-FFF2-40B4-BE49-F238E27FC236}">
                <a16:creationId xmlns:a16="http://schemas.microsoft.com/office/drawing/2014/main" id="{2367B5EE-B9FC-A0C6-A9F1-C8D0D6D8B141}"/>
              </a:ext>
            </a:extLst>
          </p:cNvPr>
          <p:cNvSpPr txBox="1"/>
          <p:nvPr/>
        </p:nvSpPr>
        <p:spPr>
          <a:xfrm>
            <a:off x="500601" y="1074131"/>
            <a:ext cx="3020096" cy="174610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t">
            <a:noAutofit/>
          </a:bodyPr>
          <a:lstStyle/>
          <a:p>
            <a:pPr marL="0" marR="0" lvl="0" indent="0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0"/>
              <a:ea typeface="Helvetica Neue Medium"/>
              <a:cs typeface="Arial" panose="020B0604020202020204" pitchFamily="34" charset="0"/>
              <a:sym typeface="Helvetica Neue Medium"/>
            </a:endParaRPr>
          </a:p>
          <a:p>
            <a:pPr marL="0" marR="0" lvl="0" indent="0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Impact</a:t>
            </a:r>
          </a:p>
        </p:txBody>
      </p:sp>
      <p:sp>
        <p:nvSpPr>
          <p:cNvPr id="55" name="CaixaDeTexto 20">
            <a:extLst>
              <a:ext uri="{FF2B5EF4-FFF2-40B4-BE49-F238E27FC236}">
                <a16:creationId xmlns:a16="http://schemas.microsoft.com/office/drawing/2014/main" id="{0C92CD5F-1000-6F84-262B-33747B08A6CA}"/>
              </a:ext>
            </a:extLst>
          </p:cNvPr>
          <p:cNvSpPr txBox="1"/>
          <p:nvPr/>
        </p:nvSpPr>
        <p:spPr>
          <a:xfrm>
            <a:off x="360816" y="2820234"/>
            <a:ext cx="3159881" cy="29715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0" tIns="36000" rIns="36000" bIns="36000" numCol="1" spcCol="38100" rtlCol="0" anchor="t">
            <a:noAutofit/>
          </a:bodyPr>
          <a:lstStyle/>
          <a:p>
            <a:pPr marL="0" marR="0" lvl="0" indent="0" algn="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0"/>
              <a:ea typeface="Helvetica Neue Medium"/>
              <a:cs typeface="Arial" panose="020B0604020202020204" pitchFamily="34" charset="0"/>
              <a:sym typeface="Helvetica Neue Medium"/>
            </a:endParaRPr>
          </a:p>
          <a:p>
            <a:pPr marL="0" marR="0" lvl="0" indent="0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Data based on methodology described in peer-reviewed paper:</a:t>
            </a:r>
          </a:p>
          <a:p>
            <a:pPr marL="0" marR="0" lvl="0" indent="0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Morin et al “The economic and public health impact of intellectual property licensing of medicines for low-income and middle-income countries: a modelling study”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 The Lancet Public Healt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0"/>
                <a:ea typeface="Helvetica Neue Medium"/>
                <a:cs typeface="Arial" panose="020B0604020202020204" pitchFamily="34" charset="0"/>
                <a:sym typeface="Helvetica Neue Medium"/>
              </a:rPr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3723845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5A9896-7BE3-4F85-E0CA-27075DE9D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CH" sz="4800" dirty="0"/>
              <a:t>Licensing from a public health perspective </a:t>
            </a:r>
          </a:p>
        </p:txBody>
      </p:sp>
    </p:spTree>
    <p:extLst>
      <p:ext uri="{BB962C8B-B14F-4D97-AF65-F5344CB8AC3E}">
        <p14:creationId xmlns:p14="http://schemas.microsoft.com/office/powerpoint/2010/main" val="2729556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E5F9F1-A6C5-F94B-8AB3-89657A8383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22087" y="200694"/>
            <a:ext cx="9518650" cy="636588"/>
          </a:xfrm>
        </p:spPr>
        <p:txBody>
          <a:bodyPr/>
          <a:lstStyle/>
          <a:p>
            <a:pPr algn="r"/>
            <a:r>
              <a:rPr lang="en-US" sz="2800" b="1" dirty="0">
                <a:solidFill>
                  <a:srgbClr val="283583"/>
                </a:solidFill>
                <a:latin typeface="+mn-lt"/>
              </a:rPr>
              <a:t>Public health needs guiding licens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76168" y="1311457"/>
            <a:ext cx="3494960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242867" y="1311457"/>
            <a:ext cx="4167959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835496" y="2542681"/>
            <a:ext cx="31334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fordability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eed for affordable access to life-saving medicines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351722" y="2912013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500041" y="2173348"/>
            <a:ext cx="391078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able the MPP to sub-license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n-exclusively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o multiple manufacturers to facilitate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etition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ce reduction many years before patent expir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DA9126-37E4-D546-8905-63FCF0A1B38E}"/>
              </a:ext>
            </a:extLst>
          </p:cNvPr>
          <p:cNvSpPr txBox="1"/>
          <p:nvPr/>
        </p:nvSpPr>
        <p:spPr>
          <a:xfrm>
            <a:off x="1124262" y="4599027"/>
            <a:ext cx="1019331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PP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hepatitis C medicine daclatasvir with BMS enabled market entry of generic manufacturers, many years before patent expi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y assured generic product from licensees available for procurement via the Global Fund at</a:t>
            </a:r>
            <a:r>
              <a:rPr lang="en-US" sz="2000" dirty="0">
                <a:solidFill>
                  <a:srgbClr val="283A8A"/>
                </a:solidFill>
                <a:latin typeface="Arial" panose="020B0604020202020204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D 8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er pack  ~USD60 for full treatment regime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328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/>
      <p:bldP spid="10" grpId="0" animBg="1"/>
      <p:bldP spid="11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76168" y="1311457"/>
            <a:ext cx="3494960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242867" y="1311457"/>
            <a:ext cx="4167959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753934" y="2220197"/>
            <a:ext cx="349496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ilitate access to millions of people in LMIC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enable as many countries/people as possible to have access to life-saving new treatments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351722" y="2912013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242867" y="2173348"/>
            <a:ext cx="462500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ypically have a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oad geographical scop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to enable as many people as possible to benefit. Large geographical scope also enables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volum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resulting in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conomies of scale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lower price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DA9126-37E4-D546-8905-63FCF0A1B38E}"/>
              </a:ext>
            </a:extLst>
          </p:cNvPr>
          <p:cNvSpPr txBox="1"/>
          <p:nvPr/>
        </p:nvSpPr>
        <p:spPr>
          <a:xfrm>
            <a:off x="1808335" y="4774860"/>
            <a:ext cx="905953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lutegravir (DTG)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s already enabled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8 low and middle-income countri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o transition to a more effective and better tolerated DTG-based treatment regimen for people living with HIV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18B8CAC3-9EE4-A97F-3494-17A16B439DC5}"/>
              </a:ext>
            </a:extLst>
          </p:cNvPr>
          <p:cNvSpPr txBox="1">
            <a:spLocks/>
          </p:cNvSpPr>
          <p:nvPr/>
        </p:nvSpPr>
        <p:spPr>
          <a:xfrm>
            <a:off x="2430629" y="135302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r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69" kern="1200">
                <a:solidFill>
                  <a:srgbClr val="283A8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PT Sans"/>
                <a:ea typeface="+mj-ea"/>
                <a:cs typeface="+mj-cs"/>
              </a:rPr>
              <a:t>Public health needs guiding licensing</a:t>
            </a:r>
          </a:p>
        </p:txBody>
      </p:sp>
    </p:spTree>
    <p:extLst>
      <p:ext uri="{BB962C8B-B14F-4D97-AF65-F5344CB8AC3E}">
        <p14:creationId xmlns:p14="http://schemas.microsoft.com/office/powerpoint/2010/main" val="980494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/>
      <p:bldP spid="10" grpId="0" animBg="1"/>
      <p:bldP spid="11" grpId="0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F3BDA11-5919-D246-8A1B-19F8101D3DE2}"/>
              </a:ext>
            </a:extLst>
          </p:cNvPr>
          <p:cNvSpPr txBox="1"/>
          <p:nvPr/>
        </p:nvSpPr>
        <p:spPr>
          <a:xfrm>
            <a:off x="1835495" y="1018704"/>
            <a:ext cx="3494960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BLIC HEALTH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597284-86B8-FB44-9BEE-2D1B0CDA9A68}"/>
              </a:ext>
            </a:extLst>
          </p:cNvPr>
          <p:cNvSpPr txBox="1"/>
          <p:nvPr/>
        </p:nvSpPr>
        <p:spPr>
          <a:xfrm>
            <a:off x="6328343" y="1018704"/>
            <a:ext cx="4167959" cy="76944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FEATURES IN MPP LICEN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3A6382-60D9-614F-9E7A-D54B87FDDEDC}"/>
              </a:ext>
            </a:extLst>
          </p:cNvPr>
          <p:cNvSpPr txBox="1"/>
          <p:nvPr/>
        </p:nvSpPr>
        <p:spPr>
          <a:xfrm>
            <a:off x="1792015" y="1929455"/>
            <a:ext cx="388255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ed for combinations that</a:t>
            </a:r>
            <a:r>
              <a:rPr kumimoji="0" lang="en-US" sz="2200" b="1" i="0" u="none" strike="noStrike" kern="1200" cap="none" spc="0" normalizeH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tribute to adherenc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eed for new fixed-dose combination treatments that combine various medicines in one pill to improve adherence</a:t>
            </a:r>
          </a:p>
        </p:txBody>
      </p:sp>
      <p:sp>
        <p:nvSpPr>
          <p:cNvPr id="10" name="Notched Right Arrow 9">
            <a:extLst>
              <a:ext uri="{FF2B5EF4-FFF2-40B4-BE49-F238E27FC236}">
                <a16:creationId xmlns:a16="http://schemas.microsoft.com/office/drawing/2014/main" id="{0684C3E4-BFA2-624B-AB4B-A049243FC7D9}"/>
              </a:ext>
            </a:extLst>
          </p:cNvPr>
          <p:cNvSpPr/>
          <p:nvPr/>
        </p:nvSpPr>
        <p:spPr>
          <a:xfrm>
            <a:off x="5458546" y="2648156"/>
            <a:ext cx="765545" cy="461665"/>
          </a:xfrm>
          <a:prstGeom prst="notchedRightArrow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8B0C29-D3CC-E64A-A04F-47222B7A8849}"/>
              </a:ext>
            </a:extLst>
          </p:cNvPr>
          <p:cNvSpPr txBox="1"/>
          <p:nvPr/>
        </p:nvSpPr>
        <p:spPr>
          <a:xfrm>
            <a:off x="6628626" y="2143203"/>
            <a:ext cx="4039374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e 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fer the possibility to further innovate by developing new fixed dose combinations that meet public health nee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DA9126-37E4-D546-8905-63FCF0A1B38E}"/>
              </a:ext>
            </a:extLst>
          </p:cNvPr>
          <p:cNvSpPr txBox="1"/>
          <p:nvPr/>
        </p:nvSpPr>
        <p:spPr>
          <a:xfrm>
            <a:off x="2040679" y="4455176"/>
            <a:ext cx="85753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MPP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ces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th Gilead on TAF/FTC and with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iV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ealthcare on dolutegravir have facilitated the development of a new formulation product – already procured by 27 countrie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Picture 12" descr="pill.png">
            <a:extLst>
              <a:ext uri="{FF2B5EF4-FFF2-40B4-BE49-F238E27FC236}">
                <a16:creationId xmlns:a16="http://schemas.microsoft.com/office/drawing/2014/main" id="{DF0ECEA0-486D-524F-9C39-44DFE074A9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8436" y="5740303"/>
            <a:ext cx="1301544" cy="1148424"/>
          </a:xfrm>
          <a:prstGeom prst="rect">
            <a:avLst/>
          </a:prstGeom>
        </p:spPr>
      </p:pic>
      <p:pic>
        <p:nvPicPr>
          <p:cNvPr id="14" name="Picture 13" descr="pill blue.png">
            <a:extLst>
              <a:ext uri="{FF2B5EF4-FFF2-40B4-BE49-F238E27FC236}">
                <a16:creationId xmlns:a16="http://schemas.microsoft.com/office/drawing/2014/main" id="{6119C48F-0BF7-9C4A-8936-60153A46632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5904" y="6049374"/>
            <a:ext cx="864881" cy="531067"/>
          </a:xfrm>
          <a:prstGeom prst="rect">
            <a:avLst/>
          </a:prstGeom>
        </p:spPr>
      </p:pic>
      <p:pic>
        <p:nvPicPr>
          <p:cNvPr id="15" name="Picture 14" descr="pill green.png">
            <a:extLst>
              <a:ext uri="{FF2B5EF4-FFF2-40B4-BE49-F238E27FC236}">
                <a16:creationId xmlns:a16="http://schemas.microsoft.com/office/drawing/2014/main" id="{590FC361-B692-564D-9EB0-9C80EE1019E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4354" y="6088346"/>
            <a:ext cx="868680" cy="533399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5E3732E-01C9-0E4C-9C19-E15DA0A11D2D}"/>
              </a:ext>
            </a:extLst>
          </p:cNvPr>
          <p:cNvCxnSpPr>
            <a:cxnSpLocks/>
          </p:cNvCxnSpPr>
          <p:nvPr/>
        </p:nvCxnSpPr>
        <p:spPr>
          <a:xfrm>
            <a:off x="10006443" y="5198389"/>
            <a:ext cx="0" cy="0"/>
          </a:xfrm>
          <a:prstGeom prst="straightConnector1">
            <a:avLst/>
          </a:prstGeom>
          <a:ln>
            <a:solidFill>
              <a:srgbClr val="00009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FDC pill.png">
            <a:extLst>
              <a:ext uri="{FF2B5EF4-FFF2-40B4-BE49-F238E27FC236}">
                <a16:creationId xmlns:a16="http://schemas.microsoft.com/office/drawing/2014/main" id="{9173DE2E-CE91-954F-BDAF-75179C91C3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472982" y="5724578"/>
            <a:ext cx="685800" cy="11938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5FDA2E77-5728-7045-95ED-B2A1D6DD8C9E}"/>
              </a:ext>
            </a:extLst>
          </p:cNvPr>
          <p:cNvSpPr txBox="1"/>
          <p:nvPr/>
        </p:nvSpPr>
        <p:spPr>
          <a:xfrm>
            <a:off x="2397633" y="5626681"/>
            <a:ext cx="5186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F		FTC		DTG</a:t>
            </a:r>
          </a:p>
        </p:txBody>
      </p:sp>
      <p:sp>
        <p:nvSpPr>
          <p:cNvPr id="2" name="Plus 1">
            <a:extLst>
              <a:ext uri="{FF2B5EF4-FFF2-40B4-BE49-F238E27FC236}">
                <a16:creationId xmlns:a16="http://schemas.microsoft.com/office/drawing/2014/main" id="{79BF30BC-430F-E24D-BAE8-D12ECC23277B}"/>
              </a:ext>
            </a:extLst>
          </p:cNvPr>
          <p:cNvSpPr/>
          <p:nvPr/>
        </p:nvSpPr>
        <p:spPr>
          <a:xfrm>
            <a:off x="3401959" y="6068468"/>
            <a:ext cx="483684" cy="492095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83A8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Plus 24">
            <a:extLst>
              <a:ext uri="{FF2B5EF4-FFF2-40B4-BE49-F238E27FC236}">
                <a16:creationId xmlns:a16="http://schemas.microsoft.com/office/drawing/2014/main" id="{5B3C0D05-9A04-984C-970C-9E4E9C345640}"/>
              </a:ext>
            </a:extLst>
          </p:cNvPr>
          <p:cNvSpPr/>
          <p:nvPr/>
        </p:nvSpPr>
        <p:spPr>
          <a:xfrm>
            <a:off x="5194986" y="6032901"/>
            <a:ext cx="483684" cy="492095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qual 3">
            <a:extLst>
              <a:ext uri="{FF2B5EF4-FFF2-40B4-BE49-F238E27FC236}">
                <a16:creationId xmlns:a16="http://schemas.microsoft.com/office/drawing/2014/main" id="{BD2E4EC2-2B70-3A4A-907C-61E81BCDEFA2}"/>
              </a:ext>
            </a:extLst>
          </p:cNvPr>
          <p:cNvSpPr/>
          <p:nvPr/>
        </p:nvSpPr>
        <p:spPr>
          <a:xfrm>
            <a:off x="7186604" y="6046148"/>
            <a:ext cx="701749" cy="472217"/>
          </a:xfrm>
          <a:prstGeom prst="mathEqual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7E374C-BCC5-F44A-9BDF-8D9B1F362998}"/>
              </a:ext>
            </a:extLst>
          </p:cNvPr>
          <p:cNvSpPr txBox="1"/>
          <p:nvPr/>
        </p:nvSpPr>
        <p:spPr>
          <a:xfrm>
            <a:off x="7888353" y="5566892"/>
            <a:ext cx="23046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F/FTC/DTG	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A0E9D8-559B-677B-5155-64A690F92E0E}"/>
              </a:ext>
            </a:extLst>
          </p:cNvPr>
          <p:cNvSpPr txBox="1">
            <a:spLocks/>
          </p:cNvSpPr>
          <p:nvPr/>
        </p:nvSpPr>
        <p:spPr>
          <a:xfrm>
            <a:off x="2430629" y="135302"/>
            <a:ext cx="9519027" cy="63686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r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69" kern="1200">
                <a:solidFill>
                  <a:srgbClr val="283A8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5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83A8A"/>
                </a:solidFill>
                <a:effectLst/>
                <a:uLnTx/>
                <a:uFillTx/>
                <a:latin typeface="PT Sans"/>
                <a:ea typeface="+mj-ea"/>
                <a:cs typeface="+mj-cs"/>
              </a:rPr>
              <a:t>Public health needs guiding licensing</a:t>
            </a:r>
          </a:p>
        </p:txBody>
      </p:sp>
    </p:spTree>
    <p:extLst>
      <p:ext uri="{BB962C8B-B14F-4D97-AF65-F5344CB8AC3E}">
        <p14:creationId xmlns:p14="http://schemas.microsoft.com/office/powerpoint/2010/main" val="179375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/>
      <p:bldP spid="10" grpId="0" animBg="1"/>
      <p:bldP spid="11" grpId="0"/>
      <p:bldP spid="12" grpId="0"/>
      <p:bldP spid="26" grpId="0"/>
      <p:bldP spid="2" grpId="0" animBg="1"/>
      <p:bldP spid="25" grpId="0" animBg="1"/>
      <p:bldP spid="4" grpId="0" animBg="1"/>
      <p:bldP spid="2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heme/theme1.xml><?xml version="1.0" encoding="utf-8"?>
<a:theme xmlns:a="http://schemas.openxmlformats.org/drawingml/2006/main" name="HIVR4P2023">
  <a:themeElements>
    <a:clrScheme name="HIVR4P 2023">
      <a:dk1>
        <a:srgbClr val="000000"/>
      </a:dk1>
      <a:lt1>
        <a:srgbClr val="FFFFFF"/>
      </a:lt1>
      <a:dk2>
        <a:srgbClr val="DB2415"/>
      </a:dk2>
      <a:lt2>
        <a:srgbClr val="FFFFFF"/>
      </a:lt2>
      <a:accent1>
        <a:srgbClr val="DB2415"/>
      </a:accent1>
      <a:accent2>
        <a:srgbClr val="DE9343"/>
      </a:accent2>
      <a:accent3>
        <a:srgbClr val="45ABBF"/>
      </a:accent3>
      <a:accent4>
        <a:srgbClr val="E271A9"/>
      </a:accent4>
      <a:accent5>
        <a:srgbClr val="D80561"/>
      </a:accent5>
      <a:accent6>
        <a:srgbClr val="242C4B"/>
      </a:accent6>
      <a:hlink>
        <a:srgbClr val="E0001B"/>
      </a:hlink>
      <a:folHlink>
        <a:srgbClr val="E0001B"/>
      </a:folHlink>
    </a:clrScheme>
    <a:fontScheme name="IAS Verdana">
      <a:majorFont>
        <a:latin typeface="Verdana Bold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3" id="{41DDD12E-B90F-8B4C-885A-1A56B1B77793}" vid="{9754A729-A148-6B43-B8D4-40BFC8CAD646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Custom 2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F99"/>
      </a:accent1>
      <a:accent2>
        <a:srgbClr val="0095D9"/>
      </a:accent2>
      <a:accent3>
        <a:srgbClr val="55B4E5"/>
      </a:accent3>
      <a:accent4>
        <a:srgbClr val="FCB414"/>
      </a:accent4>
      <a:accent5>
        <a:srgbClr val="B53E8A"/>
      </a:accent5>
      <a:accent6>
        <a:srgbClr val="74489C"/>
      </a:accent6>
      <a:hlink>
        <a:srgbClr val="0563C1"/>
      </a:hlink>
      <a:folHlink>
        <a:srgbClr val="954F72"/>
      </a:folHlink>
    </a:clrScheme>
    <a:fontScheme name="Custom 5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Text slides">
  <a:themeElements>
    <a:clrScheme name="MPP colors">
      <a:dk1>
        <a:srgbClr val="283A8A"/>
      </a:dk1>
      <a:lt1>
        <a:srgbClr val="FFFFFF"/>
      </a:lt1>
      <a:dk2>
        <a:srgbClr val="656569"/>
      </a:dk2>
      <a:lt2>
        <a:srgbClr val="00AEEF"/>
      </a:lt2>
      <a:accent1>
        <a:srgbClr val="00AEEF"/>
      </a:accent1>
      <a:accent2>
        <a:srgbClr val="F3AB21"/>
      </a:accent2>
      <a:accent3>
        <a:srgbClr val="B53D8A"/>
      </a:accent3>
      <a:accent4>
        <a:srgbClr val="00867C"/>
      </a:accent4>
      <a:accent5>
        <a:srgbClr val="744696"/>
      </a:accent5>
      <a:accent6>
        <a:srgbClr val="00205F"/>
      </a:accent6>
      <a:hlink>
        <a:srgbClr val="00AEEF"/>
      </a:hlink>
      <a:folHlink>
        <a:srgbClr val="00AE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Slidedeck_Oct-19" id="{3FA38BC8-81AA-C240-A3BB-F445E2CB0941}" vid="{3861B9DA-B990-DA4C-A743-D37ABA6A1267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DD43244790174B892FA283EAEEDD66" ma:contentTypeVersion="20" ma:contentTypeDescription="Create a new document." ma:contentTypeScope="" ma:versionID="cc7e4c7400d6bda65e021864cbb8f636">
  <xsd:schema xmlns:xsd="http://www.w3.org/2001/XMLSchema" xmlns:xs="http://www.w3.org/2001/XMLSchema" xmlns:p="http://schemas.microsoft.com/office/2006/metadata/properties" xmlns:ns1="http://schemas.microsoft.com/sharepoint/v3" xmlns:ns2="96baf7c1-7d9f-48d3-95bc-3d60efb8f7f9" xmlns:ns3="250929fa-9806-4449-af20-7947085fa170" targetNamespace="http://schemas.microsoft.com/office/2006/metadata/properties" ma:root="true" ma:fieldsID="7814d1efc6e590fcce5386706d2f38c9" ns1:_="" ns2:_="" ns3:_="">
    <xsd:import namespace="http://schemas.microsoft.com/sharepoint/v3"/>
    <xsd:import namespace="96baf7c1-7d9f-48d3-95bc-3d60efb8f7f9"/>
    <xsd:import namespace="250929fa-9806-4449-af20-7947085fa1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baf7c1-7d9f-48d3-95bc-3d60efb8f7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d8752f36-f899-4024-97aa-312620fde4b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929fa-9806-4449-af20-7947085fa17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8963c6f-ee03-4b2a-8221-928f9d265193}" ma:internalName="TaxCatchAll" ma:showField="CatchAllData" ma:web="250929fa-9806-4449-af20-7947085fa1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50929fa-9806-4449-af20-7947085fa170" xsi:nil="true"/>
    <lcf76f155ced4ddcb4097134ff3c332f xmlns="96baf7c1-7d9f-48d3-95bc-3d60efb8f7f9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EBC214-D975-466C-9395-AEF8B2DE4F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6baf7c1-7d9f-48d3-95bc-3d60efb8f7f9"/>
    <ds:schemaRef ds:uri="250929fa-9806-4449-af20-7947085fa1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AC164D-1427-4CFC-A10B-8EDA77DF60E7}">
  <ds:schemaRefs>
    <ds:schemaRef ds:uri="http://purl.org/dc/dcmitype/"/>
    <ds:schemaRef ds:uri="96baf7c1-7d9f-48d3-95bc-3d60efb8f7f9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documentManagement/types"/>
    <ds:schemaRef ds:uri="250929fa-9806-4449-af20-7947085fa170"/>
    <ds:schemaRef ds:uri="http://schemas.microsoft.com/sharepoint/v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D1AB802A-AF46-48F3-BC70-930B76DACB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IVR4P2023</Template>
  <TotalTime>3505</TotalTime>
  <Words>1599</Words>
  <Application>Microsoft Office PowerPoint</Application>
  <PresentationFormat>Widescreen</PresentationFormat>
  <Paragraphs>209</Paragraphs>
  <Slides>21</Slides>
  <Notes>8</Notes>
  <HiddenSlides>1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4" baseType="lpstr">
      <vt:lpstr>.Lucida Grande UI Regular</vt:lpstr>
      <vt:lpstr>Arial</vt:lpstr>
      <vt:lpstr>Calibri</vt:lpstr>
      <vt:lpstr>Courier New</vt:lpstr>
      <vt:lpstr>Helvetica Neue Medium</vt:lpstr>
      <vt:lpstr>IAS Ribbon Sans Bold</vt:lpstr>
      <vt:lpstr>IAS Ribbon Sans Regular</vt:lpstr>
      <vt:lpstr>PT Sans</vt:lpstr>
      <vt:lpstr>Raleway</vt:lpstr>
      <vt:lpstr>System Font Regular</vt:lpstr>
      <vt:lpstr>Trebuchet MS</vt:lpstr>
      <vt:lpstr>Verdana</vt:lpstr>
      <vt:lpstr>Verdana Bold</vt:lpstr>
      <vt:lpstr>Wingdings</vt:lpstr>
      <vt:lpstr>HIVR4P2023</vt:lpstr>
      <vt:lpstr>4_Office Theme</vt:lpstr>
      <vt:lpstr>3_Office Theme</vt:lpstr>
      <vt:lpstr>2_Office Theme</vt:lpstr>
      <vt:lpstr>Office Theme</vt:lpstr>
      <vt:lpstr>7_Office Theme</vt:lpstr>
      <vt:lpstr>5_Office Theme</vt:lpstr>
      <vt:lpstr>4_Text slides</vt:lpstr>
      <vt:lpstr>think-cell Slide</vt:lpstr>
      <vt:lpstr>Negotiating public-health intellectual property licensing agreements to increase access to health technologies </vt:lpstr>
      <vt:lpstr>PowerPoint Presentation</vt:lpstr>
      <vt:lpstr>PowerPoint Presentation</vt:lpstr>
      <vt:lpstr>PowerPoint Presentation</vt:lpstr>
      <vt:lpstr>PowerPoint Presentation</vt:lpstr>
      <vt:lpstr>Licensing from a public health perspective </vt:lpstr>
      <vt:lpstr>Public health needs guiding licensing</vt:lpstr>
      <vt:lpstr>PowerPoint Presentation</vt:lpstr>
      <vt:lpstr>PowerPoint Presentation</vt:lpstr>
      <vt:lpstr>PowerPoint Presentation</vt:lpstr>
      <vt:lpstr>PowerPoint Presentation</vt:lpstr>
      <vt:lpstr>Public health needs guiding the negotiation process</vt:lpstr>
      <vt:lpstr>PowerPoint Presentation</vt:lpstr>
      <vt:lpstr>Intellectual property management in the context of the mRNA Technology Transfer Programme</vt:lpstr>
      <vt:lpstr>The mRNA Technology Transfer Programme was established to improve health security in LMICs through sustainable, regional production of mRNA vaccines</vt:lpstr>
      <vt:lpstr>Technology Transfer: “provider &amp; recipient” model</vt:lpstr>
      <vt:lpstr>Partners (manufacturers) in 15 LMICs have joined the programme and participate in the network</vt:lpstr>
      <vt:lpstr>Intellectual property and know-how/data sharing under the programme</vt:lpstr>
      <vt:lpstr>Technology and know-how sharing process</vt:lpstr>
      <vt:lpstr>Conclusions</vt:lpstr>
      <vt:lpstr>Thank you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gotiating public-health intellectual property licensing agreements to increase access to health technologies </dc:title>
  <dc:creator>Esteban Burrone</dc:creator>
  <cp:lastModifiedBy>Preview 6</cp:lastModifiedBy>
  <cp:revision>15</cp:revision>
  <dcterms:created xsi:type="dcterms:W3CDTF">2024-10-04T14:56:49Z</dcterms:created>
  <dcterms:modified xsi:type="dcterms:W3CDTF">2024-10-07T13:2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DD43244790174B892FA283EAEEDD66</vt:lpwstr>
  </property>
  <property fmtid="{D5CDD505-2E9C-101B-9397-08002B2CF9AE}" pid="3" name="MediaServiceImageTags">
    <vt:lpwstr/>
  </property>
</Properties>
</file>